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3.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4.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57" r:id="rId2"/>
    <p:sldMasterId id="2147483804" r:id="rId3"/>
    <p:sldMasterId id="2147483833" r:id="rId4"/>
    <p:sldMasterId id="2147483839" r:id="rId5"/>
  </p:sldMasterIdLst>
  <p:notesMasterIdLst>
    <p:notesMasterId r:id="rId38"/>
  </p:notesMasterIdLst>
  <p:sldIdLst>
    <p:sldId id="2147478290" r:id="rId6"/>
    <p:sldId id="2076137162" r:id="rId7"/>
    <p:sldId id="2076137169" r:id="rId8"/>
    <p:sldId id="2147478264" r:id="rId9"/>
    <p:sldId id="2147478265" r:id="rId10"/>
    <p:sldId id="2147478266" r:id="rId11"/>
    <p:sldId id="2147478267" r:id="rId12"/>
    <p:sldId id="2147478268" r:id="rId13"/>
    <p:sldId id="2147478269" r:id="rId14"/>
    <p:sldId id="2147478270" r:id="rId15"/>
    <p:sldId id="2147478271" r:id="rId16"/>
    <p:sldId id="2076137170" r:id="rId17"/>
    <p:sldId id="2147478291" r:id="rId18"/>
    <p:sldId id="257" r:id="rId19"/>
    <p:sldId id="258" r:id="rId20"/>
    <p:sldId id="259" r:id="rId21"/>
    <p:sldId id="260" r:id="rId22"/>
    <p:sldId id="261" r:id="rId23"/>
    <p:sldId id="262" r:id="rId24"/>
    <p:sldId id="263" r:id="rId25"/>
    <p:sldId id="264" r:id="rId26"/>
    <p:sldId id="265" r:id="rId27"/>
    <p:sldId id="266" r:id="rId28"/>
    <p:sldId id="2076137171" r:id="rId29"/>
    <p:sldId id="2147478281" r:id="rId30"/>
    <p:sldId id="2147478287" r:id="rId31"/>
    <p:sldId id="2147478283" r:id="rId32"/>
    <p:sldId id="2147474241" r:id="rId33"/>
    <p:sldId id="2147478284" r:id="rId34"/>
    <p:sldId id="2076137174" r:id="rId35"/>
    <p:sldId id="2076137172" r:id="rId36"/>
    <p:sldId id="2147478302"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FCD5AF-F3CE-2142-B0A0-0DF7915BDEFA}" v="1" dt="2024-03-12T10:56:24.5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6058"/>
  </p:normalViewPr>
  <p:slideViewPr>
    <p:cSldViewPr snapToGrid="0">
      <p:cViewPr varScale="1">
        <p:scale>
          <a:sx n="119" d="100"/>
          <a:sy n="119" d="100"/>
        </p:scale>
        <p:origin x="416"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 Wheeler" userId="7a082fda-5382-4bb8-a2c8-8111bb603c03" providerId="ADAL" clId="{7DFCD5AF-F3CE-2142-B0A0-0DF7915BDEFA}"/>
    <pc:docChg chg="modSld modMainMaster">
      <pc:chgData name="Paul Wheeler" userId="7a082fda-5382-4bb8-a2c8-8111bb603c03" providerId="ADAL" clId="{7DFCD5AF-F3CE-2142-B0A0-0DF7915BDEFA}" dt="2024-03-12T10:56:24.501" v="0" actId="18331"/>
      <pc:docMkLst>
        <pc:docMk/>
      </pc:docMkLst>
      <pc:sldChg chg="setBg">
        <pc:chgData name="Paul Wheeler" userId="7a082fda-5382-4bb8-a2c8-8111bb603c03" providerId="ADAL" clId="{7DFCD5AF-F3CE-2142-B0A0-0DF7915BDEFA}" dt="2024-03-12T10:56:24.501" v="0" actId="18331"/>
        <pc:sldMkLst>
          <pc:docMk/>
          <pc:sldMk cId="3720703712" sldId="2147478264"/>
        </pc:sldMkLst>
      </pc:sldChg>
      <pc:sldChg chg="setBg">
        <pc:chgData name="Paul Wheeler" userId="7a082fda-5382-4bb8-a2c8-8111bb603c03" providerId="ADAL" clId="{7DFCD5AF-F3CE-2142-B0A0-0DF7915BDEFA}" dt="2024-03-12T10:56:24.501" v="0" actId="18331"/>
        <pc:sldMkLst>
          <pc:docMk/>
          <pc:sldMk cId="2193593872" sldId="2147478271"/>
        </pc:sldMkLst>
      </pc:sldChg>
      <pc:sldMasterChg chg="modSldLayout">
        <pc:chgData name="Paul Wheeler" userId="7a082fda-5382-4bb8-a2c8-8111bb603c03" providerId="ADAL" clId="{7DFCD5AF-F3CE-2142-B0A0-0DF7915BDEFA}" dt="2024-03-12T10:56:24.501" v="0" actId="18331"/>
        <pc:sldMasterMkLst>
          <pc:docMk/>
          <pc:sldMasterMk cId="3263307378" sldId="2147483757"/>
        </pc:sldMasterMkLst>
        <pc:sldLayoutChg chg="setBg">
          <pc:chgData name="Paul Wheeler" userId="7a082fda-5382-4bb8-a2c8-8111bb603c03" providerId="ADAL" clId="{7DFCD5AF-F3CE-2142-B0A0-0DF7915BDEFA}" dt="2024-03-12T10:56:24.501" v="0" actId="18331"/>
          <pc:sldLayoutMkLst>
            <pc:docMk/>
            <pc:sldMasterMk cId="3263307378" sldId="2147483757"/>
            <pc:sldLayoutMk cId="1041181672" sldId="2147483803"/>
          </pc:sldLayoutMkLst>
        </pc:sldLayoutChg>
      </pc:sldMasterChg>
      <pc:sldMasterChg chg="modSldLayout">
        <pc:chgData name="Paul Wheeler" userId="7a082fda-5382-4bb8-a2c8-8111bb603c03" providerId="ADAL" clId="{7DFCD5AF-F3CE-2142-B0A0-0DF7915BDEFA}" dt="2024-03-12T10:56:24.501" v="0" actId="18331"/>
        <pc:sldMasterMkLst>
          <pc:docMk/>
          <pc:sldMasterMk cId="4081511782" sldId="2147483804"/>
        </pc:sldMasterMkLst>
        <pc:sldLayoutChg chg="setBg">
          <pc:chgData name="Paul Wheeler" userId="7a082fda-5382-4bb8-a2c8-8111bb603c03" providerId="ADAL" clId="{7DFCD5AF-F3CE-2142-B0A0-0DF7915BDEFA}" dt="2024-03-12T10:56:24.501" v="0" actId="18331"/>
          <pc:sldLayoutMkLst>
            <pc:docMk/>
            <pc:sldMasterMk cId="4081511782" sldId="2147483804"/>
            <pc:sldLayoutMk cId="3095393537" sldId="2147483805"/>
          </pc:sldLayoutMkLst>
        </pc:sldLayoutChg>
        <pc:sldLayoutChg chg="setBg">
          <pc:chgData name="Paul Wheeler" userId="7a082fda-5382-4bb8-a2c8-8111bb603c03" providerId="ADAL" clId="{7DFCD5AF-F3CE-2142-B0A0-0DF7915BDEFA}" dt="2024-03-12T10:56:24.501" v="0" actId="18331"/>
          <pc:sldLayoutMkLst>
            <pc:docMk/>
            <pc:sldMasterMk cId="4081511782" sldId="2147483804"/>
            <pc:sldLayoutMk cId="757806118" sldId="2147483806"/>
          </pc:sldLayoutMkLst>
        </pc:sldLayoutChg>
        <pc:sldLayoutChg chg="setBg">
          <pc:chgData name="Paul Wheeler" userId="7a082fda-5382-4bb8-a2c8-8111bb603c03" providerId="ADAL" clId="{7DFCD5AF-F3CE-2142-B0A0-0DF7915BDEFA}" dt="2024-03-12T10:56:24.501" v="0" actId="18331"/>
          <pc:sldLayoutMkLst>
            <pc:docMk/>
            <pc:sldMasterMk cId="4081511782" sldId="2147483804"/>
            <pc:sldLayoutMk cId="1145773570" sldId="2147483814"/>
          </pc:sldLayoutMkLst>
        </pc:sldLayoutChg>
        <pc:sldLayoutChg chg="setBg">
          <pc:chgData name="Paul Wheeler" userId="7a082fda-5382-4bb8-a2c8-8111bb603c03" providerId="ADAL" clId="{7DFCD5AF-F3CE-2142-B0A0-0DF7915BDEFA}" dt="2024-03-12T10:56:24.501" v="0" actId="18331"/>
          <pc:sldLayoutMkLst>
            <pc:docMk/>
            <pc:sldMasterMk cId="4081511782" sldId="2147483804"/>
            <pc:sldLayoutMk cId="2081965938" sldId="214748383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87E946-218D-4047-BC28-4346D2EBEBED}" type="datetimeFigureOut">
              <a:rPr lang="en-US" smtClean="0"/>
              <a:t>3/1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8FB3D5-F5A8-F44C-8F45-34CA17337145}" type="slidenum">
              <a:rPr lang="en-US" smtClean="0"/>
              <a:t>‹#›</a:t>
            </a:fld>
            <a:endParaRPr lang="en-US"/>
          </a:p>
        </p:txBody>
      </p:sp>
    </p:spTree>
    <p:extLst>
      <p:ext uri="{BB962C8B-B14F-4D97-AF65-F5344CB8AC3E}">
        <p14:creationId xmlns:p14="http://schemas.microsoft.com/office/powerpoint/2010/main" val="27253533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6773C-EC53-49EC-B75E-0591925EDD70}"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0879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4077B-9E5E-4F7C-AC5A-4D485ACD6E8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7684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4077B-9E5E-4F7C-AC5A-4D485ACD6E8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4006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4077B-9E5E-4F7C-AC5A-4D485ACD6E8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4492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4077B-9E5E-4F7C-AC5A-4D485ACD6E8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257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A6368-49C0-4805-8FF0-AC4446D833A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5753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D150B7-4535-4553-A292-90F9377C6C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35286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55F0C-9F90-7449-AD42-05BD84F680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6817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spcAft>
                <a:spcPts val="600"/>
              </a:spcAft>
              <a:buFont typeface="Symbol" panose="05050102010706020507" pitchFamily="18" charset="2"/>
              <a:buChar char=""/>
            </a:pPr>
            <a:r>
              <a:rPr lang="en-GB" sz="1200" dirty="0">
                <a:effectLst/>
                <a:latin typeface="+mj-lt"/>
                <a:ea typeface="Calibri" panose="020F0502020204030204" pitchFamily="34" charset="0"/>
                <a:cs typeface="Arial" panose="020B0604020202020204" pitchFamily="34" charset="0"/>
              </a:rPr>
              <a:t>Currently majority of investments </a:t>
            </a:r>
            <a:r>
              <a:rPr lang="en-GB" sz="1200" dirty="0">
                <a:latin typeface="+mj-lt"/>
                <a:ea typeface="Calibri" panose="020F0502020204030204" pitchFamily="34" charset="0"/>
                <a:cs typeface="Arial" panose="020B0604020202020204" pitchFamily="34" charset="0"/>
              </a:rPr>
              <a:t>are in the mature category. </a:t>
            </a:r>
          </a:p>
          <a:p>
            <a:pPr marL="342900" lvl="0" indent="-342900">
              <a:lnSpc>
                <a:spcPct val="107000"/>
              </a:lnSpc>
              <a:spcAft>
                <a:spcPts val="600"/>
              </a:spcAft>
              <a:buFont typeface="Symbol" panose="05050102010706020507" pitchFamily="18" charset="2"/>
              <a:buChar char=""/>
            </a:pPr>
            <a:r>
              <a:rPr lang="en-GB" sz="1200" dirty="0">
                <a:latin typeface="+mj-lt"/>
                <a:ea typeface="Calibri" panose="020F0502020204030204" pitchFamily="34" charset="0"/>
                <a:cs typeface="Arial" panose="020B0604020202020204" pitchFamily="34" charset="0"/>
              </a:rPr>
              <a:t>Some lower risk growth technologies are investable within our current mandates (egg lithium batteries, electric public transport – Zenobia; smart meters) </a:t>
            </a:r>
          </a:p>
          <a:p>
            <a:pPr marL="342900" lvl="0" indent="-342900">
              <a:lnSpc>
                <a:spcPct val="107000"/>
              </a:lnSpc>
              <a:spcAft>
                <a:spcPts val="600"/>
              </a:spcAft>
              <a:buFont typeface="Symbol" panose="05050102010706020507" pitchFamily="18" charset="2"/>
              <a:buChar char=""/>
            </a:pPr>
            <a:r>
              <a:rPr lang="en-GB" sz="1200" dirty="0">
                <a:latin typeface="+mj-lt"/>
                <a:cs typeface="Arial" panose="020B0604020202020204" pitchFamily="34" charset="0"/>
              </a:rPr>
              <a:t>Need to understand emerging technologies so we can diversity our portfolio when they become investable (out of VC stage growth, into PE maturity from an equity standpoint). </a:t>
            </a:r>
          </a:p>
          <a:p>
            <a:pPr marL="342900" lvl="0" indent="-342900">
              <a:lnSpc>
                <a:spcPct val="107000"/>
              </a:lnSpc>
              <a:spcAft>
                <a:spcPts val="600"/>
              </a:spcAft>
              <a:buFont typeface="Symbol" panose="05050102010706020507" pitchFamily="18" charset="2"/>
              <a:buChar char=""/>
            </a:pPr>
            <a:r>
              <a:rPr lang="en-GB" sz="1200" dirty="0">
                <a:latin typeface="+mj-lt"/>
                <a:cs typeface="Arial" panose="020B0604020202020204" pitchFamily="34" charset="0"/>
              </a:rPr>
              <a:t>Most of these technologies will need long term debt facilities to be commercially viable </a:t>
            </a:r>
          </a:p>
          <a:p>
            <a:pPr marL="342900" lvl="0" indent="-342900">
              <a:lnSpc>
                <a:spcPct val="107000"/>
              </a:lnSpc>
              <a:spcAft>
                <a:spcPts val="600"/>
              </a:spcAft>
              <a:buFont typeface="Symbol" panose="05050102010706020507" pitchFamily="18" charset="2"/>
              <a:buChar char=""/>
            </a:pPr>
            <a:r>
              <a:rPr lang="en-GB" sz="1200" dirty="0">
                <a:latin typeface="+mj-lt"/>
                <a:cs typeface="Arial" panose="020B0604020202020204" pitchFamily="34" charset="0"/>
              </a:rPr>
              <a:t>Question is which climate solutions UK policy will support and how our externalisation strategy will develop, allowing us to expand our investable sectors. </a:t>
            </a:r>
            <a:endParaRPr lang="en-GB" sz="1200" dirty="0">
              <a:latin typeface="+mj-lt"/>
            </a:endParaRPr>
          </a:p>
          <a:p>
            <a:pPr>
              <a:lnSpc>
                <a:spcPct val="115000"/>
              </a:lnSpc>
              <a:spcAft>
                <a:spcPts val="600"/>
              </a:spcAft>
            </a:pPr>
            <a:endParaRPr lang="en-GB" sz="1200" dirty="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15000"/>
              </a:lnSpc>
              <a:spcBef>
                <a:spcPts val="0"/>
              </a:spcBef>
              <a:spcAft>
                <a:spcPts val="600"/>
              </a:spcAft>
              <a:buClrTx/>
              <a:buSzTx/>
              <a:buFontTx/>
              <a:buNone/>
              <a:tabLst/>
              <a:defRPr/>
            </a:pPr>
            <a:r>
              <a:rPr lang="en-GB" dirty="0"/>
              <a:t>List illustrative only, not exhaustive. Many more emerging technologies in the energy storage space (infra) as alternatives to lithium battery storage. Additionally, in the PCD space, companies looking at energy efficiency solutions, grid balancing technologies should be a focus. </a:t>
            </a:r>
          </a:p>
          <a:p>
            <a:pPr>
              <a:lnSpc>
                <a:spcPct val="115000"/>
              </a:lnSpc>
              <a:spcAft>
                <a:spcPts val="600"/>
              </a:spcAft>
            </a:pPr>
            <a:endParaRPr lang="en-GB" sz="12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55F0C-9F90-7449-AD42-05BD84F680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5933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55F0C-9F90-7449-AD42-05BD84F680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05558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55F0C-9F90-7449-AD42-05BD84F680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86835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55F0C-9F90-7449-AD42-05BD84F6801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36772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4077B-9E5E-4F7C-AC5A-4D485ACD6E8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2340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7.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8.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7.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7.emf"/></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ext Cover 1">
    <p:bg>
      <p:bgPr>
        <a:solidFill>
          <a:schemeClr val="accent6"/>
        </a:solidFill>
        <a:effectLst/>
      </p:bgPr>
    </p:bg>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887340F4-9434-47C2-9CB2-6C0ACFBEFAB5}"/>
              </a:ext>
            </a:extLst>
          </p:cNvPr>
          <p:cNvCxnSpPr>
            <a:cxnSpLocks/>
          </p:cNvCxnSpPr>
          <p:nvPr/>
        </p:nvCxnSpPr>
        <p:spPr>
          <a:xfrm>
            <a:off x="3584575" y="571774"/>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5" y="1554448"/>
            <a:ext cx="1328469"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US" sz="1050" b="1" kern="1200" spc="-3" dirty="0" err="1" smtClean="0">
                <a:solidFill>
                  <a:srgbClr val="FFFFFF"/>
                </a:solidFill>
                <a:latin typeface="Space Mono" panose="02000509040000020004" pitchFamily="49" charset="0"/>
                <a:ea typeface="+mn-ea"/>
                <a:cs typeface="Space Mono" panose="02000509040000020004" pitchFamily="49" charset="0"/>
              </a:defRPr>
            </a:lvl1pPr>
          </a:lstStyle>
          <a:p>
            <a:r>
              <a:rPr lang="en-GB"/>
              <a:t>DATE</a:t>
            </a: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3581238" y="1451248"/>
            <a:ext cx="7585236" cy="3210125"/>
          </a:xfrm>
        </p:spPr>
        <p:txBody>
          <a:bodyPr/>
          <a:lstStyle>
            <a:lvl1pPr>
              <a:defRPr sz="6600">
                <a:solidFill>
                  <a:schemeClr val="bg1"/>
                </a:solidFill>
              </a:defRPr>
            </a:lvl1pPr>
          </a:lstStyle>
          <a:p>
            <a:r>
              <a:rPr lang="en-GB"/>
              <a:t>Click to edit Master title style</a:t>
            </a:r>
          </a:p>
        </p:txBody>
      </p:sp>
      <p:sp>
        <p:nvSpPr>
          <p:cNvPr id="10" name="Content Placeholder 9">
            <a:extLst>
              <a:ext uri="{FF2B5EF4-FFF2-40B4-BE49-F238E27FC236}">
                <a16:creationId xmlns:a16="http://schemas.microsoft.com/office/drawing/2014/main" id="{7D9956ED-0AB6-478A-B82C-B67610F4E3D0}"/>
              </a:ext>
            </a:extLst>
          </p:cNvPr>
          <p:cNvSpPr>
            <a:spLocks noGrp="1"/>
          </p:cNvSpPr>
          <p:nvPr>
            <p:ph sz="quarter" idx="11" hasCustomPrompt="1"/>
          </p:nvPr>
        </p:nvSpPr>
        <p:spPr>
          <a:xfrm>
            <a:off x="3584575" y="4727575"/>
            <a:ext cx="5534025" cy="1250951"/>
          </a:xfrm>
        </p:spPr>
        <p:txBody>
          <a:bodyPr tIns="0">
            <a:noAutofit/>
          </a:bodyPr>
          <a:lstStyle>
            <a:lvl1pPr>
              <a:spcBef>
                <a:spcPts val="0"/>
              </a:spcBef>
              <a:spcAft>
                <a:spcPts val="0"/>
              </a:spcAft>
              <a:defRPr sz="1700">
                <a:solidFill>
                  <a:schemeClr val="bg1"/>
                </a:solidFill>
                <a:latin typeface="+mn-lt"/>
              </a:defRPr>
            </a:lvl1pPr>
            <a:lvl2pPr>
              <a:spcBef>
                <a:spcPts val="0"/>
              </a:spcBef>
              <a:spcAft>
                <a:spcPts val="0"/>
              </a:spcAft>
              <a:defRPr sz="1700">
                <a:solidFill>
                  <a:schemeClr val="bg1"/>
                </a:solidFill>
              </a:defRPr>
            </a:lvl2pPr>
            <a:lvl3pPr>
              <a:defRPr>
                <a:solidFill>
                  <a:schemeClr val="bg1"/>
                </a:solidFill>
              </a:defRPr>
            </a:lvl3pPr>
            <a:lvl4pPr>
              <a:defRPr>
                <a:solidFill>
                  <a:schemeClr val="bg1"/>
                </a:solidFill>
              </a:defRPr>
            </a:lvl4pPr>
            <a:lvl5pPr>
              <a:defRPr sz="1700" b="0">
                <a:solidFill>
                  <a:schemeClr val="bg1"/>
                </a:solidFill>
                <a:latin typeface="+mn-lt"/>
              </a:defRPr>
            </a:lvl5pPr>
          </a:lstStyle>
          <a:p>
            <a:pPr lvl="0"/>
            <a:r>
              <a:rPr lang="en-GB"/>
              <a:t>Subheading</a:t>
            </a:r>
          </a:p>
          <a:p>
            <a:pPr lvl="1"/>
            <a:r>
              <a:rPr lang="en-GB"/>
              <a:t>Subheading 2</a:t>
            </a:r>
          </a:p>
        </p:txBody>
      </p:sp>
      <p:sp>
        <p:nvSpPr>
          <p:cNvPr id="22" name="Rectangle 21">
            <a:extLst>
              <a:ext uri="{FF2B5EF4-FFF2-40B4-BE49-F238E27FC236}">
                <a16:creationId xmlns:a16="http://schemas.microsoft.com/office/drawing/2014/main" id="{51402F92-C298-4C9D-B165-225CA6300EEC}"/>
              </a:ext>
            </a:extLst>
          </p:cNvPr>
          <p:cNvSpPr/>
          <p:nvPr/>
        </p:nvSpPr>
        <p:spPr>
          <a:xfrm>
            <a:off x="0" y="0"/>
            <a:ext cx="3584575" cy="1091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ectangle 16">
            <a:extLst>
              <a:ext uri="{FF2B5EF4-FFF2-40B4-BE49-F238E27FC236}">
                <a16:creationId xmlns:a16="http://schemas.microsoft.com/office/drawing/2014/main" id="{CE35D7B5-D90F-42C0-A009-8563EAB2BC7A}"/>
              </a:ext>
            </a:extLst>
          </p:cNvPr>
          <p:cNvSpPr/>
          <p:nvPr/>
        </p:nvSpPr>
        <p:spPr>
          <a:xfrm>
            <a:off x="0" y="0"/>
            <a:ext cx="3584575" cy="1091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BRE Vector Logo">
            <a:extLst>
              <a:ext uri="{FF2B5EF4-FFF2-40B4-BE49-F238E27FC236}">
                <a16:creationId xmlns:a16="http://schemas.microsoft.com/office/drawing/2014/main" id="{F9796778-32CE-488E-AC58-62F8EB4EE904}"/>
              </a:ext>
            </a:extLst>
          </p:cNvPr>
          <p:cNvSpPr>
            <a:spLocks noChangeAspect="1"/>
          </p:cNvSpPr>
          <p:nvPr userDrawn="1"/>
        </p:nvSpPr>
        <p:spPr>
          <a:xfrm>
            <a:off x="10755020" y="452438"/>
            <a:ext cx="924217" cy="229615"/>
          </a:xfrm>
          <a:custGeom>
            <a:avLst/>
            <a:gdLst>
              <a:gd name="connsiteX0" fmla="*/ 306851 w 924217"/>
              <a:gd name="connsiteY0" fmla="*/ 137455 h 229615"/>
              <a:gd name="connsiteX1" fmla="*/ 306851 w 924217"/>
              <a:gd name="connsiteY1" fmla="*/ 175680 h 229615"/>
              <a:gd name="connsiteX2" fmla="*/ 383040 w 924217"/>
              <a:gd name="connsiteY2" fmla="*/ 175680 h 229615"/>
              <a:gd name="connsiteX3" fmla="*/ 402153 w 924217"/>
              <a:gd name="connsiteY3" fmla="*/ 156305 h 229615"/>
              <a:gd name="connsiteX4" fmla="*/ 385134 w 924217"/>
              <a:gd name="connsiteY4" fmla="*/ 137455 h 229615"/>
              <a:gd name="connsiteX5" fmla="*/ 384873 w 924217"/>
              <a:gd name="connsiteY5" fmla="*/ 137455 h 229615"/>
              <a:gd name="connsiteX6" fmla="*/ 384611 w 924217"/>
              <a:gd name="connsiteY6" fmla="*/ 137455 h 229615"/>
              <a:gd name="connsiteX7" fmla="*/ 539868 w 924217"/>
              <a:gd name="connsiteY7" fmla="*/ 50530 h 229615"/>
              <a:gd name="connsiteX8" fmla="*/ 539868 w 924217"/>
              <a:gd name="connsiteY8" fmla="*/ 87185 h 229615"/>
              <a:gd name="connsiteX9" fmla="*/ 618414 w 924217"/>
              <a:gd name="connsiteY9" fmla="*/ 87185 h 229615"/>
              <a:gd name="connsiteX10" fmla="*/ 636479 w 924217"/>
              <a:gd name="connsiteY10" fmla="*/ 71476 h 229615"/>
              <a:gd name="connsiteX11" fmla="*/ 636218 w 924217"/>
              <a:gd name="connsiteY11" fmla="*/ 71476 h 229615"/>
              <a:gd name="connsiteX12" fmla="*/ 636218 w 924217"/>
              <a:gd name="connsiteY12" fmla="*/ 66501 h 229615"/>
              <a:gd name="connsiteX13" fmla="*/ 618414 w 924217"/>
              <a:gd name="connsiteY13" fmla="*/ 50530 h 229615"/>
              <a:gd name="connsiteX14" fmla="*/ 306589 w 924217"/>
              <a:gd name="connsiteY14" fmla="*/ 49745 h 229615"/>
              <a:gd name="connsiteX15" fmla="*/ 306851 w 924217"/>
              <a:gd name="connsiteY15" fmla="*/ 87447 h 229615"/>
              <a:gd name="connsiteX16" fmla="*/ 386443 w 924217"/>
              <a:gd name="connsiteY16" fmla="*/ 87185 h 229615"/>
              <a:gd name="connsiteX17" fmla="*/ 402676 w 924217"/>
              <a:gd name="connsiteY17" fmla="*/ 68073 h 229615"/>
              <a:gd name="connsiteX18" fmla="*/ 386967 w 924217"/>
              <a:gd name="connsiteY18" fmla="*/ 49745 h 229615"/>
              <a:gd name="connsiteX19" fmla="*/ 386705 w 924217"/>
              <a:gd name="connsiteY19" fmla="*/ 49745 h 229615"/>
              <a:gd name="connsiteX20" fmla="*/ 386443 w 924217"/>
              <a:gd name="connsiteY20" fmla="*/ 49745 h 229615"/>
              <a:gd name="connsiteX21" fmla="*/ 484363 w 924217"/>
              <a:gd name="connsiteY21" fmla="*/ 261 h 229615"/>
              <a:gd name="connsiteX22" fmla="*/ 606108 w 924217"/>
              <a:gd name="connsiteY22" fmla="*/ 261 h 229615"/>
              <a:gd name="connsiteX23" fmla="*/ 688581 w 924217"/>
              <a:gd name="connsiteY23" fmla="*/ 60479 h 229615"/>
              <a:gd name="connsiteX24" fmla="*/ 654807 w 924217"/>
              <a:gd name="connsiteY24" fmla="*/ 111010 h 229615"/>
              <a:gd name="connsiteX25" fmla="*/ 687796 w 924217"/>
              <a:gd name="connsiteY25" fmla="*/ 155519 h 229615"/>
              <a:gd name="connsiteX26" fmla="*/ 687796 w 924217"/>
              <a:gd name="connsiteY26" fmla="*/ 229614 h 229615"/>
              <a:gd name="connsiteX27" fmla="*/ 633076 w 924217"/>
              <a:gd name="connsiteY27" fmla="*/ 229614 h 229615"/>
              <a:gd name="connsiteX28" fmla="*/ 633076 w 924217"/>
              <a:gd name="connsiteY28" fmla="*/ 169396 h 229615"/>
              <a:gd name="connsiteX29" fmla="*/ 601658 w 924217"/>
              <a:gd name="connsiteY29" fmla="*/ 136930 h 229615"/>
              <a:gd name="connsiteX30" fmla="*/ 540130 w 924217"/>
              <a:gd name="connsiteY30" fmla="*/ 136930 h 229615"/>
              <a:gd name="connsiteX31" fmla="*/ 540130 w 924217"/>
              <a:gd name="connsiteY31" fmla="*/ 229614 h 229615"/>
              <a:gd name="connsiteX32" fmla="*/ 484363 w 924217"/>
              <a:gd name="connsiteY32" fmla="*/ 229614 h 229615"/>
              <a:gd name="connsiteX33" fmla="*/ 722879 w 924217"/>
              <a:gd name="connsiteY33" fmla="*/ 0 h 229615"/>
              <a:gd name="connsiteX34" fmla="*/ 923955 w 924217"/>
              <a:gd name="connsiteY34" fmla="*/ 0 h 229615"/>
              <a:gd name="connsiteX35" fmla="*/ 923955 w 924217"/>
              <a:gd name="connsiteY35" fmla="*/ 50007 h 229615"/>
              <a:gd name="connsiteX36" fmla="*/ 778908 w 924217"/>
              <a:gd name="connsiteY36" fmla="*/ 50007 h 229615"/>
              <a:gd name="connsiteX37" fmla="*/ 779170 w 924217"/>
              <a:gd name="connsiteY37" fmla="*/ 86924 h 229615"/>
              <a:gd name="connsiteX38" fmla="*/ 909817 w 924217"/>
              <a:gd name="connsiteY38" fmla="*/ 86924 h 229615"/>
              <a:gd name="connsiteX39" fmla="*/ 909817 w 924217"/>
              <a:gd name="connsiteY39" fmla="*/ 137193 h 229615"/>
              <a:gd name="connsiteX40" fmla="*/ 779170 w 924217"/>
              <a:gd name="connsiteY40" fmla="*/ 137193 h 229615"/>
              <a:gd name="connsiteX41" fmla="*/ 779170 w 924217"/>
              <a:gd name="connsiteY41" fmla="*/ 177251 h 229615"/>
              <a:gd name="connsiteX42" fmla="*/ 924217 w 924217"/>
              <a:gd name="connsiteY42" fmla="*/ 177251 h 229615"/>
              <a:gd name="connsiteX43" fmla="*/ 924217 w 924217"/>
              <a:gd name="connsiteY43" fmla="*/ 229615 h 229615"/>
              <a:gd name="connsiteX44" fmla="*/ 723141 w 924217"/>
              <a:gd name="connsiteY44" fmla="*/ 229615 h 229615"/>
              <a:gd name="connsiteX45" fmla="*/ 722879 w 924217"/>
              <a:gd name="connsiteY45" fmla="*/ 0 h 229615"/>
              <a:gd name="connsiteX46" fmla="*/ 250298 w 924217"/>
              <a:gd name="connsiteY46" fmla="*/ 0 h 229615"/>
              <a:gd name="connsiteX47" fmla="*/ 369163 w 924217"/>
              <a:gd name="connsiteY47" fmla="*/ 0 h 229615"/>
              <a:gd name="connsiteX48" fmla="*/ 454254 w 924217"/>
              <a:gd name="connsiteY48" fmla="*/ 56815 h 229615"/>
              <a:gd name="connsiteX49" fmla="*/ 419956 w 924217"/>
              <a:gd name="connsiteY49" fmla="*/ 111011 h 229615"/>
              <a:gd name="connsiteX50" fmla="*/ 456611 w 924217"/>
              <a:gd name="connsiteY50" fmla="*/ 163113 h 229615"/>
              <a:gd name="connsiteX51" fmla="*/ 368902 w 924217"/>
              <a:gd name="connsiteY51" fmla="*/ 229091 h 229615"/>
              <a:gd name="connsiteX52" fmla="*/ 250298 w 924217"/>
              <a:gd name="connsiteY52" fmla="*/ 229091 h 229615"/>
              <a:gd name="connsiteX53" fmla="*/ 250298 w 924217"/>
              <a:gd name="connsiteY53" fmla="*/ 0 h 229615"/>
              <a:gd name="connsiteX54" fmla="*/ 213644 w 924217"/>
              <a:gd name="connsiteY54" fmla="*/ 0 h 229615"/>
              <a:gd name="connsiteX55" fmla="*/ 215476 w 924217"/>
              <a:gd name="connsiteY55" fmla="*/ 0 h 229615"/>
              <a:gd name="connsiteX56" fmla="*/ 215215 w 924217"/>
              <a:gd name="connsiteY56" fmla="*/ 52102 h 229615"/>
              <a:gd name="connsiteX57" fmla="*/ 213382 w 924217"/>
              <a:gd name="connsiteY57" fmla="*/ 52102 h 229615"/>
              <a:gd name="connsiteX58" fmla="*/ 109702 w 924217"/>
              <a:gd name="connsiteY58" fmla="*/ 53149 h 229615"/>
              <a:gd name="connsiteX59" fmla="*/ 54720 w 924217"/>
              <a:gd name="connsiteY59" fmla="*/ 112582 h 229615"/>
              <a:gd name="connsiteX60" fmla="*/ 111535 w 924217"/>
              <a:gd name="connsiteY60" fmla="*/ 173062 h 229615"/>
              <a:gd name="connsiteX61" fmla="*/ 213905 w 924217"/>
              <a:gd name="connsiteY61" fmla="*/ 174109 h 229615"/>
              <a:gd name="connsiteX62" fmla="*/ 216000 w 924217"/>
              <a:gd name="connsiteY62" fmla="*/ 174109 h 229615"/>
              <a:gd name="connsiteX63" fmla="*/ 215738 w 924217"/>
              <a:gd name="connsiteY63" fmla="*/ 229353 h 229615"/>
              <a:gd name="connsiteX64" fmla="*/ 213905 w 924217"/>
              <a:gd name="connsiteY64" fmla="*/ 229353 h 229615"/>
              <a:gd name="connsiteX65" fmla="*/ 145309 w 924217"/>
              <a:gd name="connsiteY65" fmla="*/ 229353 h 229615"/>
              <a:gd name="connsiteX66" fmla="*/ 126720 w 924217"/>
              <a:gd name="connsiteY66" fmla="*/ 229091 h 229615"/>
              <a:gd name="connsiteX67" fmla="*/ 64407 w 924217"/>
              <a:gd name="connsiteY67" fmla="*/ 216524 h 229615"/>
              <a:gd name="connsiteX68" fmla="*/ 1833 w 924217"/>
              <a:gd name="connsiteY68" fmla="*/ 137455 h 229615"/>
              <a:gd name="connsiteX69" fmla="*/ 0 w 924217"/>
              <a:gd name="connsiteY69" fmla="*/ 114415 h 229615"/>
              <a:gd name="connsiteX70" fmla="*/ 22516 w 924217"/>
              <a:gd name="connsiteY70" fmla="*/ 46080 h 229615"/>
              <a:gd name="connsiteX71" fmla="*/ 67811 w 924217"/>
              <a:gd name="connsiteY71" fmla="*/ 9687 h 229615"/>
              <a:gd name="connsiteX72" fmla="*/ 115462 w 924217"/>
              <a:gd name="connsiteY72" fmla="*/ 262 h 22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24217" h="229615">
                <a:moveTo>
                  <a:pt x="306851" y="137455"/>
                </a:moveTo>
                <a:lnTo>
                  <a:pt x="306851" y="175680"/>
                </a:lnTo>
                <a:lnTo>
                  <a:pt x="383040" y="175680"/>
                </a:lnTo>
                <a:cubicBezTo>
                  <a:pt x="393251" y="175680"/>
                  <a:pt x="402153" y="166778"/>
                  <a:pt x="402153" y="156305"/>
                </a:cubicBezTo>
                <a:cubicBezTo>
                  <a:pt x="402153" y="146618"/>
                  <a:pt x="394822" y="138502"/>
                  <a:pt x="385134" y="137455"/>
                </a:cubicBezTo>
                <a:lnTo>
                  <a:pt x="384873" y="137455"/>
                </a:lnTo>
                <a:lnTo>
                  <a:pt x="384611" y="137455"/>
                </a:lnTo>
                <a:close/>
                <a:moveTo>
                  <a:pt x="539868" y="50530"/>
                </a:moveTo>
                <a:lnTo>
                  <a:pt x="539868" y="87185"/>
                </a:lnTo>
                <a:lnTo>
                  <a:pt x="618414" y="87185"/>
                </a:lnTo>
                <a:cubicBezTo>
                  <a:pt x="627839" y="87185"/>
                  <a:pt x="635432" y="79068"/>
                  <a:pt x="636479" y="71476"/>
                </a:cubicBezTo>
                <a:lnTo>
                  <a:pt x="636218" y="71476"/>
                </a:lnTo>
                <a:lnTo>
                  <a:pt x="636218" y="66501"/>
                </a:lnTo>
                <a:cubicBezTo>
                  <a:pt x="635170" y="57337"/>
                  <a:pt x="627839" y="50530"/>
                  <a:pt x="618414" y="50530"/>
                </a:cubicBezTo>
                <a:close/>
                <a:moveTo>
                  <a:pt x="306589" y="49745"/>
                </a:moveTo>
                <a:lnTo>
                  <a:pt x="306851" y="87447"/>
                </a:lnTo>
                <a:lnTo>
                  <a:pt x="386443" y="87185"/>
                </a:lnTo>
                <a:cubicBezTo>
                  <a:pt x="395607" y="85876"/>
                  <a:pt x="402676" y="77236"/>
                  <a:pt x="402676" y="68073"/>
                </a:cubicBezTo>
                <a:cubicBezTo>
                  <a:pt x="402676" y="58909"/>
                  <a:pt x="396131" y="51316"/>
                  <a:pt x="386967" y="49745"/>
                </a:cubicBezTo>
                <a:lnTo>
                  <a:pt x="386705" y="49745"/>
                </a:lnTo>
                <a:lnTo>
                  <a:pt x="386443" y="49745"/>
                </a:lnTo>
                <a:close/>
                <a:moveTo>
                  <a:pt x="484363" y="261"/>
                </a:moveTo>
                <a:lnTo>
                  <a:pt x="606108" y="261"/>
                </a:lnTo>
                <a:cubicBezTo>
                  <a:pt x="645643" y="261"/>
                  <a:pt x="688319" y="10734"/>
                  <a:pt x="688581" y="60479"/>
                </a:cubicBezTo>
                <a:cubicBezTo>
                  <a:pt x="688581" y="100799"/>
                  <a:pt x="654807" y="111010"/>
                  <a:pt x="654807" y="111010"/>
                </a:cubicBezTo>
                <a:cubicBezTo>
                  <a:pt x="654807" y="111010"/>
                  <a:pt x="687796" y="121221"/>
                  <a:pt x="687796" y="155519"/>
                </a:cubicBezTo>
                <a:lnTo>
                  <a:pt x="687796" y="229614"/>
                </a:lnTo>
                <a:lnTo>
                  <a:pt x="633076" y="229614"/>
                </a:lnTo>
                <a:lnTo>
                  <a:pt x="633076" y="169396"/>
                </a:lnTo>
                <a:cubicBezTo>
                  <a:pt x="633076" y="151592"/>
                  <a:pt x="619199" y="137192"/>
                  <a:pt x="601658" y="136930"/>
                </a:cubicBezTo>
                <a:cubicBezTo>
                  <a:pt x="601658" y="136930"/>
                  <a:pt x="540130" y="136930"/>
                  <a:pt x="540130" y="136930"/>
                </a:cubicBezTo>
                <a:cubicBezTo>
                  <a:pt x="540130" y="136930"/>
                  <a:pt x="540130" y="223068"/>
                  <a:pt x="540130" y="229614"/>
                </a:cubicBezTo>
                <a:cubicBezTo>
                  <a:pt x="534370" y="229614"/>
                  <a:pt x="484363" y="229614"/>
                  <a:pt x="484363" y="229614"/>
                </a:cubicBezTo>
                <a:close/>
                <a:moveTo>
                  <a:pt x="722879" y="0"/>
                </a:moveTo>
                <a:lnTo>
                  <a:pt x="923955" y="0"/>
                </a:lnTo>
                <a:lnTo>
                  <a:pt x="923955" y="50007"/>
                </a:lnTo>
                <a:lnTo>
                  <a:pt x="778908" y="50007"/>
                </a:lnTo>
                <a:lnTo>
                  <a:pt x="779170" y="86924"/>
                </a:lnTo>
                <a:lnTo>
                  <a:pt x="909817" y="86924"/>
                </a:lnTo>
                <a:lnTo>
                  <a:pt x="909817" y="137193"/>
                </a:lnTo>
                <a:lnTo>
                  <a:pt x="779170" y="137193"/>
                </a:lnTo>
                <a:lnTo>
                  <a:pt x="779170" y="177251"/>
                </a:lnTo>
                <a:lnTo>
                  <a:pt x="924217" y="177251"/>
                </a:lnTo>
                <a:lnTo>
                  <a:pt x="924217" y="229615"/>
                </a:lnTo>
                <a:cubicBezTo>
                  <a:pt x="924217" y="229615"/>
                  <a:pt x="729948" y="229615"/>
                  <a:pt x="723141" y="229615"/>
                </a:cubicBezTo>
                <a:cubicBezTo>
                  <a:pt x="722879" y="223069"/>
                  <a:pt x="722879" y="0"/>
                  <a:pt x="722879" y="0"/>
                </a:cubicBezTo>
                <a:close/>
                <a:moveTo>
                  <a:pt x="250298" y="0"/>
                </a:moveTo>
                <a:lnTo>
                  <a:pt x="369163" y="0"/>
                </a:lnTo>
                <a:cubicBezTo>
                  <a:pt x="432785" y="0"/>
                  <a:pt x="454516" y="26444"/>
                  <a:pt x="454254" y="56815"/>
                </a:cubicBezTo>
                <a:cubicBezTo>
                  <a:pt x="454516" y="76713"/>
                  <a:pt x="449280" y="101324"/>
                  <a:pt x="419956" y="111011"/>
                </a:cubicBezTo>
                <a:cubicBezTo>
                  <a:pt x="419956" y="111011"/>
                  <a:pt x="456611" y="123316"/>
                  <a:pt x="456611" y="163113"/>
                </a:cubicBezTo>
                <a:cubicBezTo>
                  <a:pt x="456611" y="196102"/>
                  <a:pt x="433047" y="229091"/>
                  <a:pt x="368902" y="229091"/>
                </a:cubicBezTo>
                <a:cubicBezTo>
                  <a:pt x="368902" y="229091"/>
                  <a:pt x="256843" y="229091"/>
                  <a:pt x="250298" y="229091"/>
                </a:cubicBezTo>
                <a:cubicBezTo>
                  <a:pt x="250298" y="222545"/>
                  <a:pt x="250298" y="0"/>
                  <a:pt x="250298" y="0"/>
                </a:cubicBezTo>
                <a:close/>
                <a:moveTo>
                  <a:pt x="213644" y="0"/>
                </a:moveTo>
                <a:lnTo>
                  <a:pt x="215476" y="0"/>
                </a:lnTo>
                <a:lnTo>
                  <a:pt x="215215" y="52102"/>
                </a:lnTo>
                <a:lnTo>
                  <a:pt x="213382" y="52102"/>
                </a:lnTo>
                <a:cubicBezTo>
                  <a:pt x="212596" y="52102"/>
                  <a:pt x="125673" y="51055"/>
                  <a:pt x="109702" y="53149"/>
                </a:cubicBezTo>
                <a:cubicBezTo>
                  <a:pt x="76189" y="57600"/>
                  <a:pt x="54720" y="80902"/>
                  <a:pt x="54720" y="112582"/>
                </a:cubicBezTo>
                <a:cubicBezTo>
                  <a:pt x="54720" y="137978"/>
                  <a:pt x="69644" y="168873"/>
                  <a:pt x="111535" y="173062"/>
                </a:cubicBezTo>
                <a:cubicBezTo>
                  <a:pt x="137716" y="175680"/>
                  <a:pt x="213120" y="174109"/>
                  <a:pt x="213905" y="174109"/>
                </a:cubicBezTo>
                <a:lnTo>
                  <a:pt x="216000" y="174109"/>
                </a:lnTo>
                <a:lnTo>
                  <a:pt x="215738" y="229353"/>
                </a:lnTo>
                <a:lnTo>
                  <a:pt x="213905" y="229353"/>
                </a:lnTo>
                <a:cubicBezTo>
                  <a:pt x="213905" y="229353"/>
                  <a:pt x="145309" y="229353"/>
                  <a:pt x="145309" y="229353"/>
                </a:cubicBezTo>
                <a:cubicBezTo>
                  <a:pt x="145309" y="229353"/>
                  <a:pt x="126720" y="229091"/>
                  <a:pt x="126720" y="229091"/>
                </a:cubicBezTo>
                <a:cubicBezTo>
                  <a:pt x="92422" y="227258"/>
                  <a:pt x="75404" y="221498"/>
                  <a:pt x="64407" y="216524"/>
                </a:cubicBezTo>
                <a:cubicBezTo>
                  <a:pt x="31680" y="201076"/>
                  <a:pt x="8902" y="172276"/>
                  <a:pt x="1833" y="137455"/>
                </a:cubicBezTo>
                <a:cubicBezTo>
                  <a:pt x="524" y="129862"/>
                  <a:pt x="0" y="122269"/>
                  <a:pt x="0" y="114415"/>
                </a:cubicBezTo>
                <a:cubicBezTo>
                  <a:pt x="0" y="89542"/>
                  <a:pt x="7855" y="65978"/>
                  <a:pt x="22516" y="46080"/>
                </a:cubicBezTo>
                <a:cubicBezTo>
                  <a:pt x="34298" y="30371"/>
                  <a:pt x="49745" y="17804"/>
                  <a:pt x="67811" y="9687"/>
                </a:cubicBezTo>
                <a:cubicBezTo>
                  <a:pt x="86400" y="2095"/>
                  <a:pt x="104465" y="1047"/>
                  <a:pt x="115462" y="262"/>
                </a:cubicBezTo>
                <a:close/>
              </a:path>
            </a:pathLst>
          </a:custGeom>
          <a:solidFill>
            <a:schemeClr val="bg1"/>
          </a:solidFill>
          <a:ln w="2617" cap="flat">
            <a:noFill/>
            <a:prstDash val="solid"/>
            <a:miter/>
          </a:ln>
        </p:spPr>
        <p:txBody>
          <a:bodyPr wrap="square" rtlCol="0" anchor="ctr">
            <a:noAutofit/>
          </a:bodyPr>
          <a:lstStyle/>
          <a:p>
            <a:endParaRPr lang="en-GB" dirty="0"/>
          </a:p>
        </p:txBody>
      </p:sp>
    </p:spTree>
    <p:extLst>
      <p:ext uri="{BB962C8B-B14F-4D97-AF65-F5344CB8AC3E}">
        <p14:creationId xmlns:p14="http://schemas.microsoft.com/office/powerpoint/2010/main" val="324085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2250" fill="hold"/>
                                        <p:tgtEl>
                                          <p:spTgt spid="25"/>
                                        </p:tgtEl>
                                        <p:attrNameLst>
                                          <p:attrName>ppt_x</p:attrName>
                                        </p:attrNameLst>
                                      </p:cBhvr>
                                      <p:tavLst>
                                        <p:tav tm="0">
                                          <p:val>
                                            <p:strVal val="0-#ppt_w/2"/>
                                          </p:val>
                                        </p:tav>
                                        <p:tav tm="100000">
                                          <p:val>
                                            <p:strVal val="#ppt_x"/>
                                          </p:val>
                                        </p:tav>
                                      </p:tavLst>
                                    </p:anim>
                                    <p:anim calcmode="lin" valueType="num">
                                      <p:cBhvr additive="base">
                                        <p:cTn id="8" dur="225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ext Agenda 1 Dark">
    <p:bg>
      <p:bgPr>
        <a:solidFill>
          <a:srgbClr val="012B2D"/>
        </a:solid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27190B2A-4A03-4442-BCB9-881FECD2D9D6}"/>
              </a:ext>
            </a:extLst>
          </p:cNvPr>
          <p:cNvCxnSpPr>
            <a:cxnSpLocks/>
          </p:cNvCxnSpPr>
          <p:nvPr/>
        </p:nvCxnSpPr>
        <p:spPr>
          <a:xfrm flipH="1">
            <a:off x="2560638" y="1812877"/>
            <a:ext cx="4507455"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603E8E9-3E6F-4875-89EC-2887A614A793}"/>
              </a:ext>
            </a:extLst>
          </p:cNvPr>
          <p:cNvSpPr>
            <a:spLocks noGrp="1"/>
          </p:cNvSpPr>
          <p:nvPr>
            <p:ph type="title" hasCustomPrompt="1"/>
          </p:nvPr>
        </p:nvSpPr>
        <p:spPr>
          <a:xfrm>
            <a:off x="511176" y="1601788"/>
            <a:ext cx="1947862" cy="1325563"/>
          </a:xfrm>
        </p:spPr>
        <p:txBody>
          <a:bodyPr/>
          <a:lstStyle>
            <a:lvl1pPr>
              <a:defRPr>
                <a:solidFill>
                  <a:schemeClr val="bg1"/>
                </a:solidFill>
              </a:defRPr>
            </a:lvl1pPr>
          </a:lstStyle>
          <a:p>
            <a:r>
              <a:rPr lang="en-GB"/>
              <a:t>Agenda</a:t>
            </a:r>
          </a:p>
        </p:txBody>
      </p:sp>
      <p:sp>
        <p:nvSpPr>
          <p:cNvPr id="75" name="Agenda Placeholder">
            <a:extLst>
              <a:ext uri="{FF2B5EF4-FFF2-40B4-BE49-F238E27FC236}">
                <a16:creationId xmlns:a16="http://schemas.microsoft.com/office/drawing/2014/main" id="{D00E8ABA-C8B2-4972-8417-C82FB15B6BD6}"/>
              </a:ext>
            </a:extLst>
          </p:cNvPr>
          <p:cNvSpPr>
            <a:spLocks noGrp="1"/>
          </p:cNvSpPr>
          <p:nvPr>
            <p:ph type="body" sz="quarter" idx="10" hasCustomPrompt="1"/>
          </p:nvPr>
        </p:nvSpPr>
        <p:spPr>
          <a:xfrm>
            <a:off x="7683500" y="1601788"/>
            <a:ext cx="2950014" cy="4275137"/>
          </a:xfrm>
        </p:spPr>
        <p:txBody>
          <a:bodyPr/>
          <a:lstStyle>
            <a:lvl1pPr marL="342900" indent="-342900">
              <a:lnSpc>
                <a:spcPct val="100000"/>
              </a:lnSpc>
              <a:spcBef>
                <a:spcPts val="0"/>
              </a:spcBef>
              <a:spcAft>
                <a:spcPts val="600"/>
              </a:spcAft>
              <a:buFont typeface="+mj-lt"/>
              <a:buAutoNum type="arabicPlain"/>
              <a:tabLst/>
              <a:defRPr sz="1600">
                <a:solidFill>
                  <a:schemeClr val="bg1"/>
                </a:solidFill>
                <a:latin typeface="+mn-lt"/>
              </a:defRPr>
            </a:lvl1pPr>
            <a:lvl2pPr marL="514350" indent="-171450">
              <a:buFont typeface="Calibre" panose="020B0503030202060203" pitchFamily="34" charset="0"/>
              <a:buChar char="–"/>
              <a:defRPr sz="1100">
                <a:solidFill>
                  <a:schemeClr val="bg1"/>
                </a:solidFill>
                <a:latin typeface="+mn-lt"/>
              </a:defRPr>
            </a:lvl2pPr>
            <a:lvl3pP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GB"/>
              <a:t>Agenda item</a:t>
            </a:r>
          </a:p>
          <a:p>
            <a:pPr lvl="1"/>
            <a:r>
              <a:rPr lang="en-GB"/>
              <a:t>Second level</a:t>
            </a:r>
          </a:p>
          <a:p>
            <a:pPr lvl="2"/>
            <a:r>
              <a:rPr lang="en-GB"/>
              <a:t>Third level</a:t>
            </a:r>
          </a:p>
          <a:p>
            <a:pPr lvl="3"/>
            <a:r>
              <a:rPr lang="en-GB"/>
              <a:t>Fourth level</a:t>
            </a:r>
          </a:p>
          <a:p>
            <a:pPr lvl="4"/>
            <a:r>
              <a:rPr lang="en-GB"/>
              <a:t>Fifth level</a:t>
            </a:r>
          </a:p>
        </p:txBody>
      </p:sp>
      <p:sp>
        <p:nvSpPr>
          <p:cNvPr id="8" name="TextBox 7">
            <a:extLst>
              <a:ext uri="{FF2B5EF4-FFF2-40B4-BE49-F238E27FC236}">
                <a16:creationId xmlns:a16="http://schemas.microsoft.com/office/drawing/2014/main" id="{378EE95C-17B0-474E-86B9-86CE4D5CE658}"/>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Tree>
    <p:extLst>
      <p:ext uri="{BB962C8B-B14F-4D97-AF65-F5344CB8AC3E}">
        <p14:creationId xmlns:p14="http://schemas.microsoft.com/office/powerpoint/2010/main" val="1504690628"/>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963227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8" name="Bottom line">
            <a:extLst>
              <a:ext uri="{FF2B5EF4-FFF2-40B4-BE49-F238E27FC236}">
                <a16:creationId xmlns:a16="http://schemas.microsoft.com/office/drawing/2014/main" id="{91E13582-C984-4CD2-8775-E415FC532B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EADFF66-BEC8-40DA-BA4E-95EB941E1C2C}"/>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966C5BD2-F0DE-4102-97E0-F3335128DCAD}"/>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ED31669E-9C1D-46E1-8605-888D1A1D383E}"/>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0" name="Supertitle">
            <a:extLst>
              <a:ext uri="{FF2B5EF4-FFF2-40B4-BE49-F238E27FC236}">
                <a16:creationId xmlns:a16="http://schemas.microsoft.com/office/drawing/2014/main" id="{5C0A816F-1947-4BDC-A02C-3BD69CF16153}"/>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1981084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 Column_Text onl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1367458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270033"/>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3" name="Text Placeholder 5">
            <a:extLst>
              <a:ext uri="{FF2B5EF4-FFF2-40B4-BE49-F238E27FC236}">
                <a16:creationId xmlns:a16="http://schemas.microsoft.com/office/drawing/2014/main" id="{8249FAAD-0B39-45B2-A52D-09E60D0FB5A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2" name="Supertitle">
            <a:extLst>
              <a:ext uri="{FF2B5EF4-FFF2-40B4-BE49-F238E27FC236}">
                <a16:creationId xmlns:a16="http://schemas.microsoft.com/office/drawing/2014/main" id="{11E3AFDC-8A2A-4B3C-BA3F-6981C6D23632}"/>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5281011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060045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8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551AAFC0-23D8-44F1-A784-6888E5BC8BBF}"/>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609753E2-8329-46F7-804D-D1DD09BED2F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8" name="Text Placeholder 2">
            <a:extLst>
              <a:ext uri="{FF2B5EF4-FFF2-40B4-BE49-F238E27FC236}">
                <a16:creationId xmlns:a16="http://schemas.microsoft.com/office/drawing/2014/main" id="{B6BEC55A-E3A2-4B0E-8692-C3CB67F7154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A1B13C52-4931-4546-AD7E-D99897E43A53}"/>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5">
            <a:extLst>
              <a:ext uri="{FF2B5EF4-FFF2-40B4-BE49-F238E27FC236}">
                <a16:creationId xmlns:a16="http://schemas.microsoft.com/office/drawing/2014/main" id="{866FB387-E820-4B00-9284-503FDF8E7CB6}"/>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3" name="Supertitle">
            <a:extLst>
              <a:ext uri="{FF2B5EF4-FFF2-40B4-BE49-F238E27FC236}">
                <a16:creationId xmlns:a16="http://schemas.microsoft.com/office/drawing/2014/main" id="{6E091A24-038E-467B-9EA3-036FD3A20C0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651987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8337380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1710172"/>
            <a:ext cx="5376000" cy="854080"/>
          </a:xfrm>
        </p:spPr>
        <p:txBody>
          <a:bodyPr>
            <a:spAutoFit/>
          </a:bodyPr>
          <a:lstStyle>
            <a:lvl1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88303"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 </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A3879DDF-1FC7-44C7-A138-E840EF13C69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3099186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769889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530224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E93A44D-E748-4D8D-A17F-5384A0EE4B00}"/>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3246768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6922523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1710172"/>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9EEBA4A1-1C33-45CD-8C84-6132F5FA68D9}"/>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7471468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s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523405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263129"/>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Supertitle">
            <a:extLst>
              <a:ext uri="{FF2B5EF4-FFF2-40B4-BE49-F238E27FC236}">
                <a16:creationId xmlns:a16="http://schemas.microsoft.com/office/drawing/2014/main" id="{DC597492-B8FB-4245-88C4-120E467CFE58}"/>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6590050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x2 Columns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017925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171017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11862"/>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Header 1">
            <a:extLst>
              <a:ext uri="{FF2B5EF4-FFF2-40B4-BE49-F238E27FC236}">
                <a16:creationId xmlns:a16="http://schemas.microsoft.com/office/drawing/2014/main" id="{B3A70672-DEF1-4781-8187-BBE12AC5BDA8}"/>
              </a:ext>
            </a:extLst>
          </p:cNvPr>
          <p:cNvSpPr>
            <a:spLocks noGrp="1"/>
          </p:cNvSpPr>
          <p:nvPr>
            <p:ph type="body" sz="quarter" idx="29" hasCustomPrompt="1"/>
          </p:nvPr>
        </p:nvSpPr>
        <p:spPr>
          <a:xfrm>
            <a:off x="381000"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9" name="Header 2">
            <a:extLst>
              <a:ext uri="{FF2B5EF4-FFF2-40B4-BE49-F238E27FC236}">
                <a16:creationId xmlns:a16="http://schemas.microsoft.com/office/drawing/2014/main" id="{A4563EEA-EE02-448A-9297-03EDBEB06ECF}"/>
              </a:ext>
            </a:extLst>
          </p:cNvPr>
          <p:cNvSpPr>
            <a:spLocks noGrp="1"/>
          </p:cNvSpPr>
          <p:nvPr>
            <p:ph type="body" sz="quarter" idx="30" hasCustomPrompt="1"/>
          </p:nvPr>
        </p:nvSpPr>
        <p:spPr>
          <a:xfrm>
            <a:off x="6433799" y="126312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3">
            <a:extLst>
              <a:ext uri="{FF2B5EF4-FFF2-40B4-BE49-F238E27FC236}">
                <a16:creationId xmlns:a16="http://schemas.microsoft.com/office/drawing/2014/main" id="{DBCFF04C-DDD2-4735-9A77-9C0D16B52B63}"/>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4">
            <a:extLst>
              <a:ext uri="{FF2B5EF4-FFF2-40B4-BE49-F238E27FC236}">
                <a16:creationId xmlns:a16="http://schemas.microsoft.com/office/drawing/2014/main" id="{79FB59F5-1A7D-4B39-B4D2-835B2134FB50}"/>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C90526E6-79C0-41FB-941B-65EF72C734ED}"/>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7" name="Supertitle">
            <a:extLst>
              <a:ext uri="{FF2B5EF4-FFF2-40B4-BE49-F238E27FC236}">
                <a16:creationId xmlns:a16="http://schemas.microsoft.com/office/drawing/2014/main" id="{59F222D9-1944-4EC5-82BF-3282F1AF553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9051249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Row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11065388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1710172"/>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599" y="1263129"/>
            <a:ext cx="11428799" cy="369332"/>
          </a:xfrm>
        </p:spPr>
        <p:txBody>
          <a:bodyPr vert="horz"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5" name="Text Placeholder 5">
            <a:extLst>
              <a:ext uri="{FF2B5EF4-FFF2-40B4-BE49-F238E27FC236}">
                <a16:creationId xmlns:a16="http://schemas.microsoft.com/office/drawing/2014/main" id="{985C6688-BDF1-491A-9553-45D65D0BD91B}"/>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C3A59FB0-5222-4FB6-94EF-BE589A10664B}"/>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76860526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 Rows &amp; tex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1720164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7899396" y="1263129"/>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263129"/>
            <a:ext cx="5410200" cy="369332"/>
          </a:xfrm>
        </p:spPr>
        <p:txBody>
          <a:bodyPr vert="horz" wrap="square" lIns="0" tIns="0" rIns="0" bIns="0" rtlCol="0">
            <a:spAutoFit/>
          </a:bodyPr>
          <a:lstStyle>
            <a:lvl1pPr>
              <a:spcBef>
                <a:spcPts val="0"/>
              </a:spcBef>
              <a:defRPr lang="en-GB" sz="1200" b="1"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7899400" y="297463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001" y="297463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2">
            <a:extLst>
              <a:ext uri="{FF2B5EF4-FFF2-40B4-BE49-F238E27FC236}">
                <a16:creationId xmlns:a16="http://schemas.microsoft.com/office/drawing/2014/main" id="{4687F94A-322A-4EB6-8A12-48525F91E4D6}"/>
              </a:ext>
            </a:extLst>
          </p:cNvPr>
          <p:cNvSpPr>
            <a:spLocks noGrp="1"/>
          </p:cNvSpPr>
          <p:nvPr>
            <p:ph type="body" sz="quarter" idx="37"/>
          </p:nvPr>
        </p:nvSpPr>
        <p:spPr>
          <a:xfrm>
            <a:off x="7899400" y="4690707"/>
            <a:ext cx="39103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Header 2">
            <a:extLst>
              <a:ext uri="{FF2B5EF4-FFF2-40B4-BE49-F238E27FC236}">
                <a16:creationId xmlns:a16="http://schemas.microsoft.com/office/drawing/2014/main" id="{F3848A98-EF77-446F-8A2A-A34B897D5A2F}"/>
              </a:ext>
            </a:extLst>
          </p:cNvPr>
          <p:cNvSpPr>
            <a:spLocks noGrp="1"/>
          </p:cNvSpPr>
          <p:nvPr>
            <p:ph type="body" sz="quarter" idx="38" hasCustomPrompt="1"/>
          </p:nvPr>
        </p:nvSpPr>
        <p:spPr>
          <a:xfrm>
            <a:off x="381001" y="4690707"/>
            <a:ext cx="5410200"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C77996AB-B18E-46E4-996A-2DB51A023F19}"/>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1D38A38A-3AF0-47D4-A7EB-872A8891B8C3}"/>
              </a:ext>
            </a:extLst>
          </p:cNvPr>
          <p:cNvSpPr>
            <a:spLocks noGrp="1"/>
          </p:cNvSpPr>
          <p:nvPr>
            <p:ph type="body" sz="quarter" idx="3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84956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genda 2">
    <p:bg>
      <p:bgPr>
        <a:solidFill>
          <a:schemeClr val="bg1"/>
        </a:solid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27190B2A-4A03-4442-BCB9-881FECD2D9D6}"/>
              </a:ext>
            </a:extLst>
          </p:cNvPr>
          <p:cNvCxnSpPr>
            <a:cxnSpLocks/>
          </p:cNvCxnSpPr>
          <p:nvPr/>
        </p:nvCxnSpPr>
        <p:spPr>
          <a:xfrm flipH="1">
            <a:off x="3575527" y="1812877"/>
            <a:ext cx="8103710"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603E8E9-3E6F-4875-89EC-2887A614A793}"/>
              </a:ext>
            </a:extLst>
          </p:cNvPr>
          <p:cNvSpPr>
            <a:spLocks noGrp="1"/>
          </p:cNvSpPr>
          <p:nvPr>
            <p:ph type="title" hasCustomPrompt="1"/>
          </p:nvPr>
        </p:nvSpPr>
        <p:spPr>
          <a:xfrm>
            <a:off x="511176" y="1601788"/>
            <a:ext cx="1947862" cy="1325563"/>
          </a:xfrm>
        </p:spPr>
        <p:txBody>
          <a:bodyPr/>
          <a:lstStyle>
            <a:lvl1pPr>
              <a:defRPr/>
            </a:lvl1pPr>
          </a:lstStyle>
          <a:p>
            <a:r>
              <a:rPr lang="en-GB"/>
              <a:t>Agenda</a:t>
            </a:r>
          </a:p>
        </p:txBody>
      </p:sp>
      <p:sp>
        <p:nvSpPr>
          <p:cNvPr id="75" name="Agenda Placeholder">
            <a:extLst>
              <a:ext uri="{FF2B5EF4-FFF2-40B4-BE49-F238E27FC236}">
                <a16:creationId xmlns:a16="http://schemas.microsoft.com/office/drawing/2014/main" id="{D00E8ABA-C8B2-4972-8417-C82FB15B6BD6}"/>
              </a:ext>
            </a:extLst>
          </p:cNvPr>
          <p:cNvSpPr>
            <a:spLocks noGrp="1"/>
          </p:cNvSpPr>
          <p:nvPr>
            <p:ph type="body" sz="quarter" idx="10" hasCustomPrompt="1"/>
          </p:nvPr>
        </p:nvSpPr>
        <p:spPr>
          <a:xfrm>
            <a:off x="3584574" y="4102100"/>
            <a:ext cx="7581902" cy="2275550"/>
          </a:xfrm>
        </p:spPr>
        <p:txBody>
          <a:bodyPr rIns="512064" numCol="2" spcCol="768096"/>
          <a:lstStyle>
            <a:lvl1pPr marL="342900" indent="-342900">
              <a:lnSpc>
                <a:spcPct val="100000"/>
              </a:lnSpc>
              <a:spcBef>
                <a:spcPts val="0"/>
              </a:spcBef>
              <a:spcAft>
                <a:spcPts val="600"/>
              </a:spcAft>
              <a:buFont typeface="+mj-lt"/>
              <a:buAutoNum type="arabicPlain"/>
              <a:tabLst/>
              <a:defRPr sz="1600">
                <a:solidFill>
                  <a:schemeClr val="tx1"/>
                </a:solidFill>
                <a:latin typeface="+mn-lt"/>
              </a:defRPr>
            </a:lvl1pPr>
            <a:lvl2pPr marL="514350" indent="-171450">
              <a:buFont typeface="Calibre" panose="020B0503030202060203" pitchFamily="34" charset="0"/>
              <a:buChar char="–"/>
              <a:defRPr sz="1200">
                <a:solidFill>
                  <a:schemeClr val="tx1"/>
                </a:solidFill>
                <a:latin typeface="+mn-lt"/>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Agenda item</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711487937"/>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139955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bg1"/>
              </a:buClr>
              <a:defRPr>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6" name="Text Placeholder 5">
            <a:extLst>
              <a:ext uri="{FF2B5EF4-FFF2-40B4-BE49-F238E27FC236}">
                <a16:creationId xmlns:a16="http://schemas.microsoft.com/office/drawing/2014/main" id="{296E39B4-E00F-4D59-857C-878A9F55904D}"/>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62F7998E-9755-4032-BD0C-8CD0805FC6E3}"/>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413589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Executive Summary_ligh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553080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acb0b369-aa8c-4b31-ab38-74d78cf51d99">
            <a:extLst>
              <a:ext uri="{FF2B5EF4-FFF2-40B4-BE49-F238E27FC236}">
                <a16:creationId xmlns:a16="http://schemas.microsoft.com/office/drawing/2014/main" id="{D192A937-36F1-43E9-9FBA-8508F900F212}"/>
              </a:ext>
            </a:extLst>
          </p:cNvPr>
          <p:cNvSpPr/>
          <p:nvPr/>
        </p:nvSpPr>
        <p:spPr>
          <a:xfrm>
            <a:off x="-8393" y="-1"/>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19" name="3fb81c30-15ed-4c93-9863-f6b57534edf8">
            <a:extLst>
              <a:ext uri="{FF2B5EF4-FFF2-40B4-BE49-F238E27FC236}">
                <a16:creationId xmlns:a16="http://schemas.microsoft.com/office/drawing/2014/main" id="{D6606AFB-B38F-4576-B399-255BFCDC9EEB}"/>
              </a:ext>
            </a:extLst>
          </p:cNvPr>
          <p:cNvCxnSpPr>
            <a:cxnSpLocks/>
          </p:cNvCxnSpPr>
          <p:nvPr/>
        </p:nvCxnSpPr>
        <p:spPr>
          <a:xfrm>
            <a:off x="380996" y="2643567"/>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87bda0fb-aa74-4c09-ab9d-334ef6f592c0">
            <a:extLst>
              <a:ext uri="{FF2B5EF4-FFF2-40B4-BE49-F238E27FC236}">
                <a16:creationId xmlns:a16="http://schemas.microsoft.com/office/drawing/2014/main" id="{F9F30819-AB3F-4A43-BB50-F7A130CBA66C}"/>
              </a:ext>
            </a:extLst>
          </p:cNvPr>
          <p:cNvSpPr txBox="1">
            <a:spLocks/>
          </p:cNvSpPr>
          <p:nvPr/>
        </p:nvSpPr>
        <p:spPr>
          <a:xfrm>
            <a:off x="380996" y="1133611"/>
            <a:ext cx="3164179" cy="1384995"/>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spcBef>
                <a:spcPts val="0"/>
              </a:spcBef>
            </a:pPr>
            <a:r>
              <a:rPr lang="en-GB" sz="4400" b="0" spc="6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Executive Summary</a:t>
            </a:r>
          </a:p>
        </p:txBody>
      </p:sp>
      <p:cxnSp>
        <p:nvCxnSpPr>
          <p:cNvPr id="18" name="ffea8505-d447-4023-bd83-89b3727ac8bb">
            <a:extLst>
              <a:ext uri="{FF2B5EF4-FFF2-40B4-BE49-F238E27FC236}">
                <a16:creationId xmlns:a16="http://schemas.microsoft.com/office/drawing/2014/main" id="{91E13582-C984-4CD2-8775-E415FC532B0D}"/>
              </a:ext>
            </a:extLst>
          </p:cNvPr>
          <p:cNvCxnSpPr>
            <a:cxnSpLocks/>
          </p:cNvCxnSpPr>
          <p:nvPr/>
        </p:nvCxnSpPr>
        <p:spPr>
          <a:xfrm>
            <a:off x="3814481" y="6445604"/>
            <a:ext cx="80092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71B2B38-6A7E-4142-8E20-1DFA910CF767}"/>
              </a:ext>
            </a:extLst>
          </p:cNvPr>
          <p:cNvSpPr>
            <a:spLocks noGrp="1"/>
          </p:cNvSpPr>
          <p:nvPr>
            <p:ph type="body" sz="quarter" idx="27"/>
          </p:nvPr>
        </p:nvSpPr>
        <p:spPr>
          <a:xfrm>
            <a:off x="380996" y="2860467"/>
            <a:ext cx="3038479" cy="977191"/>
          </a:xfrm>
        </p:spPr>
        <p:txBody>
          <a:bodyPr>
            <a:spAutoFit/>
          </a:bodyPr>
          <a:lstStyle>
            <a:lvl1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100000"/>
              </a:lnSpc>
              <a:spcBef>
                <a:spcPts val="6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30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0"/>
              </a:spcBef>
              <a:buClr>
                <a:schemeClr val="tx1"/>
              </a:buClr>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Placeholder 4">
            <a:extLst>
              <a:ext uri="{FF2B5EF4-FFF2-40B4-BE49-F238E27FC236}">
                <a16:creationId xmlns:a16="http://schemas.microsoft.com/office/drawing/2014/main" id="{7961071D-8A41-4BD0-BCD8-EBDC12580AE7}"/>
              </a:ext>
            </a:extLst>
          </p:cNvPr>
          <p:cNvSpPr>
            <a:spLocks noGrp="1"/>
          </p:cNvSpPr>
          <p:nvPr>
            <p:ph type="body" sz="quarter" idx="28" hasCustomPrompt="1"/>
          </p:nvPr>
        </p:nvSpPr>
        <p:spPr>
          <a:xfrm>
            <a:off x="3814481" y="1270000"/>
            <a:ext cx="8009220" cy="761747"/>
          </a:xfrm>
        </p:spPr>
        <p:txBody>
          <a:bodyPr>
            <a:spAutoFit/>
          </a:bodyPr>
          <a:lstStyle>
            <a:lvl1pPr>
              <a:lnSpc>
                <a:spcPct val="100000"/>
              </a:lnSpc>
              <a:spcBef>
                <a:spcPts val="600"/>
              </a:spcBef>
              <a:defRPr>
                <a:solidFill>
                  <a:schemeClr val="tx1"/>
                </a:solidFill>
              </a:defRPr>
            </a:lvl1pPr>
            <a:lvl2pPr>
              <a:lnSpc>
                <a:spcPct val="100000"/>
              </a:lnSpc>
              <a:spcBef>
                <a:spcPts val="12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lnSpc>
                <a:spcPct val="100000"/>
              </a:lnSpc>
              <a:spcBef>
                <a:spcPts val="6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lnSpc>
                <a:spcPct val="100000"/>
              </a:lnSpc>
              <a:spcBef>
                <a:spcPts val="300"/>
              </a:spcBef>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vl5pPr>
              <a:lnSpc>
                <a:spcPct val="100000"/>
              </a:lnSpc>
              <a:spcBef>
                <a:spcPts val="600"/>
              </a:spcBef>
              <a:defRPr>
                <a:solidFill>
                  <a:schemeClr val="bg1"/>
                </a:solidFill>
              </a:defRPr>
            </a:lvl5pPr>
          </a:lstStyle>
          <a:p>
            <a:pPr lvl="1"/>
            <a:r>
              <a:rPr lang="en-GB"/>
              <a:t>Second level</a:t>
            </a:r>
          </a:p>
          <a:p>
            <a:pPr lvl="2"/>
            <a:r>
              <a:rPr lang="en-GB"/>
              <a:t>Third level</a:t>
            </a:r>
          </a:p>
          <a:p>
            <a:pPr lvl="3"/>
            <a:r>
              <a:rPr lang="en-GB"/>
              <a:t>Fourth level</a:t>
            </a:r>
          </a:p>
        </p:txBody>
      </p:sp>
      <p:sp>
        <p:nvSpPr>
          <p:cNvPr id="32" name="Text Placeholder 2">
            <a:extLst>
              <a:ext uri="{FF2B5EF4-FFF2-40B4-BE49-F238E27FC236}">
                <a16:creationId xmlns:a16="http://schemas.microsoft.com/office/drawing/2014/main" id="{6D7F2915-2024-405B-B85D-6EFFF849861E}"/>
              </a:ext>
            </a:extLst>
          </p:cNvPr>
          <p:cNvSpPr>
            <a:spLocks noGrp="1"/>
          </p:cNvSpPr>
          <p:nvPr>
            <p:ph type="body" sz="quarter" idx="22" hasCustomPrompt="1"/>
          </p:nvPr>
        </p:nvSpPr>
        <p:spPr>
          <a:xfrm>
            <a:off x="381448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2" name="Confidential">
            <a:extLst>
              <a:ext uri="{FF2B5EF4-FFF2-40B4-BE49-F238E27FC236}">
                <a16:creationId xmlns:a16="http://schemas.microsoft.com/office/drawing/2014/main" id="{04A7469E-A6EE-486C-9196-7B95043F65D8}"/>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15" name="Text Placeholder 5">
            <a:extLst>
              <a:ext uri="{FF2B5EF4-FFF2-40B4-BE49-F238E27FC236}">
                <a16:creationId xmlns:a16="http://schemas.microsoft.com/office/drawing/2014/main" id="{C4F4EA92-B201-44CA-85E5-A9F9BAA6DF30}"/>
              </a:ext>
            </a:extLst>
          </p:cNvPr>
          <p:cNvSpPr>
            <a:spLocks noGrp="1"/>
          </p:cNvSpPr>
          <p:nvPr>
            <p:ph type="body" sz="quarter" idx="32" hasCustomPrompt="1"/>
          </p:nvPr>
        </p:nvSpPr>
        <p:spPr>
          <a:xfrm>
            <a:off x="3814481" y="6474841"/>
            <a:ext cx="800922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6" name="Supertitle">
            <a:extLst>
              <a:ext uri="{FF2B5EF4-FFF2-40B4-BE49-F238E27FC236}">
                <a16:creationId xmlns:a16="http://schemas.microsoft.com/office/drawing/2014/main" id="{24864468-8529-4837-946B-A32F0101EA46}"/>
              </a:ext>
            </a:extLst>
          </p:cNvPr>
          <p:cNvSpPr>
            <a:spLocks noGrp="1"/>
          </p:cNvSpPr>
          <p:nvPr>
            <p:ph type="body" sz="quarter" idx="31" hasCustomPrompt="1"/>
          </p:nvPr>
        </p:nvSpPr>
        <p:spPr>
          <a:xfrm>
            <a:off x="3814481"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8471609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Key slide">
    <p:bg>
      <p:bgPr>
        <a:solidFill>
          <a:schemeClr val="accent2"/>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30D8684F-2331-410E-8BCD-8E48E223924B}"/>
              </a:ext>
            </a:extLst>
          </p:cNvPr>
          <p:cNvGraphicFramePr>
            <a:graphicFrameLocks noChangeAspect="1"/>
          </p:cNvGraphicFramePr>
          <p:nvPr userDrawn="1">
            <p:custDataLst>
              <p:tags r:id="rId1"/>
            </p:custDataLst>
            <p:extLst>
              <p:ext uri="{D42A27DB-BD31-4B8C-83A1-F6EECF244321}">
                <p14:modId xmlns:p14="http://schemas.microsoft.com/office/powerpoint/2010/main" val="222640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Object 16" hidden="1">
                        <a:extLst>
                          <a:ext uri="{FF2B5EF4-FFF2-40B4-BE49-F238E27FC236}">
                            <a16:creationId xmlns:a16="http://schemas.microsoft.com/office/drawing/2014/main" id="{30D8684F-2331-410E-8BCD-8E48E2239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274DFB-B380-4A92-94A7-A35E0797C6E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 name="Text Placeholder 47">
            <a:extLst>
              <a:ext uri="{FF2B5EF4-FFF2-40B4-BE49-F238E27FC236}">
                <a16:creationId xmlns:a16="http://schemas.microsoft.com/office/drawing/2014/main" id="{791FCF58-A259-4F9A-8EC3-F6830108B056}"/>
              </a:ext>
            </a:extLst>
          </p:cNvPr>
          <p:cNvSpPr>
            <a:spLocks noGrp="1"/>
          </p:cNvSpPr>
          <p:nvPr>
            <p:ph type="body" sz="quarter" idx="31" hasCustomPrompt="1"/>
          </p:nvPr>
        </p:nvSpPr>
        <p:spPr>
          <a:xfrm>
            <a:off x="380999" y="1268129"/>
            <a:ext cx="11428800" cy="215444"/>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solidFill>
                  <a:schemeClr val="tx1"/>
                </a:solidFill>
              </a:rPr>
              <a:t>Subtitle Key Slide</a:t>
            </a:r>
          </a:p>
        </p:txBody>
      </p:sp>
      <p:sp>
        <p:nvSpPr>
          <p:cNvPr id="4" name="Rectangle 3">
            <a:extLst>
              <a:ext uri="{FF2B5EF4-FFF2-40B4-BE49-F238E27FC236}">
                <a16:creationId xmlns:a16="http://schemas.microsoft.com/office/drawing/2014/main" id="{5DE3BBEF-4A7D-42A4-8E08-6883FD64DA5B}"/>
              </a:ext>
            </a:extLst>
          </p:cNvPr>
          <p:cNvSpPr/>
          <p:nvPr/>
        </p:nvSpPr>
        <p:spPr>
          <a:xfrm>
            <a:off x="10254343" y="411856"/>
            <a:ext cx="1670179" cy="334593"/>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5" name="5d8d361f-22c4-4b42-8dc9-17fbf8f083ac">
            <a:extLst>
              <a:ext uri="{FF2B5EF4-FFF2-40B4-BE49-F238E27FC236}">
                <a16:creationId xmlns:a16="http://schemas.microsoft.com/office/drawing/2014/main" id="{8A88AD16-2E5E-4CEF-8D7B-94808A9D94CC}"/>
              </a:ext>
            </a:extLst>
          </p:cNvPr>
          <p:cNvGrpSpPr/>
          <p:nvPr/>
        </p:nvGrpSpPr>
        <p:grpSpPr>
          <a:xfrm>
            <a:off x="10307419" y="465323"/>
            <a:ext cx="1510782" cy="198704"/>
            <a:chOff x="10307419" y="465323"/>
            <a:chExt cx="1510782" cy="198704"/>
          </a:xfrm>
          <a:solidFill>
            <a:schemeClr val="tx1"/>
          </a:solidFill>
        </p:grpSpPr>
        <p:sp>
          <p:nvSpPr>
            <p:cNvPr id="6" name="Freeform: Shape 5">
              <a:extLst>
                <a:ext uri="{FF2B5EF4-FFF2-40B4-BE49-F238E27FC236}">
                  <a16:creationId xmlns:a16="http://schemas.microsoft.com/office/drawing/2014/main" id="{1C0D52D9-5D86-4027-9879-849CA296714D}"/>
                </a:ext>
              </a:extLst>
            </p:cNvPr>
            <p:cNvSpPr/>
            <p:nvPr/>
          </p:nvSpPr>
          <p:spPr>
            <a:xfrm>
              <a:off x="10307419" y="479773"/>
              <a:ext cx="170004" cy="175003"/>
            </a:xfrm>
            <a:custGeom>
              <a:avLst/>
              <a:gdLst>
                <a:gd name="connsiteX0" fmla="*/ 145553 w 170003"/>
                <a:gd name="connsiteY0" fmla="*/ 178153 h 175003"/>
                <a:gd name="connsiteX1" fmla="*/ 129803 w 170003"/>
                <a:gd name="connsiteY1" fmla="*/ 138653 h 175003"/>
                <a:gd name="connsiteX2" fmla="*/ 41151 w 170003"/>
                <a:gd name="connsiteY2" fmla="*/ 138653 h 175003"/>
                <a:gd name="connsiteX3" fmla="*/ 25401 w 170003"/>
                <a:gd name="connsiteY3" fmla="*/ 178153 h 175003"/>
                <a:gd name="connsiteX4" fmla="*/ 0 w 170003"/>
                <a:gd name="connsiteY4" fmla="*/ 178153 h 175003"/>
                <a:gd name="connsiteX5" fmla="*/ 71602 w 170003"/>
                <a:gd name="connsiteY5" fmla="*/ 0 h 175003"/>
                <a:gd name="connsiteX6" fmla="*/ 99102 w 170003"/>
                <a:gd name="connsiteY6" fmla="*/ 0 h 175003"/>
                <a:gd name="connsiteX7" fmla="*/ 170954 w 170003"/>
                <a:gd name="connsiteY7" fmla="*/ 178103 h 175003"/>
                <a:gd name="connsiteX8" fmla="*/ 145553 w 170003"/>
                <a:gd name="connsiteY8" fmla="*/ 178103 h 175003"/>
                <a:gd name="connsiteX9" fmla="*/ 85502 w 170003"/>
                <a:gd name="connsiteY9" fmla="*/ 23000 h 175003"/>
                <a:gd name="connsiteX10" fmla="*/ 47601 w 170003"/>
                <a:gd name="connsiteY10" fmla="*/ 118852 h 175003"/>
                <a:gd name="connsiteX11" fmla="*/ 123203 w 170003"/>
                <a:gd name="connsiteY11" fmla="*/ 118852 h 175003"/>
                <a:gd name="connsiteX12" fmla="*/ 855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53" y="178153"/>
                  </a:moveTo>
                  <a:lnTo>
                    <a:pt x="129803" y="138653"/>
                  </a:lnTo>
                  <a:lnTo>
                    <a:pt x="41151" y="138653"/>
                  </a:lnTo>
                  <a:lnTo>
                    <a:pt x="25401" y="178153"/>
                  </a:lnTo>
                  <a:lnTo>
                    <a:pt x="0" y="178153"/>
                  </a:lnTo>
                  <a:lnTo>
                    <a:pt x="71602" y="0"/>
                  </a:lnTo>
                  <a:lnTo>
                    <a:pt x="99102" y="0"/>
                  </a:lnTo>
                  <a:lnTo>
                    <a:pt x="170954" y="178103"/>
                  </a:lnTo>
                  <a:lnTo>
                    <a:pt x="145553" y="178103"/>
                  </a:lnTo>
                  <a:close/>
                  <a:moveTo>
                    <a:pt x="85502" y="23000"/>
                  </a:moveTo>
                  <a:lnTo>
                    <a:pt x="47601" y="118852"/>
                  </a:lnTo>
                  <a:lnTo>
                    <a:pt x="123203" y="118852"/>
                  </a:lnTo>
                  <a:lnTo>
                    <a:pt x="855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7" name="Freeform: Shape 6">
              <a:extLst>
                <a:ext uri="{FF2B5EF4-FFF2-40B4-BE49-F238E27FC236}">
                  <a16:creationId xmlns:a16="http://schemas.microsoft.com/office/drawing/2014/main" id="{429AEC83-2158-49D6-9185-DE976140A84D}"/>
                </a:ext>
              </a:extLst>
            </p:cNvPr>
            <p:cNvSpPr/>
            <p:nvPr/>
          </p:nvSpPr>
          <p:spPr>
            <a:xfrm>
              <a:off x="10574675" y="479773"/>
              <a:ext cx="145003" cy="180004"/>
            </a:xfrm>
            <a:custGeom>
              <a:avLst/>
              <a:gdLst>
                <a:gd name="connsiteX0" fmla="*/ 0 w 145003"/>
                <a:gd name="connsiteY0" fmla="*/ 109002 h 180003"/>
                <a:gd name="connsiteX1" fmla="*/ 0 w 145003"/>
                <a:gd name="connsiteY1" fmla="*/ 0 h 180003"/>
                <a:gd name="connsiteX2" fmla="*/ 22150 w 145003"/>
                <a:gd name="connsiteY2" fmla="*/ 0 h 180003"/>
                <a:gd name="connsiteX3" fmla="*/ 22150 w 145003"/>
                <a:gd name="connsiteY3" fmla="*/ 108402 h 180003"/>
                <a:gd name="connsiteX4" fmla="*/ 72602 w 145003"/>
                <a:gd name="connsiteY4" fmla="*/ 161553 h 180003"/>
                <a:gd name="connsiteX5" fmla="*/ 123053 w 145003"/>
                <a:gd name="connsiteY5" fmla="*/ 108402 h 180003"/>
                <a:gd name="connsiteX6" fmla="*/ 123053 w 145003"/>
                <a:gd name="connsiteY6" fmla="*/ 0 h 180003"/>
                <a:gd name="connsiteX7" fmla="*/ 145203 w 145003"/>
                <a:gd name="connsiteY7" fmla="*/ 0 h 180003"/>
                <a:gd name="connsiteX8" fmla="*/ 145203 w 145003"/>
                <a:gd name="connsiteY8" fmla="*/ 108702 h 180003"/>
                <a:gd name="connsiteX9" fmla="*/ 72552 w 145003"/>
                <a:gd name="connsiteY9" fmla="*/ 181354 h 180003"/>
                <a:gd name="connsiteX10" fmla="*/ 0 w 145003"/>
                <a:gd name="connsiteY10" fmla="*/ 109002 h 18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003" h="180003">
                  <a:moveTo>
                    <a:pt x="0" y="109002"/>
                  </a:moveTo>
                  <a:lnTo>
                    <a:pt x="0" y="0"/>
                  </a:lnTo>
                  <a:lnTo>
                    <a:pt x="22150" y="0"/>
                  </a:lnTo>
                  <a:lnTo>
                    <a:pt x="22150" y="108402"/>
                  </a:lnTo>
                  <a:cubicBezTo>
                    <a:pt x="22150" y="140953"/>
                    <a:pt x="39801" y="161553"/>
                    <a:pt x="72602" y="161553"/>
                  </a:cubicBezTo>
                  <a:cubicBezTo>
                    <a:pt x="105402" y="161553"/>
                    <a:pt x="123053" y="141003"/>
                    <a:pt x="123053" y="108402"/>
                  </a:cubicBezTo>
                  <a:lnTo>
                    <a:pt x="123053" y="0"/>
                  </a:lnTo>
                  <a:lnTo>
                    <a:pt x="145203" y="0"/>
                  </a:lnTo>
                  <a:lnTo>
                    <a:pt x="145203" y="108702"/>
                  </a:lnTo>
                  <a:cubicBezTo>
                    <a:pt x="145203" y="153053"/>
                    <a:pt x="120903" y="181354"/>
                    <a:pt x="72552" y="181354"/>
                  </a:cubicBezTo>
                  <a:cubicBezTo>
                    <a:pt x="24351" y="181354"/>
                    <a:pt x="0" y="152803"/>
                    <a:pt x="0" y="109002"/>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8" name="Freeform: Shape 7">
              <a:extLst>
                <a:ext uri="{FF2B5EF4-FFF2-40B4-BE49-F238E27FC236}">
                  <a16:creationId xmlns:a16="http://schemas.microsoft.com/office/drawing/2014/main" id="{72C7B6A4-FD9C-4301-BB1E-8CF467C3B0B0}"/>
                </a:ext>
              </a:extLst>
            </p:cNvPr>
            <p:cNvSpPr/>
            <p:nvPr/>
          </p:nvSpPr>
          <p:spPr>
            <a:xfrm>
              <a:off x="10841730"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402 w 125002"/>
                <a:gd name="connsiteY11" fmla="*/ 53701 h 175003"/>
                <a:gd name="connsiteX12" fmla="*/ 68901 w 125002"/>
                <a:gd name="connsiteY12" fmla="*/ 19800 h 175003"/>
                <a:gd name="connsiteX13" fmla="*/ 22150 w 125002"/>
                <a:gd name="connsiteY13" fmla="*/ 19800 h 175003"/>
                <a:gd name="connsiteX14" fmla="*/ 22150 w 125002"/>
                <a:gd name="connsiteY14" fmla="*/ 87902 h 175003"/>
                <a:gd name="connsiteX15" fmla="*/ 68901 w 125002"/>
                <a:gd name="connsiteY15" fmla="*/ 87902 h 175003"/>
                <a:gd name="connsiteX16" fmla="*/ 10440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402" y="53701"/>
                  </a:moveTo>
                  <a:cubicBezTo>
                    <a:pt x="104402" y="33651"/>
                    <a:pt x="90002" y="19800"/>
                    <a:pt x="68901" y="19800"/>
                  </a:cubicBezTo>
                  <a:lnTo>
                    <a:pt x="22150" y="19800"/>
                  </a:lnTo>
                  <a:lnTo>
                    <a:pt x="22150" y="87902"/>
                  </a:lnTo>
                  <a:lnTo>
                    <a:pt x="68901" y="87902"/>
                  </a:lnTo>
                  <a:cubicBezTo>
                    <a:pt x="89952" y="87902"/>
                    <a:pt x="104402" y="73751"/>
                    <a:pt x="10440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9" name="Freeform: Shape 8">
              <a:extLst>
                <a:ext uri="{FF2B5EF4-FFF2-40B4-BE49-F238E27FC236}">
                  <a16:creationId xmlns:a16="http://schemas.microsoft.com/office/drawing/2014/main" id="{A7A4A1B4-0870-4BBE-B82A-61D5AECCBB73}"/>
                </a:ext>
              </a:extLst>
            </p:cNvPr>
            <p:cNvSpPr/>
            <p:nvPr/>
          </p:nvSpPr>
          <p:spPr>
            <a:xfrm>
              <a:off x="11424193" y="479773"/>
              <a:ext cx="125003" cy="175003"/>
            </a:xfrm>
            <a:custGeom>
              <a:avLst/>
              <a:gdLst>
                <a:gd name="connsiteX0" fmla="*/ 103052 w 125002"/>
                <a:gd name="connsiteY0" fmla="*/ 178153 h 175003"/>
                <a:gd name="connsiteX1" fmla="*/ 57651 w 125002"/>
                <a:gd name="connsiteY1" fmla="*/ 107402 h 175003"/>
                <a:gd name="connsiteX2" fmla="*/ 22150 w 125002"/>
                <a:gd name="connsiteY2" fmla="*/ 107402 h 175003"/>
                <a:gd name="connsiteX3" fmla="*/ 22150 w 125002"/>
                <a:gd name="connsiteY3" fmla="*/ 178153 h 175003"/>
                <a:gd name="connsiteX4" fmla="*/ 0 w 125002"/>
                <a:gd name="connsiteY4" fmla="*/ 178153 h 175003"/>
                <a:gd name="connsiteX5" fmla="*/ 0 w 125002"/>
                <a:gd name="connsiteY5" fmla="*/ 0 h 175003"/>
                <a:gd name="connsiteX6" fmla="*/ 71551 w 125002"/>
                <a:gd name="connsiteY6" fmla="*/ 0 h 175003"/>
                <a:gd name="connsiteX7" fmla="*/ 127353 w 125002"/>
                <a:gd name="connsiteY7" fmla="*/ 53701 h 175003"/>
                <a:gd name="connsiteX8" fmla="*/ 81152 w 125002"/>
                <a:gd name="connsiteY8" fmla="*/ 105502 h 175003"/>
                <a:gd name="connsiteX9" fmla="*/ 129203 w 125002"/>
                <a:gd name="connsiteY9" fmla="*/ 178153 h 175003"/>
                <a:gd name="connsiteX10" fmla="*/ 103052 w 125002"/>
                <a:gd name="connsiteY10" fmla="*/ 178153 h 175003"/>
                <a:gd name="connsiteX11" fmla="*/ 104352 w 125002"/>
                <a:gd name="connsiteY11" fmla="*/ 53701 h 175003"/>
                <a:gd name="connsiteX12" fmla="*/ 68851 w 125002"/>
                <a:gd name="connsiteY12" fmla="*/ 19800 h 175003"/>
                <a:gd name="connsiteX13" fmla="*/ 22100 w 125002"/>
                <a:gd name="connsiteY13" fmla="*/ 19800 h 175003"/>
                <a:gd name="connsiteX14" fmla="*/ 22100 w 125002"/>
                <a:gd name="connsiteY14" fmla="*/ 87902 h 175003"/>
                <a:gd name="connsiteX15" fmla="*/ 68851 w 125002"/>
                <a:gd name="connsiteY15" fmla="*/ 87902 h 175003"/>
                <a:gd name="connsiteX16" fmla="*/ 104352 w 125002"/>
                <a:gd name="connsiteY16" fmla="*/ 53701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002" h="175003">
                  <a:moveTo>
                    <a:pt x="103052" y="178153"/>
                  </a:moveTo>
                  <a:lnTo>
                    <a:pt x="57651" y="107402"/>
                  </a:lnTo>
                  <a:lnTo>
                    <a:pt x="22150" y="107402"/>
                  </a:lnTo>
                  <a:lnTo>
                    <a:pt x="22150" y="178153"/>
                  </a:lnTo>
                  <a:lnTo>
                    <a:pt x="0" y="178153"/>
                  </a:lnTo>
                  <a:lnTo>
                    <a:pt x="0" y="0"/>
                  </a:lnTo>
                  <a:lnTo>
                    <a:pt x="71551" y="0"/>
                  </a:lnTo>
                  <a:cubicBezTo>
                    <a:pt x="104152" y="0"/>
                    <a:pt x="127353" y="20850"/>
                    <a:pt x="127353" y="53701"/>
                  </a:cubicBezTo>
                  <a:cubicBezTo>
                    <a:pt x="127353" y="85752"/>
                    <a:pt x="105452" y="103352"/>
                    <a:pt x="81152" y="105502"/>
                  </a:cubicBezTo>
                  <a:lnTo>
                    <a:pt x="129203" y="178153"/>
                  </a:lnTo>
                  <a:lnTo>
                    <a:pt x="103052" y="178153"/>
                  </a:lnTo>
                  <a:close/>
                  <a:moveTo>
                    <a:pt x="104352" y="53701"/>
                  </a:moveTo>
                  <a:cubicBezTo>
                    <a:pt x="104352" y="33651"/>
                    <a:pt x="89952" y="19800"/>
                    <a:pt x="68851" y="19800"/>
                  </a:cubicBezTo>
                  <a:lnTo>
                    <a:pt x="22100" y="19800"/>
                  </a:lnTo>
                  <a:lnTo>
                    <a:pt x="22100" y="87902"/>
                  </a:lnTo>
                  <a:lnTo>
                    <a:pt x="68851" y="87902"/>
                  </a:lnTo>
                  <a:cubicBezTo>
                    <a:pt x="89952" y="87902"/>
                    <a:pt x="104352" y="73751"/>
                    <a:pt x="104352" y="537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0" name="Freeform: Shape 9">
              <a:extLst>
                <a:ext uri="{FF2B5EF4-FFF2-40B4-BE49-F238E27FC236}">
                  <a16:creationId xmlns:a16="http://schemas.microsoft.com/office/drawing/2014/main" id="{209CE717-BD48-49E0-A9D3-5ECB6260F6B0}"/>
                </a:ext>
              </a:extLst>
            </p:cNvPr>
            <p:cNvSpPr/>
            <p:nvPr/>
          </p:nvSpPr>
          <p:spPr>
            <a:xfrm>
              <a:off x="11648197" y="479773"/>
              <a:ext cx="170004" cy="175003"/>
            </a:xfrm>
            <a:custGeom>
              <a:avLst/>
              <a:gdLst>
                <a:gd name="connsiteX0" fmla="*/ 145503 w 170003"/>
                <a:gd name="connsiteY0" fmla="*/ 178153 h 175003"/>
                <a:gd name="connsiteX1" fmla="*/ 129753 w 170003"/>
                <a:gd name="connsiteY1" fmla="*/ 138653 h 175003"/>
                <a:gd name="connsiteX2" fmla="*/ 41101 w 170003"/>
                <a:gd name="connsiteY2" fmla="*/ 138653 h 175003"/>
                <a:gd name="connsiteX3" fmla="*/ 25351 w 170003"/>
                <a:gd name="connsiteY3" fmla="*/ 178153 h 175003"/>
                <a:gd name="connsiteX4" fmla="*/ 0 w 170003"/>
                <a:gd name="connsiteY4" fmla="*/ 178153 h 175003"/>
                <a:gd name="connsiteX5" fmla="*/ 71502 w 170003"/>
                <a:gd name="connsiteY5" fmla="*/ 0 h 175003"/>
                <a:gd name="connsiteX6" fmla="*/ 99002 w 170003"/>
                <a:gd name="connsiteY6" fmla="*/ 0 h 175003"/>
                <a:gd name="connsiteX7" fmla="*/ 170854 w 170003"/>
                <a:gd name="connsiteY7" fmla="*/ 178103 h 175003"/>
                <a:gd name="connsiteX8" fmla="*/ 145503 w 170003"/>
                <a:gd name="connsiteY8" fmla="*/ 178103 h 175003"/>
                <a:gd name="connsiteX9" fmla="*/ 85402 w 170003"/>
                <a:gd name="connsiteY9" fmla="*/ 23000 h 175003"/>
                <a:gd name="connsiteX10" fmla="*/ 47501 w 170003"/>
                <a:gd name="connsiteY10" fmla="*/ 118852 h 175003"/>
                <a:gd name="connsiteX11" fmla="*/ 123103 w 170003"/>
                <a:gd name="connsiteY11" fmla="*/ 118852 h 175003"/>
                <a:gd name="connsiteX12" fmla="*/ 85402 w 170003"/>
                <a:gd name="connsiteY12" fmla="*/ 23000 h 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003" h="175003">
                  <a:moveTo>
                    <a:pt x="145503" y="178153"/>
                  </a:moveTo>
                  <a:lnTo>
                    <a:pt x="129753" y="138653"/>
                  </a:lnTo>
                  <a:lnTo>
                    <a:pt x="41101" y="138653"/>
                  </a:lnTo>
                  <a:lnTo>
                    <a:pt x="25351" y="178153"/>
                  </a:lnTo>
                  <a:lnTo>
                    <a:pt x="0" y="178153"/>
                  </a:lnTo>
                  <a:lnTo>
                    <a:pt x="71502" y="0"/>
                  </a:lnTo>
                  <a:lnTo>
                    <a:pt x="99002" y="0"/>
                  </a:lnTo>
                  <a:lnTo>
                    <a:pt x="170854" y="178103"/>
                  </a:lnTo>
                  <a:lnTo>
                    <a:pt x="145503" y="178103"/>
                  </a:lnTo>
                  <a:close/>
                  <a:moveTo>
                    <a:pt x="85402" y="23000"/>
                  </a:moveTo>
                  <a:lnTo>
                    <a:pt x="47501" y="118852"/>
                  </a:lnTo>
                  <a:lnTo>
                    <a:pt x="123103" y="118852"/>
                  </a:lnTo>
                  <a:lnTo>
                    <a:pt x="85402" y="23000"/>
                  </a:ln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6C710FC0-D2DF-48E8-BC7F-F673B11235F8}"/>
                </a:ext>
              </a:extLst>
            </p:cNvPr>
            <p:cNvSpPr/>
            <p:nvPr/>
          </p:nvSpPr>
          <p:spPr>
            <a:xfrm>
              <a:off x="11094836" y="465323"/>
              <a:ext cx="200004" cy="145003"/>
            </a:xfrm>
            <a:custGeom>
              <a:avLst/>
              <a:gdLst>
                <a:gd name="connsiteX0" fmla="*/ 64701 w 200004"/>
                <a:gd name="connsiteY0" fmla="*/ 131853 h 145002"/>
                <a:gd name="connsiteX1" fmla="*/ 23001 w 200004"/>
                <a:gd name="connsiteY1" fmla="*/ 133703 h 145002"/>
                <a:gd name="connsiteX2" fmla="*/ 83552 w 200004"/>
                <a:gd name="connsiteY2" fmla="*/ 123802 h 145002"/>
                <a:gd name="connsiteX3" fmla="*/ 36401 w 200004"/>
                <a:gd name="connsiteY3" fmla="*/ 96452 h 145002"/>
                <a:gd name="connsiteX4" fmla="*/ 91652 w 200004"/>
                <a:gd name="connsiteY4" fmla="*/ 118852 h 145002"/>
                <a:gd name="connsiteX5" fmla="*/ 76352 w 200004"/>
                <a:gd name="connsiteY5" fmla="*/ 88152 h 145002"/>
                <a:gd name="connsiteX6" fmla="*/ 98002 w 200004"/>
                <a:gd name="connsiteY6" fmla="*/ 116402 h 145002"/>
                <a:gd name="connsiteX7" fmla="*/ 100952 w 200004"/>
                <a:gd name="connsiteY7" fmla="*/ 54551 h 145002"/>
                <a:gd name="connsiteX8" fmla="*/ 104252 w 200004"/>
                <a:gd name="connsiteY8" fmla="*/ 116402 h 145002"/>
                <a:gd name="connsiteX9" fmla="*/ 126453 w 200004"/>
                <a:gd name="connsiteY9" fmla="*/ 88152 h 145002"/>
                <a:gd name="connsiteX10" fmla="*/ 110602 w 200004"/>
                <a:gd name="connsiteY10" fmla="*/ 118852 h 145002"/>
                <a:gd name="connsiteX11" fmla="*/ 165853 w 200004"/>
                <a:gd name="connsiteY11" fmla="*/ 96552 h 145002"/>
                <a:gd name="connsiteX12" fmla="*/ 118703 w 200004"/>
                <a:gd name="connsiteY12" fmla="*/ 123902 h 145002"/>
                <a:gd name="connsiteX13" fmla="*/ 178854 w 200004"/>
                <a:gd name="connsiteY13" fmla="*/ 134003 h 145002"/>
                <a:gd name="connsiteX14" fmla="*/ 138703 w 200004"/>
                <a:gd name="connsiteY14" fmla="*/ 132053 h 145002"/>
                <a:gd name="connsiteX15" fmla="*/ 190304 w 200004"/>
                <a:gd name="connsiteY15" fmla="*/ 149703 h 145002"/>
                <a:gd name="connsiteX16" fmla="*/ 202704 w 200004"/>
                <a:gd name="connsiteY16" fmla="*/ 101352 h 145002"/>
                <a:gd name="connsiteX17" fmla="*/ 101352 w 200004"/>
                <a:gd name="connsiteY17" fmla="*/ 0 h 145002"/>
                <a:gd name="connsiteX18" fmla="*/ 0 w 200004"/>
                <a:gd name="connsiteY18" fmla="*/ 101352 h 145002"/>
                <a:gd name="connsiteX19" fmla="*/ 12300 w 200004"/>
                <a:gd name="connsiteY19" fmla="*/ 149503 h 145002"/>
                <a:gd name="connsiteX20" fmla="*/ 64701 w 200004"/>
                <a:gd name="connsiteY20" fmla="*/ 131853 h 14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004" h="145002">
                  <a:moveTo>
                    <a:pt x="64701" y="131853"/>
                  </a:moveTo>
                  <a:lnTo>
                    <a:pt x="23001" y="133703"/>
                  </a:lnTo>
                  <a:lnTo>
                    <a:pt x="83552" y="123802"/>
                  </a:lnTo>
                  <a:lnTo>
                    <a:pt x="36401" y="96452"/>
                  </a:lnTo>
                  <a:lnTo>
                    <a:pt x="91652" y="118852"/>
                  </a:lnTo>
                  <a:lnTo>
                    <a:pt x="76352" y="88152"/>
                  </a:lnTo>
                  <a:lnTo>
                    <a:pt x="98002" y="116402"/>
                  </a:lnTo>
                  <a:lnTo>
                    <a:pt x="100952" y="54551"/>
                  </a:lnTo>
                  <a:lnTo>
                    <a:pt x="104252" y="116402"/>
                  </a:lnTo>
                  <a:lnTo>
                    <a:pt x="126453" y="88152"/>
                  </a:lnTo>
                  <a:lnTo>
                    <a:pt x="110602" y="118852"/>
                  </a:lnTo>
                  <a:lnTo>
                    <a:pt x="165853" y="96552"/>
                  </a:lnTo>
                  <a:lnTo>
                    <a:pt x="118703" y="123902"/>
                  </a:lnTo>
                  <a:lnTo>
                    <a:pt x="178854" y="134003"/>
                  </a:lnTo>
                  <a:lnTo>
                    <a:pt x="138703" y="132053"/>
                  </a:lnTo>
                  <a:cubicBezTo>
                    <a:pt x="157503" y="135453"/>
                    <a:pt x="175004" y="141453"/>
                    <a:pt x="190304" y="149703"/>
                  </a:cubicBezTo>
                  <a:cubicBezTo>
                    <a:pt x="198154" y="135353"/>
                    <a:pt x="202704" y="118902"/>
                    <a:pt x="202704" y="101352"/>
                  </a:cubicBezTo>
                  <a:cubicBezTo>
                    <a:pt x="202704" y="45401"/>
                    <a:pt x="157303" y="0"/>
                    <a:pt x="101352" y="0"/>
                  </a:cubicBezTo>
                  <a:cubicBezTo>
                    <a:pt x="45401" y="0"/>
                    <a:pt x="0" y="45401"/>
                    <a:pt x="0" y="101352"/>
                  </a:cubicBezTo>
                  <a:cubicBezTo>
                    <a:pt x="0" y="118802"/>
                    <a:pt x="4500" y="135203"/>
                    <a:pt x="12300" y="149503"/>
                  </a:cubicBezTo>
                  <a:cubicBezTo>
                    <a:pt x="27801" y="141253"/>
                    <a:pt x="45551" y="135203"/>
                    <a:pt x="64701" y="131853"/>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2" name="Freeform: Shape 11">
              <a:extLst>
                <a:ext uri="{FF2B5EF4-FFF2-40B4-BE49-F238E27FC236}">
                  <a16:creationId xmlns:a16="http://schemas.microsoft.com/office/drawing/2014/main" id="{D8A2B092-7D7A-4810-80B7-8329AB797CD4}"/>
                </a:ext>
              </a:extLst>
            </p:cNvPr>
            <p:cNvSpPr/>
            <p:nvPr/>
          </p:nvSpPr>
          <p:spPr>
            <a:xfrm>
              <a:off x="11083285" y="599026"/>
              <a:ext cx="225005" cy="65001"/>
            </a:xfrm>
            <a:custGeom>
              <a:avLst/>
              <a:gdLst>
                <a:gd name="connsiteX0" fmla="*/ 225305 w 225004"/>
                <a:gd name="connsiteY0" fmla="*/ 38501 h 65001"/>
                <a:gd name="connsiteX1" fmla="*/ 112652 w 225004"/>
                <a:gd name="connsiteY1" fmla="*/ 0 h 65001"/>
                <a:gd name="connsiteX2" fmla="*/ 0 w 225004"/>
                <a:gd name="connsiteY2" fmla="*/ 38501 h 65001"/>
                <a:gd name="connsiteX3" fmla="*/ 32251 w 225004"/>
                <a:gd name="connsiteY3" fmla="*/ 28951 h 65001"/>
                <a:gd name="connsiteX4" fmla="*/ 112802 w 225004"/>
                <a:gd name="connsiteY4" fmla="*/ 69001 h 65001"/>
                <a:gd name="connsiteX5" fmla="*/ 193304 w 225004"/>
                <a:gd name="connsiteY5" fmla="*/ 29051 h 65001"/>
                <a:gd name="connsiteX6" fmla="*/ 225305 w 225004"/>
                <a:gd name="connsiteY6" fmla="*/ 38501 h 6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04" h="65001">
                  <a:moveTo>
                    <a:pt x="225305" y="38501"/>
                  </a:moveTo>
                  <a:cubicBezTo>
                    <a:pt x="199904" y="15150"/>
                    <a:pt x="158903" y="0"/>
                    <a:pt x="112652" y="0"/>
                  </a:cubicBezTo>
                  <a:cubicBezTo>
                    <a:pt x="66401" y="0"/>
                    <a:pt x="25451" y="15150"/>
                    <a:pt x="0" y="38501"/>
                  </a:cubicBezTo>
                  <a:cubicBezTo>
                    <a:pt x="10000" y="34801"/>
                    <a:pt x="20850" y="31651"/>
                    <a:pt x="32251" y="28951"/>
                  </a:cubicBezTo>
                  <a:cubicBezTo>
                    <a:pt x="50751" y="53251"/>
                    <a:pt x="79902" y="69001"/>
                    <a:pt x="112802" y="69001"/>
                  </a:cubicBezTo>
                  <a:cubicBezTo>
                    <a:pt x="145653" y="69001"/>
                    <a:pt x="174804" y="53301"/>
                    <a:pt x="193304" y="29051"/>
                  </a:cubicBezTo>
                  <a:cubicBezTo>
                    <a:pt x="204604" y="31751"/>
                    <a:pt x="215355" y="34851"/>
                    <a:pt x="225305" y="38501"/>
                  </a:cubicBezTo>
                  <a:close/>
                </a:path>
              </a:pathLst>
            </a:custGeom>
            <a:grpFill/>
            <a:ln w="4982" cap="flat">
              <a:noFill/>
              <a:prstDash val="solid"/>
              <a:miter/>
            </a:ln>
          </p:spPr>
          <p:txBody>
            <a:bodyPr rtlCol="0" anchor="ct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3" name="Text Placeholder 2">
            <a:extLst>
              <a:ext uri="{FF2B5EF4-FFF2-40B4-BE49-F238E27FC236}">
                <a16:creationId xmlns:a16="http://schemas.microsoft.com/office/drawing/2014/main" id="{4385B810-D51F-480F-99F0-CF5EDD196369}"/>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16" name="Text Placeholder 5">
            <a:extLst>
              <a:ext uri="{FF2B5EF4-FFF2-40B4-BE49-F238E27FC236}">
                <a16:creationId xmlns:a16="http://schemas.microsoft.com/office/drawing/2014/main" id="{99298B8F-4BE3-4951-998C-9CFA975CB237}"/>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E3D4CD55-9B84-46C1-A69B-246D06DB9777}"/>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11981978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8041234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381601" y="411856"/>
            <a:ext cx="8601074" cy="609398"/>
          </a:xfrm>
        </p:spPr>
        <p:txBody>
          <a:bodyPr vert="horz" lIns="0" tIns="0" rIns="0" bIns="0" rtlCol="0" anchor="t" anchorCtr="0">
            <a:noAutofit/>
          </a:bodyPr>
          <a:lstStyle>
            <a:lvl1pPr>
              <a:defRPr lang="en-GB"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marL="0" lvl="0"/>
            <a:r>
              <a:rPr lang="en-GB"/>
              <a:t>Click to edit Master title style</a:t>
            </a:r>
            <a:br>
              <a:rPr lang="en-GB"/>
            </a:br>
            <a:endParaRPr lang="en-GB"/>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2755"/>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3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sp>
        <p:nvSpPr>
          <p:cNvPr id="18" name="372d6bc3-9354-4d6b-957c-e6191d9c64fa">
            <a:extLst>
              <a:ext uri="{FF2B5EF4-FFF2-40B4-BE49-F238E27FC236}">
                <a16:creationId xmlns:a16="http://schemas.microsoft.com/office/drawing/2014/main" id="{98045FE0-93EF-4C6C-97B7-815398D71268}"/>
              </a:ext>
            </a:extLst>
          </p:cNvPr>
          <p:cNvSpPr/>
          <p:nvPr/>
        </p:nvSpPr>
        <p:spPr>
          <a:xfrm flipV="1">
            <a:off x="9220201" y="2"/>
            <a:ext cx="2971799" cy="6857998"/>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24" name="f454b7a7-e679-4423-93fd-eb5c8cfdb3ea">
            <a:extLst>
              <a:ext uri="{FF2B5EF4-FFF2-40B4-BE49-F238E27FC236}">
                <a16:creationId xmlns:a16="http://schemas.microsoft.com/office/drawing/2014/main" id="{9214D2F2-E3DD-4C51-B731-AD5FD781FBE4}"/>
              </a:ext>
            </a:extLst>
          </p:cNvPr>
          <p:cNvGrpSpPr>
            <a:grpSpLocks/>
          </p:cNvGrpSpPr>
          <p:nvPr/>
        </p:nvGrpSpPr>
        <p:grpSpPr>
          <a:xfrm>
            <a:off x="10315575" y="467242"/>
            <a:ext cx="1495425" cy="200915"/>
            <a:chOff x="4412270" y="5962497"/>
            <a:chExt cx="3840163" cy="515938"/>
          </a:xfrm>
        </p:grpSpPr>
        <p:sp>
          <p:nvSpPr>
            <p:cNvPr id="25" name="Freeform 7">
              <a:extLst>
                <a:ext uri="{FF2B5EF4-FFF2-40B4-BE49-F238E27FC236}">
                  <a16:creationId xmlns:a16="http://schemas.microsoft.com/office/drawing/2014/main" id="{8DA25A64-39FC-4C9F-B34F-88CF573E36B4}"/>
                </a:ext>
              </a:extLst>
            </p:cNvPr>
            <p:cNvSpPr>
              <a:spLocks noEditPoints="1"/>
            </p:cNvSpPr>
            <p:nvPr/>
          </p:nvSpPr>
          <p:spPr bwMode="auto">
            <a:xfrm>
              <a:off x="4412270" y="6000597"/>
              <a:ext cx="433388" cy="452438"/>
            </a:xfrm>
            <a:custGeom>
              <a:avLst/>
              <a:gdLst>
                <a:gd name="T0" fmla="*/ 273 w 547"/>
                <a:gd name="T1" fmla="*/ 73 h 570"/>
                <a:gd name="T2" fmla="*/ 153 w 547"/>
                <a:gd name="T3" fmla="*/ 381 h 570"/>
                <a:gd name="T4" fmla="*/ 394 w 547"/>
                <a:gd name="T5" fmla="*/ 381 h 570"/>
                <a:gd name="T6" fmla="*/ 273 w 547"/>
                <a:gd name="T7" fmla="*/ 73 h 570"/>
                <a:gd name="T8" fmla="*/ 229 w 547"/>
                <a:gd name="T9" fmla="*/ 0 h 570"/>
                <a:gd name="T10" fmla="*/ 317 w 547"/>
                <a:gd name="T11" fmla="*/ 0 h 570"/>
                <a:gd name="T12" fmla="*/ 547 w 547"/>
                <a:gd name="T13" fmla="*/ 570 h 570"/>
                <a:gd name="T14" fmla="*/ 466 w 547"/>
                <a:gd name="T15" fmla="*/ 570 h 570"/>
                <a:gd name="T16" fmla="*/ 416 w 547"/>
                <a:gd name="T17" fmla="*/ 444 h 570"/>
                <a:gd name="T18" fmla="*/ 132 w 547"/>
                <a:gd name="T19" fmla="*/ 444 h 570"/>
                <a:gd name="T20" fmla="*/ 81 w 547"/>
                <a:gd name="T21" fmla="*/ 570 h 570"/>
                <a:gd name="T22" fmla="*/ 0 w 547"/>
                <a:gd name="T23" fmla="*/ 570 h 570"/>
                <a:gd name="T24" fmla="*/ 229 w 547"/>
                <a:gd name="T25"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570">
                  <a:moveTo>
                    <a:pt x="273" y="73"/>
                  </a:moveTo>
                  <a:lnTo>
                    <a:pt x="153" y="381"/>
                  </a:lnTo>
                  <a:lnTo>
                    <a:pt x="394" y="381"/>
                  </a:lnTo>
                  <a:lnTo>
                    <a:pt x="273" y="73"/>
                  </a:lnTo>
                  <a:close/>
                  <a:moveTo>
                    <a:pt x="229" y="0"/>
                  </a:moveTo>
                  <a:lnTo>
                    <a:pt x="317" y="0"/>
                  </a:lnTo>
                  <a:lnTo>
                    <a:pt x="547" y="570"/>
                  </a:lnTo>
                  <a:lnTo>
                    <a:pt x="466" y="570"/>
                  </a:lnTo>
                  <a:lnTo>
                    <a:pt x="416" y="444"/>
                  </a:lnTo>
                  <a:lnTo>
                    <a:pt x="132" y="444"/>
                  </a:lnTo>
                  <a:lnTo>
                    <a:pt x="81"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6" name="Freeform 8">
              <a:extLst>
                <a:ext uri="{FF2B5EF4-FFF2-40B4-BE49-F238E27FC236}">
                  <a16:creationId xmlns:a16="http://schemas.microsoft.com/office/drawing/2014/main" id="{F5F38BAC-8001-4808-A809-064C9183B318}"/>
                </a:ext>
              </a:extLst>
            </p:cNvPr>
            <p:cNvSpPr>
              <a:spLocks/>
            </p:cNvSpPr>
            <p:nvPr/>
          </p:nvSpPr>
          <p:spPr bwMode="auto">
            <a:xfrm>
              <a:off x="5091720" y="6000597"/>
              <a:ext cx="368300" cy="460375"/>
            </a:xfrm>
            <a:custGeom>
              <a:avLst/>
              <a:gdLst>
                <a:gd name="T0" fmla="*/ 0 w 466"/>
                <a:gd name="T1" fmla="*/ 0 h 581"/>
                <a:gd name="T2" fmla="*/ 71 w 466"/>
                <a:gd name="T3" fmla="*/ 0 h 581"/>
                <a:gd name="T4" fmla="*/ 71 w 466"/>
                <a:gd name="T5" fmla="*/ 347 h 581"/>
                <a:gd name="T6" fmla="*/ 73 w 466"/>
                <a:gd name="T7" fmla="*/ 384 h 581"/>
                <a:gd name="T8" fmla="*/ 82 w 466"/>
                <a:gd name="T9" fmla="*/ 417 h 581"/>
                <a:gd name="T10" fmla="*/ 94 w 466"/>
                <a:gd name="T11" fmla="*/ 447 h 581"/>
                <a:gd name="T12" fmla="*/ 113 w 466"/>
                <a:gd name="T13" fmla="*/ 470 h 581"/>
                <a:gd name="T14" fmla="*/ 135 w 466"/>
                <a:gd name="T15" fmla="*/ 491 h 581"/>
                <a:gd name="T16" fmla="*/ 163 w 466"/>
                <a:gd name="T17" fmla="*/ 506 h 581"/>
                <a:gd name="T18" fmla="*/ 195 w 466"/>
                <a:gd name="T19" fmla="*/ 514 h 581"/>
                <a:gd name="T20" fmla="*/ 232 w 466"/>
                <a:gd name="T21" fmla="*/ 517 h 581"/>
                <a:gd name="T22" fmla="*/ 270 w 466"/>
                <a:gd name="T23" fmla="*/ 514 h 581"/>
                <a:gd name="T24" fmla="*/ 303 w 466"/>
                <a:gd name="T25" fmla="*/ 506 h 581"/>
                <a:gd name="T26" fmla="*/ 331 w 466"/>
                <a:gd name="T27" fmla="*/ 491 h 581"/>
                <a:gd name="T28" fmla="*/ 353 w 466"/>
                <a:gd name="T29" fmla="*/ 470 h 581"/>
                <a:gd name="T30" fmla="*/ 370 w 466"/>
                <a:gd name="T31" fmla="*/ 447 h 581"/>
                <a:gd name="T32" fmla="*/ 383 w 466"/>
                <a:gd name="T33" fmla="*/ 417 h 581"/>
                <a:gd name="T34" fmla="*/ 392 w 466"/>
                <a:gd name="T35" fmla="*/ 384 h 581"/>
                <a:gd name="T36" fmla="*/ 394 w 466"/>
                <a:gd name="T37" fmla="*/ 347 h 581"/>
                <a:gd name="T38" fmla="*/ 394 w 466"/>
                <a:gd name="T39" fmla="*/ 0 h 581"/>
                <a:gd name="T40" fmla="*/ 466 w 466"/>
                <a:gd name="T41" fmla="*/ 0 h 581"/>
                <a:gd name="T42" fmla="*/ 466 w 466"/>
                <a:gd name="T43" fmla="*/ 347 h 581"/>
                <a:gd name="T44" fmla="*/ 463 w 466"/>
                <a:gd name="T45" fmla="*/ 388 h 581"/>
                <a:gd name="T46" fmla="*/ 455 w 466"/>
                <a:gd name="T47" fmla="*/ 426 h 581"/>
                <a:gd name="T48" fmla="*/ 444 w 466"/>
                <a:gd name="T49" fmla="*/ 460 h 581"/>
                <a:gd name="T50" fmla="*/ 428 w 466"/>
                <a:gd name="T51" fmla="*/ 491 h 581"/>
                <a:gd name="T52" fmla="*/ 407 w 466"/>
                <a:gd name="T53" fmla="*/ 517 h 581"/>
                <a:gd name="T54" fmla="*/ 382 w 466"/>
                <a:gd name="T55" fmla="*/ 539 h 581"/>
                <a:gd name="T56" fmla="*/ 351 w 466"/>
                <a:gd name="T57" fmla="*/ 557 h 581"/>
                <a:gd name="T58" fmla="*/ 316 w 466"/>
                <a:gd name="T59" fmla="*/ 570 h 581"/>
                <a:gd name="T60" fmla="*/ 276 w 466"/>
                <a:gd name="T61" fmla="*/ 578 h 581"/>
                <a:gd name="T62" fmla="*/ 232 w 466"/>
                <a:gd name="T63" fmla="*/ 581 h 581"/>
                <a:gd name="T64" fmla="*/ 188 w 466"/>
                <a:gd name="T65" fmla="*/ 578 h 581"/>
                <a:gd name="T66" fmla="*/ 148 w 466"/>
                <a:gd name="T67" fmla="*/ 569 h 581"/>
                <a:gd name="T68" fmla="*/ 115 w 466"/>
                <a:gd name="T69" fmla="*/ 557 h 581"/>
                <a:gd name="T70" fmla="*/ 84 w 466"/>
                <a:gd name="T71" fmla="*/ 539 h 581"/>
                <a:gd name="T72" fmla="*/ 59 w 466"/>
                <a:gd name="T73" fmla="*/ 517 h 581"/>
                <a:gd name="T74" fmla="*/ 38 w 466"/>
                <a:gd name="T75" fmla="*/ 491 h 581"/>
                <a:gd name="T76" fmla="*/ 21 w 466"/>
                <a:gd name="T77" fmla="*/ 460 h 581"/>
                <a:gd name="T78" fmla="*/ 9 w 466"/>
                <a:gd name="T79" fmla="*/ 426 h 581"/>
                <a:gd name="T80" fmla="*/ 3 w 466"/>
                <a:gd name="T81" fmla="*/ 389 h 581"/>
                <a:gd name="T82" fmla="*/ 0 w 466"/>
                <a:gd name="T83" fmla="*/ 348 h 581"/>
                <a:gd name="T84" fmla="*/ 0 w 466"/>
                <a:gd name="T8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6" h="581">
                  <a:moveTo>
                    <a:pt x="0" y="0"/>
                  </a:moveTo>
                  <a:lnTo>
                    <a:pt x="71" y="0"/>
                  </a:lnTo>
                  <a:lnTo>
                    <a:pt x="71" y="347"/>
                  </a:lnTo>
                  <a:lnTo>
                    <a:pt x="73" y="384"/>
                  </a:lnTo>
                  <a:lnTo>
                    <a:pt x="82" y="417"/>
                  </a:lnTo>
                  <a:lnTo>
                    <a:pt x="94" y="447"/>
                  </a:lnTo>
                  <a:lnTo>
                    <a:pt x="113" y="470"/>
                  </a:lnTo>
                  <a:lnTo>
                    <a:pt x="135" y="491"/>
                  </a:lnTo>
                  <a:lnTo>
                    <a:pt x="163" y="506"/>
                  </a:lnTo>
                  <a:lnTo>
                    <a:pt x="195" y="514"/>
                  </a:lnTo>
                  <a:lnTo>
                    <a:pt x="232" y="517"/>
                  </a:lnTo>
                  <a:lnTo>
                    <a:pt x="270" y="514"/>
                  </a:lnTo>
                  <a:lnTo>
                    <a:pt x="303" y="506"/>
                  </a:lnTo>
                  <a:lnTo>
                    <a:pt x="331" y="491"/>
                  </a:lnTo>
                  <a:lnTo>
                    <a:pt x="353" y="470"/>
                  </a:lnTo>
                  <a:lnTo>
                    <a:pt x="370" y="447"/>
                  </a:lnTo>
                  <a:lnTo>
                    <a:pt x="383" y="417"/>
                  </a:lnTo>
                  <a:lnTo>
                    <a:pt x="392" y="384"/>
                  </a:lnTo>
                  <a:lnTo>
                    <a:pt x="394" y="347"/>
                  </a:lnTo>
                  <a:lnTo>
                    <a:pt x="394" y="0"/>
                  </a:lnTo>
                  <a:lnTo>
                    <a:pt x="466" y="0"/>
                  </a:lnTo>
                  <a:lnTo>
                    <a:pt x="466" y="347"/>
                  </a:lnTo>
                  <a:lnTo>
                    <a:pt x="463" y="388"/>
                  </a:lnTo>
                  <a:lnTo>
                    <a:pt x="455" y="426"/>
                  </a:lnTo>
                  <a:lnTo>
                    <a:pt x="444" y="460"/>
                  </a:lnTo>
                  <a:lnTo>
                    <a:pt x="428" y="491"/>
                  </a:lnTo>
                  <a:lnTo>
                    <a:pt x="407" y="517"/>
                  </a:lnTo>
                  <a:lnTo>
                    <a:pt x="382" y="539"/>
                  </a:lnTo>
                  <a:lnTo>
                    <a:pt x="351" y="557"/>
                  </a:lnTo>
                  <a:lnTo>
                    <a:pt x="316" y="570"/>
                  </a:lnTo>
                  <a:lnTo>
                    <a:pt x="276" y="578"/>
                  </a:lnTo>
                  <a:lnTo>
                    <a:pt x="232" y="581"/>
                  </a:lnTo>
                  <a:lnTo>
                    <a:pt x="188" y="578"/>
                  </a:lnTo>
                  <a:lnTo>
                    <a:pt x="148" y="569"/>
                  </a:lnTo>
                  <a:lnTo>
                    <a:pt x="115" y="557"/>
                  </a:lnTo>
                  <a:lnTo>
                    <a:pt x="84" y="539"/>
                  </a:lnTo>
                  <a:lnTo>
                    <a:pt x="59" y="517"/>
                  </a:lnTo>
                  <a:lnTo>
                    <a:pt x="38" y="491"/>
                  </a:lnTo>
                  <a:lnTo>
                    <a:pt x="21" y="460"/>
                  </a:lnTo>
                  <a:lnTo>
                    <a:pt x="9" y="426"/>
                  </a:lnTo>
                  <a:lnTo>
                    <a:pt x="3" y="389"/>
                  </a:lnTo>
                  <a:lnTo>
                    <a:pt x="0" y="34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0" name="Freeform 9">
              <a:extLst>
                <a:ext uri="{FF2B5EF4-FFF2-40B4-BE49-F238E27FC236}">
                  <a16:creationId xmlns:a16="http://schemas.microsoft.com/office/drawing/2014/main" id="{46C9943F-3D9C-4871-AD7B-1E320FBEB0CA}"/>
                </a:ext>
              </a:extLst>
            </p:cNvPr>
            <p:cNvSpPr>
              <a:spLocks noEditPoints="1"/>
            </p:cNvSpPr>
            <p:nvPr/>
          </p:nvSpPr>
          <p:spPr bwMode="auto">
            <a:xfrm>
              <a:off x="5769583" y="6000597"/>
              <a:ext cx="327025" cy="452438"/>
            </a:xfrm>
            <a:custGeom>
              <a:avLst/>
              <a:gdLst>
                <a:gd name="T0" fmla="*/ 71 w 413"/>
                <a:gd name="T1" fmla="*/ 63 h 570"/>
                <a:gd name="T2" fmla="*/ 71 w 413"/>
                <a:gd name="T3" fmla="*/ 281 h 570"/>
                <a:gd name="T4" fmla="*/ 220 w 413"/>
                <a:gd name="T5" fmla="*/ 281 h 570"/>
                <a:gd name="T6" fmla="*/ 251 w 413"/>
                <a:gd name="T7" fmla="*/ 278 h 570"/>
                <a:gd name="T8" fmla="*/ 279 w 413"/>
                <a:gd name="T9" fmla="*/ 267 h 570"/>
                <a:gd name="T10" fmla="*/ 303 w 413"/>
                <a:gd name="T11" fmla="*/ 250 h 570"/>
                <a:gd name="T12" fmla="*/ 319 w 413"/>
                <a:gd name="T13" fmla="*/ 228 h 570"/>
                <a:gd name="T14" fmla="*/ 331 w 413"/>
                <a:gd name="T15" fmla="*/ 201 h 570"/>
                <a:gd name="T16" fmla="*/ 334 w 413"/>
                <a:gd name="T17" fmla="*/ 172 h 570"/>
                <a:gd name="T18" fmla="*/ 331 w 413"/>
                <a:gd name="T19" fmla="*/ 141 h 570"/>
                <a:gd name="T20" fmla="*/ 319 w 413"/>
                <a:gd name="T21" fmla="*/ 115 h 570"/>
                <a:gd name="T22" fmla="*/ 303 w 413"/>
                <a:gd name="T23" fmla="*/ 93 h 570"/>
                <a:gd name="T24" fmla="*/ 279 w 413"/>
                <a:gd name="T25" fmla="*/ 76 h 570"/>
                <a:gd name="T26" fmla="*/ 251 w 413"/>
                <a:gd name="T27" fmla="*/ 66 h 570"/>
                <a:gd name="T28" fmla="*/ 220 w 413"/>
                <a:gd name="T29" fmla="*/ 63 h 570"/>
                <a:gd name="T30" fmla="*/ 71 w 413"/>
                <a:gd name="T31" fmla="*/ 63 h 570"/>
                <a:gd name="T32" fmla="*/ 0 w 413"/>
                <a:gd name="T33" fmla="*/ 0 h 570"/>
                <a:gd name="T34" fmla="*/ 229 w 413"/>
                <a:gd name="T35" fmla="*/ 0 h 570"/>
                <a:gd name="T36" fmla="*/ 266 w 413"/>
                <a:gd name="T37" fmla="*/ 3 h 570"/>
                <a:gd name="T38" fmla="*/ 301 w 413"/>
                <a:gd name="T39" fmla="*/ 12 h 570"/>
                <a:gd name="T40" fmla="*/ 331 w 413"/>
                <a:gd name="T41" fmla="*/ 26 h 570"/>
                <a:gd name="T42" fmla="*/ 357 w 413"/>
                <a:gd name="T43" fmla="*/ 46 h 570"/>
                <a:gd name="T44" fmla="*/ 378 w 413"/>
                <a:gd name="T45" fmla="*/ 71 h 570"/>
                <a:gd name="T46" fmla="*/ 394 w 413"/>
                <a:gd name="T47" fmla="*/ 100 h 570"/>
                <a:gd name="T48" fmla="*/ 404 w 413"/>
                <a:gd name="T49" fmla="*/ 134 h 570"/>
                <a:gd name="T50" fmla="*/ 407 w 413"/>
                <a:gd name="T51" fmla="*/ 172 h 570"/>
                <a:gd name="T52" fmla="*/ 404 w 413"/>
                <a:gd name="T53" fmla="*/ 207 h 570"/>
                <a:gd name="T54" fmla="*/ 395 w 413"/>
                <a:gd name="T55" fmla="*/ 240 h 570"/>
                <a:gd name="T56" fmla="*/ 381 w 413"/>
                <a:gd name="T57" fmla="*/ 267 h 570"/>
                <a:gd name="T58" fmla="*/ 363 w 413"/>
                <a:gd name="T59" fmla="*/ 291 h 570"/>
                <a:gd name="T60" fmla="*/ 341 w 413"/>
                <a:gd name="T61" fmla="*/ 309 h 570"/>
                <a:gd name="T62" fmla="*/ 316 w 413"/>
                <a:gd name="T63" fmla="*/ 323 h 570"/>
                <a:gd name="T64" fmla="*/ 288 w 413"/>
                <a:gd name="T65" fmla="*/ 332 h 570"/>
                <a:gd name="T66" fmla="*/ 260 w 413"/>
                <a:gd name="T67" fmla="*/ 338 h 570"/>
                <a:gd name="T68" fmla="*/ 413 w 413"/>
                <a:gd name="T69" fmla="*/ 570 h 570"/>
                <a:gd name="T70" fmla="*/ 329 w 413"/>
                <a:gd name="T71" fmla="*/ 570 h 570"/>
                <a:gd name="T72" fmla="*/ 184 w 413"/>
                <a:gd name="T73" fmla="*/ 344 h 570"/>
                <a:gd name="T74" fmla="*/ 71 w 413"/>
                <a:gd name="T75" fmla="*/ 344 h 570"/>
                <a:gd name="T76" fmla="*/ 71 w 413"/>
                <a:gd name="T77" fmla="*/ 570 h 570"/>
                <a:gd name="T78" fmla="*/ 0 w 413"/>
                <a:gd name="T79" fmla="*/ 570 h 570"/>
                <a:gd name="T80" fmla="*/ 0 w 413"/>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3" h="570">
                  <a:moveTo>
                    <a:pt x="71" y="63"/>
                  </a:moveTo>
                  <a:lnTo>
                    <a:pt x="71" y="281"/>
                  </a:lnTo>
                  <a:lnTo>
                    <a:pt x="220" y="281"/>
                  </a:lnTo>
                  <a:lnTo>
                    <a:pt x="251" y="278"/>
                  </a:lnTo>
                  <a:lnTo>
                    <a:pt x="279" y="267"/>
                  </a:lnTo>
                  <a:lnTo>
                    <a:pt x="303" y="250"/>
                  </a:lnTo>
                  <a:lnTo>
                    <a:pt x="319" y="228"/>
                  </a:lnTo>
                  <a:lnTo>
                    <a:pt x="331" y="201"/>
                  </a:lnTo>
                  <a:lnTo>
                    <a:pt x="334" y="172"/>
                  </a:lnTo>
                  <a:lnTo>
                    <a:pt x="331" y="141"/>
                  </a:lnTo>
                  <a:lnTo>
                    <a:pt x="319" y="115"/>
                  </a:lnTo>
                  <a:lnTo>
                    <a:pt x="303" y="93"/>
                  </a:lnTo>
                  <a:lnTo>
                    <a:pt x="279" y="76"/>
                  </a:lnTo>
                  <a:lnTo>
                    <a:pt x="251" y="66"/>
                  </a:lnTo>
                  <a:lnTo>
                    <a:pt x="220" y="63"/>
                  </a:lnTo>
                  <a:lnTo>
                    <a:pt x="71" y="63"/>
                  </a:lnTo>
                  <a:close/>
                  <a:moveTo>
                    <a:pt x="0" y="0"/>
                  </a:moveTo>
                  <a:lnTo>
                    <a:pt x="229" y="0"/>
                  </a:lnTo>
                  <a:lnTo>
                    <a:pt x="266" y="3"/>
                  </a:lnTo>
                  <a:lnTo>
                    <a:pt x="301" y="12"/>
                  </a:lnTo>
                  <a:lnTo>
                    <a:pt x="331" y="26"/>
                  </a:lnTo>
                  <a:lnTo>
                    <a:pt x="357" y="46"/>
                  </a:lnTo>
                  <a:lnTo>
                    <a:pt x="378" y="71"/>
                  </a:lnTo>
                  <a:lnTo>
                    <a:pt x="394" y="100"/>
                  </a:lnTo>
                  <a:lnTo>
                    <a:pt x="404" y="134"/>
                  </a:lnTo>
                  <a:lnTo>
                    <a:pt x="407" y="172"/>
                  </a:lnTo>
                  <a:lnTo>
                    <a:pt x="404" y="207"/>
                  </a:lnTo>
                  <a:lnTo>
                    <a:pt x="395" y="240"/>
                  </a:lnTo>
                  <a:lnTo>
                    <a:pt x="381" y="267"/>
                  </a:lnTo>
                  <a:lnTo>
                    <a:pt x="363" y="291"/>
                  </a:lnTo>
                  <a:lnTo>
                    <a:pt x="341" y="309"/>
                  </a:lnTo>
                  <a:lnTo>
                    <a:pt x="316" y="323"/>
                  </a:lnTo>
                  <a:lnTo>
                    <a:pt x="288" y="332"/>
                  </a:lnTo>
                  <a:lnTo>
                    <a:pt x="260" y="338"/>
                  </a:lnTo>
                  <a:lnTo>
                    <a:pt x="413" y="570"/>
                  </a:lnTo>
                  <a:lnTo>
                    <a:pt x="329" y="570"/>
                  </a:lnTo>
                  <a:lnTo>
                    <a:pt x="184" y="344"/>
                  </a:lnTo>
                  <a:lnTo>
                    <a:pt x="71" y="344"/>
                  </a:lnTo>
                  <a:lnTo>
                    <a:pt x="71"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Freeform 10">
              <a:extLst>
                <a:ext uri="{FF2B5EF4-FFF2-40B4-BE49-F238E27FC236}">
                  <a16:creationId xmlns:a16="http://schemas.microsoft.com/office/drawing/2014/main" id="{6CA1C8F6-67FD-412D-8FB4-BD1BB9DCDE2B}"/>
                </a:ext>
              </a:extLst>
            </p:cNvPr>
            <p:cNvSpPr>
              <a:spLocks noEditPoints="1"/>
            </p:cNvSpPr>
            <p:nvPr/>
          </p:nvSpPr>
          <p:spPr bwMode="auto">
            <a:xfrm>
              <a:off x="7247545" y="6000597"/>
              <a:ext cx="330200" cy="452438"/>
            </a:xfrm>
            <a:custGeom>
              <a:avLst/>
              <a:gdLst>
                <a:gd name="T0" fmla="*/ 72 w 414"/>
                <a:gd name="T1" fmla="*/ 63 h 570"/>
                <a:gd name="T2" fmla="*/ 72 w 414"/>
                <a:gd name="T3" fmla="*/ 281 h 570"/>
                <a:gd name="T4" fmla="*/ 220 w 414"/>
                <a:gd name="T5" fmla="*/ 281 h 570"/>
                <a:gd name="T6" fmla="*/ 253 w 414"/>
                <a:gd name="T7" fmla="*/ 278 h 570"/>
                <a:gd name="T8" fmla="*/ 280 w 414"/>
                <a:gd name="T9" fmla="*/ 267 h 570"/>
                <a:gd name="T10" fmla="*/ 302 w 414"/>
                <a:gd name="T11" fmla="*/ 250 h 570"/>
                <a:gd name="T12" fmla="*/ 320 w 414"/>
                <a:gd name="T13" fmla="*/ 228 h 570"/>
                <a:gd name="T14" fmla="*/ 330 w 414"/>
                <a:gd name="T15" fmla="*/ 201 h 570"/>
                <a:gd name="T16" fmla="*/ 335 w 414"/>
                <a:gd name="T17" fmla="*/ 172 h 570"/>
                <a:gd name="T18" fmla="*/ 330 w 414"/>
                <a:gd name="T19" fmla="*/ 141 h 570"/>
                <a:gd name="T20" fmla="*/ 320 w 414"/>
                <a:gd name="T21" fmla="*/ 115 h 570"/>
                <a:gd name="T22" fmla="*/ 302 w 414"/>
                <a:gd name="T23" fmla="*/ 93 h 570"/>
                <a:gd name="T24" fmla="*/ 280 w 414"/>
                <a:gd name="T25" fmla="*/ 76 h 570"/>
                <a:gd name="T26" fmla="*/ 253 w 414"/>
                <a:gd name="T27" fmla="*/ 66 h 570"/>
                <a:gd name="T28" fmla="*/ 220 w 414"/>
                <a:gd name="T29" fmla="*/ 63 h 570"/>
                <a:gd name="T30" fmla="*/ 72 w 414"/>
                <a:gd name="T31" fmla="*/ 63 h 570"/>
                <a:gd name="T32" fmla="*/ 0 w 414"/>
                <a:gd name="T33" fmla="*/ 0 h 570"/>
                <a:gd name="T34" fmla="*/ 229 w 414"/>
                <a:gd name="T35" fmla="*/ 0 h 570"/>
                <a:gd name="T36" fmla="*/ 267 w 414"/>
                <a:gd name="T37" fmla="*/ 3 h 570"/>
                <a:gd name="T38" fmla="*/ 301 w 414"/>
                <a:gd name="T39" fmla="*/ 12 h 570"/>
                <a:gd name="T40" fmla="*/ 332 w 414"/>
                <a:gd name="T41" fmla="*/ 26 h 570"/>
                <a:gd name="T42" fmla="*/ 358 w 414"/>
                <a:gd name="T43" fmla="*/ 46 h 570"/>
                <a:gd name="T44" fmla="*/ 379 w 414"/>
                <a:gd name="T45" fmla="*/ 71 h 570"/>
                <a:gd name="T46" fmla="*/ 395 w 414"/>
                <a:gd name="T47" fmla="*/ 100 h 570"/>
                <a:gd name="T48" fmla="*/ 405 w 414"/>
                <a:gd name="T49" fmla="*/ 134 h 570"/>
                <a:gd name="T50" fmla="*/ 408 w 414"/>
                <a:gd name="T51" fmla="*/ 172 h 570"/>
                <a:gd name="T52" fmla="*/ 405 w 414"/>
                <a:gd name="T53" fmla="*/ 207 h 570"/>
                <a:gd name="T54" fmla="*/ 396 w 414"/>
                <a:gd name="T55" fmla="*/ 240 h 570"/>
                <a:gd name="T56" fmla="*/ 382 w 414"/>
                <a:gd name="T57" fmla="*/ 267 h 570"/>
                <a:gd name="T58" fmla="*/ 363 w 414"/>
                <a:gd name="T59" fmla="*/ 291 h 570"/>
                <a:gd name="T60" fmla="*/ 341 w 414"/>
                <a:gd name="T61" fmla="*/ 309 h 570"/>
                <a:gd name="T62" fmla="*/ 316 w 414"/>
                <a:gd name="T63" fmla="*/ 323 h 570"/>
                <a:gd name="T64" fmla="*/ 289 w 414"/>
                <a:gd name="T65" fmla="*/ 332 h 570"/>
                <a:gd name="T66" fmla="*/ 260 w 414"/>
                <a:gd name="T67" fmla="*/ 338 h 570"/>
                <a:gd name="T68" fmla="*/ 414 w 414"/>
                <a:gd name="T69" fmla="*/ 570 h 570"/>
                <a:gd name="T70" fmla="*/ 330 w 414"/>
                <a:gd name="T71" fmla="*/ 570 h 570"/>
                <a:gd name="T72" fmla="*/ 185 w 414"/>
                <a:gd name="T73" fmla="*/ 344 h 570"/>
                <a:gd name="T74" fmla="*/ 72 w 414"/>
                <a:gd name="T75" fmla="*/ 344 h 570"/>
                <a:gd name="T76" fmla="*/ 72 w 414"/>
                <a:gd name="T77" fmla="*/ 570 h 570"/>
                <a:gd name="T78" fmla="*/ 0 w 414"/>
                <a:gd name="T79" fmla="*/ 570 h 570"/>
                <a:gd name="T80" fmla="*/ 0 w 414"/>
                <a:gd name="T8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570">
                  <a:moveTo>
                    <a:pt x="72" y="63"/>
                  </a:moveTo>
                  <a:lnTo>
                    <a:pt x="72" y="281"/>
                  </a:lnTo>
                  <a:lnTo>
                    <a:pt x="220" y="281"/>
                  </a:lnTo>
                  <a:lnTo>
                    <a:pt x="253" y="278"/>
                  </a:lnTo>
                  <a:lnTo>
                    <a:pt x="280" y="267"/>
                  </a:lnTo>
                  <a:lnTo>
                    <a:pt x="302" y="250"/>
                  </a:lnTo>
                  <a:lnTo>
                    <a:pt x="320" y="228"/>
                  </a:lnTo>
                  <a:lnTo>
                    <a:pt x="330" y="201"/>
                  </a:lnTo>
                  <a:lnTo>
                    <a:pt x="335" y="172"/>
                  </a:lnTo>
                  <a:lnTo>
                    <a:pt x="330" y="141"/>
                  </a:lnTo>
                  <a:lnTo>
                    <a:pt x="320" y="115"/>
                  </a:lnTo>
                  <a:lnTo>
                    <a:pt x="302" y="93"/>
                  </a:lnTo>
                  <a:lnTo>
                    <a:pt x="280" y="76"/>
                  </a:lnTo>
                  <a:lnTo>
                    <a:pt x="253" y="66"/>
                  </a:lnTo>
                  <a:lnTo>
                    <a:pt x="220" y="63"/>
                  </a:lnTo>
                  <a:lnTo>
                    <a:pt x="72" y="63"/>
                  </a:lnTo>
                  <a:close/>
                  <a:moveTo>
                    <a:pt x="0" y="0"/>
                  </a:moveTo>
                  <a:lnTo>
                    <a:pt x="229" y="0"/>
                  </a:lnTo>
                  <a:lnTo>
                    <a:pt x="267" y="3"/>
                  </a:lnTo>
                  <a:lnTo>
                    <a:pt x="301" y="12"/>
                  </a:lnTo>
                  <a:lnTo>
                    <a:pt x="332" y="26"/>
                  </a:lnTo>
                  <a:lnTo>
                    <a:pt x="358" y="46"/>
                  </a:lnTo>
                  <a:lnTo>
                    <a:pt x="379" y="71"/>
                  </a:lnTo>
                  <a:lnTo>
                    <a:pt x="395" y="100"/>
                  </a:lnTo>
                  <a:lnTo>
                    <a:pt x="405" y="134"/>
                  </a:lnTo>
                  <a:lnTo>
                    <a:pt x="408" y="172"/>
                  </a:lnTo>
                  <a:lnTo>
                    <a:pt x="405" y="207"/>
                  </a:lnTo>
                  <a:lnTo>
                    <a:pt x="396" y="240"/>
                  </a:lnTo>
                  <a:lnTo>
                    <a:pt x="382" y="267"/>
                  </a:lnTo>
                  <a:lnTo>
                    <a:pt x="363" y="291"/>
                  </a:lnTo>
                  <a:lnTo>
                    <a:pt x="341" y="309"/>
                  </a:lnTo>
                  <a:lnTo>
                    <a:pt x="316" y="323"/>
                  </a:lnTo>
                  <a:lnTo>
                    <a:pt x="289" y="332"/>
                  </a:lnTo>
                  <a:lnTo>
                    <a:pt x="260" y="338"/>
                  </a:lnTo>
                  <a:lnTo>
                    <a:pt x="414" y="570"/>
                  </a:lnTo>
                  <a:lnTo>
                    <a:pt x="330" y="570"/>
                  </a:lnTo>
                  <a:lnTo>
                    <a:pt x="185" y="344"/>
                  </a:lnTo>
                  <a:lnTo>
                    <a:pt x="72" y="344"/>
                  </a:lnTo>
                  <a:lnTo>
                    <a:pt x="72" y="570"/>
                  </a:lnTo>
                  <a:lnTo>
                    <a:pt x="0" y="57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3" name="Freeform 11">
              <a:extLst>
                <a:ext uri="{FF2B5EF4-FFF2-40B4-BE49-F238E27FC236}">
                  <a16:creationId xmlns:a16="http://schemas.microsoft.com/office/drawing/2014/main" id="{1BF77FA2-453F-46AC-88C7-A53B318A4C81}"/>
                </a:ext>
              </a:extLst>
            </p:cNvPr>
            <p:cNvSpPr>
              <a:spLocks noEditPoints="1"/>
            </p:cNvSpPr>
            <p:nvPr/>
          </p:nvSpPr>
          <p:spPr bwMode="auto">
            <a:xfrm>
              <a:off x="7817458" y="6000597"/>
              <a:ext cx="434975" cy="452438"/>
            </a:xfrm>
            <a:custGeom>
              <a:avLst/>
              <a:gdLst>
                <a:gd name="T0" fmla="*/ 273 w 548"/>
                <a:gd name="T1" fmla="*/ 73 h 570"/>
                <a:gd name="T2" fmla="*/ 153 w 548"/>
                <a:gd name="T3" fmla="*/ 381 h 570"/>
                <a:gd name="T4" fmla="*/ 393 w 548"/>
                <a:gd name="T5" fmla="*/ 381 h 570"/>
                <a:gd name="T6" fmla="*/ 273 w 548"/>
                <a:gd name="T7" fmla="*/ 73 h 570"/>
                <a:gd name="T8" fmla="*/ 229 w 548"/>
                <a:gd name="T9" fmla="*/ 0 h 570"/>
                <a:gd name="T10" fmla="*/ 317 w 548"/>
                <a:gd name="T11" fmla="*/ 0 h 570"/>
                <a:gd name="T12" fmla="*/ 548 w 548"/>
                <a:gd name="T13" fmla="*/ 570 h 570"/>
                <a:gd name="T14" fmla="*/ 548 w 548"/>
                <a:gd name="T15" fmla="*/ 570 h 570"/>
                <a:gd name="T16" fmla="*/ 465 w 548"/>
                <a:gd name="T17" fmla="*/ 570 h 570"/>
                <a:gd name="T18" fmla="*/ 415 w 548"/>
                <a:gd name="T19" fmla="*/ 444 h 570"/>
                <a:gd name="T20" fmla="*/ 132 w 548"/>
                <a:gd name="T21" fmla="*/ 444 h 570"/>
                <a:gd name="T22" fmla="*/ 82 w 548"/>
                <a:gd name="T23" fmla="*/ 570 h 570"/>
                <a:gd name="T24" fmla="*/ 0 w 548"/>
                <a:gd name="T25" fmla="*/ 570 h 570"/>
                <a:gd name="T26" fmla="*/ 229 w 548"/>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8" h="570">
                  <a:moveTo>
                    <a:pt x="273" y="73"/>
                  </a:moveTo>
                  <a:lnTo>
                    <a:pt x="153" y="381"/>
                  </a:lnTo>
                  <a:lnTo>
                    <a:pt x="393" y="381"/>
                  </a:lnTo>
                  <a:lnTo>
                    <a:pt x="273" y="73"/>
                  </a:lnTo>
                  <a:close/>
                  <a:moveTo>
                    <a:pt x="229" y="0"/>
                  </a:moveTo>
                  <a:lnTo>
                    <a:pt x="317" y="0"/>
                  </a:lnTo>
                  <a:lnTo>
                    <a:pt x="548" y="570"/>
                  </a:lnTo>
                  <a:lnTo>
                    <a:pt x="548" y="570"/>
                  </a:lnTo>
                  <a:lnTo>
                    <a:pt x="465" y="570"/>
                  </a:lnTo>
                  <a:lnTo>
                    <a:pt x="415" y="444"/>
                  </a:lnTo>
                  <a:lnTo>
                    <a:pt x="132" y="444"/>
                  </a:lnTo>
                  <a:lnTo>
                    <a:pt x="82" y="570"/>
                  </a:lnTo>
                  <a:lnTo>
                    <a:pt x="0" y="570"/>
                  </a:lnTo>
                  <a:lnTo>
                    <a:pt x="22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5" name="Freeform 26">
              <a:extLst>
                <a:ext uri="{FF2B5EF4-FFF2-40B4-BE49-F238E27FC236}">
                  <a16:creationId xmlns:a16="http://schemas.microsoft.com/office/drawing/2014/main" id="{52734611-9414-4FBB-8752-6E36D291F0D5}"/>
                </a:ext>
              </a:extLst>
            </p:cNvPr>
            <p:cNvSpPr>
              <a:spLocks/>
            </p:cNvSpPr>
            <p:nvPr/>
          </p:nvSpPr>
          <p:spPr bwMode="auto">
            <a:xfrm>
              <a:off x="6412520" y="5962497"/>
              <a:ext cx="514350" cy="381000"/>
            </a:xfrm>
            <a:custGeom>
              <a:avLst/>
              <a:gdLst>
                <a:gd name="T0" fmla="*/ 325 w 650"/>
                <a:gd name="T1" fmla="*/ 0 h 479"/>
                <a:gd name="T2" fmla="*/ 378 w 650"/>
                <a:gd name="T3" fmla="*/ 4 h 479"/>
                <a:gd name="T4" fmla="*/ 428 w 650"/>
                <a:gd name="T5" fmla="*/ 18 h 479"/>
                <a:gd name="T6" fmla="*/ 474 w 650"/>
                <a:gd name="T7" fmla="*/ 37 h 479"/>
                <a:gd name="T8" fmla="*/ 516 w 650"/>
                <a:gd name="T9" fmla="*/ 63 h 479"/>
                <a:gd name="T10" fmla="*/ 554 w 650"/>
                <a:gd name="T11" fmla="*/ 95 h 479"/>
                <a:gd name="T12" fmla="*/ 587 w 650"/>
                <a:gd name="T13" fmla="*/ 134 h 479"/>
                <a:gd name="T14" fmla="*/ 613 w 650"/>
                <a:gd name="T15" fmla="*/ 176 h 479"/>
                <a:gd name="T16" fmla="*/ 632 w 650"/>
                <a:gd name="T17" fmla="*/ 222 h 479"/>
                <a:gd name="T18" fmla="*/ 645 w 650"/>
                <a:gd name="T19" fmla="*/ 272 h 479"/>
                <a:gd name="T20" fmla="*/ 650 w 650"/>
                <a:gd name="T21" fmla="*/ 325 h 479"/>
                <a:gd name="T22" fmla="*/ 647 w 650"/>
                <a:gd name="T23" fmla="*/ 366 h 479"/>
                <a:gd name="T24" fmla="*/ 638 w 650"/>
                <a:gd name="T25" fmla="*/ 406 h 479"/>
                <a:gd name="T26" fmla="*/ 626 w 650"/>
                <a:gd name="T27" fmla="*/ 444 h 479"/>
                <a:gd name="T28" fmla="*/ 610 w 650"/>
                <a:gd name="T29" fmla="*/ 479 h 479"/>
                <a:gd name="T30" fmla="*/ 559 w 650"/>
                <a:gd name="T31" fmla="*/ 456 h 479"/>
                <a:gd name="T32" fmla="*/ 503 w 650"/>
                <a:gd name="T33" fmla="*/ 436 h 479"/>
                <a:gd name="T34" fmla="*/ 444 w 650"/>
                <a:gd name="T35" fmla="*/ 423 h 479"/>
                <a:gd name="T36" fmla="*/ 573 w 650"/>
                <a:gd name="T37" fmla="*/ 429 h 479"/>
                <a:gd name="T38" fmla="*/ 381 w 650"/>
                <a:gd name="T39" fmla="*/ 397 h 479"/>
                <a:gd name="T40" fmla="*/ 531 w 650"/>
                <a:gd name="T41" fmla="*/ 309 h 479"/>
                <a:gd name="T42" fmla="*/ 355 w 650"/>
                <a:gd name="T43" fmla="*/ 381 h 479"/>
                <a:gd name="T44" fmla="*/ 406 w 650"/>
                <a:gd name="T45" fmla="*/ 282 h 479"/>
                <a:gd name="T46" fmla="*/ 334 w 650"/>
                <a:gd name="T47" fmla="*/ 373 h 479"/>
                <a:gd name="T48" fmla="*/ 324 w 650"/>
                <a:gd name="T49" fmla="*/ 175 h 479"/>
                <a:gd name="T50" fmla="*/ 315 w 650"/>
                <a:gd name="T51" fmla="*/ 373 h 479"/>
                <a:gd name="T52" fmla="*/ 244 w 650"/>
                <a:gd name="T53" fmla="*/ 282 h 479"/>
                <a:gd name="T54" fmla="*/ 294 w 650"/>
                <a:gd name="T55" fmla="*/ 381 h 479"/>
                <a:gd name="T56" fmla="*/ 117 w 650"/>
                <a:gd name="T57" fmla="*/ 309 h 479"/>
                <a:gd name="T58" fmla="*/ 268 w 650"/>
                <a:gd name="T59" fmla="*/ 397 h 479"/>
                <a:gd name="T60" fmla="*/ 74 w 650"/>
                <a:gd name="T61" fmla="*/ 429 h 479"/>
                <a:gd name="T62" fmla="*/ 208 w 650"/>
                <a:gd name="T63" fmla="*/ 422 h 479"/>
                <a:gd name="T64" fmla="*/ 147 w 650"/>
                <a:gd name="T65" fmla="*/ 436 h 479"/>
                <a:gd name="T66" fmla="*/ 92 w 650"/>
                <a:gd name="T67" fmla="*/ 456 h 479"/>
                <a:gd name="T68" fmla="*/ 40 w 650"/>
                <a:gd name="T69" fmla="*/ 479 h 479"/>
                <a:gd name="T70" fmla="*/ 23 w 650"/>
                <a:gd name="T71" fmla="*/ 444 h 479"/>
                <a:gd name="T72" fmla="*/ 11 w 650"/>
                <a:gd name="T73" fmla="*/ 406 h 479"/>
                <a:gd name="T74" fmla="*/ 3 w 650"/>
                <a:gd name="T75" fmla="*/ 366 h 479"/>
                <a:gd name="T76" fmla="*/ 0 w 650"/>
                <a:gd name="T77" fmla="*/ 325 h 479"/>
                <a:gd name="T78" fmla="*/ 5 w 650"/>
                <a:gd name="T79" fmla="*/ 272 h 479"/>
                <a:gd name="T80" fmla="*/ 17 w 650"/>
                <a:gd name="T81" fmla="*/ 222 h 479"/>
                <a:gd name="T82" fmla="*/ 37 w 650"/>
                <a:gd name="T83" fmla="*/ 176 h 479"/>
                <a:gd name="T84" fmla="*/ 64 w 650"/>
                <a:gd name="T85" fmla="*/ 134 h 479"/>
                <a:gd name="T86" fmla="*/ 96 w 650"/>
                <a:gd name="T87" fmla="*/ 95 h 479"/>
                <a:gd name="T88" fmla="*/ 133 w 650"/>
                <a:gd name="T89" fmla="*/ 63 h 479"/>
                <a:gd name="T90" fmla="*/ 175 w 650"/>
                <a:gd name="T91" fmla="*/ 37 h 479"/>
                <a:gd name="T92" fmla="*/ 222 w 650"/>
                <a:gd name="T93" fmla="*/ 18 h 479"/>
                <a:gd name="T94" fmla="*/ 272 w 650"/>
                <a:gd name="T95" fmla="*/ 4 h 479"/>
                <a:gd name="T96" fmla="*/ 325 w 650"/>
                <a:gd name="T97"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 h="479">
                  <a:moveTo>
                    <a:pt x="325" y="0"/>
                  </a:moveTo>
                  <a:lnTo>
                    <a:pt x="378" y="4"/>
                  </a:lnTo>
                  <a:lnTo>
                    <a:pt x="428" y="18"/>
                  </a:lnTo>
                  <a:lnTo>
                    <a:pt x="474" y="37"/>
                  </a:lnTo>
                  <a:lnTo>
                    <a:pt x="516" y="63"/>
                  </a:lnTo>
                  <a:lnTo>
                    <a:pt x="554" y="95"/>
                  </a:lnTo>
                  <a:lnTo>
                    <a:pt x="587" y="134"/>
                  </a:lnTo>
                  <a:lnTo>
                    <a:pt x="613" y="176"/>
                  </a:lnTo>
                  <a:lnTo>
                    <a:pt x="632" y="222"/>
                  </a:lnTo>
                  <a:lnTo>
                    <a:pt x="645" y="272"/>
                  </a:lnTo>
                  <a:lnTo>
                    <a:pt x="650" y="325"/>
                  </a:lnTo>
                  <a:lnTo>
                    <a:pt x="647" y="366"/>
                  </a:lnTo>
                  <a:lnTo>
                    <a:pt x="638" y="406"/>
                  </a:lnTo>
                  <a:lnTo>
                    <a:pt x="626" y="444"/>
                  </a:lnTo>
                  <a:lnTo>
                    <a:pt x="610" y="479"/>
                  </a:lnTo>
                  <a:lnTo>
                    <a:pt x="559" y="456"/>
                  </a:lnTo>
                  <a:lnTo>
                    <a:pt x="503" y="436"/>
                  </a:lnTo>
                  <a:lnTo>
                    <a:pt x="444" y="423"/>
                  </a:lnTo>
                  <a:lnTo>
                    <a:pt x="573" y="429"/>
                  </a:lnTo>
                  <a:lnTo>
                    <a:pt x="381" y="397"/>
                  </a:lnTo>
                  <a:lnTo>
                    <a:pt x="531" y="309"/>
                  </a:lnTo>
                  <a:lnTo>
                    <a:pt x="355" y="381"/>
                  </a:lnTo>
                  <a:lnTo>
                    <a:pt x="406" y="282"/>
                  </a:lnTo>
                  <a:lnTo>
                    <a:pt x="334" y="373"/>
                  </a:lnTo>
                  <a:lnTo>
                    <a:pt x="324" y="175"/>
                  </a:lnTo>
                  <a:lnTo>
                    <a:pt x="315" y="373"/>
                  </a:lnTo>
                  <a:lnTo>
                    <a:pt x="244" y="282"/>
                  </a:lnTo>
                  <a:lnTo>
                    <a:pt x="294" y="381"/>
                  </a:lnTo>
                  <a:lnTo>
                    <a:pt x="117" y="309"/>
                  </a:lnTo>
                  <a:lnTo>
                    <a:pt x="268" y="397"/>
                  </a:lnTo>
                  <a:lnTo>
                    <a:pt x="74" y="429"/>
                  </a:lnTo>
                  <a:lnTo>
                    <a:pt x="208" y="422"/>
                  </a:lnTo>
                  <a:lnTo>
                    <a:pt x="147" y="436"/>
                  </a:lnTo>
                  <a:lnTo>
                    <a:pt x="92" y="456"/>
                  </a:lnTo>
                  <a:lnTo>
                    <a:pt x="40" y="479"/>
                  </a:lnTo>
                  <a:lnTo>
                    <a:pt x="23" y="444"/>
                  </a:lnTo>
                  <a:lnTo>
                    <a:pt x="11" y="406"/>
                  </a:lnTo>
                  <a:lnTo>
                    <a:pt x="3" y="366"/>
                  </a:lnTo>
                  <a:lnTo>
                    <a:pt x="0" y="325"/>
                  </a:lnTo>
                  <a:lnTo>
                    <a:pt x="5" y="272"/>
                  </a:lnTo>
                  <a:lnTo>
                    <a:pt x="17" y="222"/>
                  </a:lnTo>
                  <a:lnTo>
                    <a:pt x="37" y="176"/>
                  </a:lnTo>
                  <a:lnTo>
                    <a:pt x="64" y="134"/>
                  </a:lnTo>
                  <a:lnTo>
                    <a:pt x="96" y="95"/>
                  </a:lnTo>
                  <a:lnTo>
                    <a:pt x="133" y="63"/>
                  </a:lnTo>
                  <a:lnTo>
                    <a:pt x="175" y="37"/>
                  </a:lnTo>
                  <a:lnTo>
                    <a:pt x="222" y="18"/>
                  </a:lnTo>
                  <a:lnTo>
                    <a:pt x="272" y="4"/>
                  </a:lnTo>
                  <a:lnTo>
                    <a:pt x="325" y="0"/>
                  </a:lnTo>
                  <a:close/>
                </a:path>
              </a:pathLst>
            </a:custGeom>
            <a:solidFill>
              <a:srgbClr val="FFCC00"/>
            </a:solidFill>
            <a:ln w="1905">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7" name="Freeform 28">
              <a:extLst>
                <a:ext uri="{FF2B5EF4-FFF2-40B4-BE49-F238E27FC236}">
                  <a16:creationId xmlns:a16="http://schemas.microsoft.com/office/drawing/2014/main" id="{66515C01-3222-4EC7-9828-056DF1D4C2E7}"/>
                </a:ext>
              </a:extLst>
            </p:cNvPr>
            <p:cNvSpPr>
              <a:spLocks/>
            </p:cNvSpPr>
            <p:nvPr/>
          </p:nvSpPr>
          <p:spPr bwMode="auto">
            <a:xfrm>
              <a:off x="6382358" y="6302222"/>
              <a:ext cx="573088" cy="176213"/>
            </a:xfrm>
            <a:custGeom>
              <a:avLst/>
              <a:gdLst>
                <a:gd name="T0" fmla="*/ 360 w 721"/>
                <a:gd name="T1" fmla="*/ 0 h 222"/>
                <a:gd name="T2" fmla="*/ 423 w 721"/>
                <a:gd name="T3" fmla="*/ 3 h 222"/>
                <a:gd name="T4" fmla="*/ 482 w 721"/>
                <a:gd name="T5" fmla="*/ 11 h 222"/>
                <a:gd name="T6" fmla="*/ 539 w 721"/>
                <a:gd name="T7" fmla="*/ 25 h 222"/>
                <a:gd name="T8" fmla="*/ 592 w 721"/>
                <a:gd name="T9" fmla="*/ 44 h 222"/>
                <a:gd name="T10" fmla="*/ 639 w 721"/>
                <a:gd name="T11" fmla="*/ 66 h 222"/>
                <a:gd name="T12" fmla="*/ 683 w 721"/>
                <a:gd name="T13" fmla="*/ 94 h 222"/>
                <a:gd name="T14" fmla="*/ 721 w 721"/>
                <a:gd name="T15" fmla="*/ 123 h 222"/>
                <a:gd name="T16" fmla="*/ 671 w 721"/>
                <a:gd name="T17" fmla="*/ 107 h 222"/>
                <a:gd name="T18" fmla="*/ 618 w 721"/>
                <a:gd name="T19" fmla="*/ 94 h 222"/>
                <a:gd name="T20" fmla="*/ 586 w 721"/>
                <a:gd name="T21" fmla="*/ 130 h 222"/>
                <a:gd name="T22" fmla="*/ 549 w 721"/>
                <a:gd name="T23" fmla="*/ 161 h 222"/>
                <a:gd name="T24" fmla="*/ 507 w 721"/>
                <a:gd name="T25" fmla="*/ 186 h 222"/>
                <a:gd name="T26" fmla="*/ 461 w 721"/>
                <a:gd name="T27" fmla="*/ 205 h 222"/>
                <a:gd name="T28" fmla="*/ 413 w 721"/>
                <a:gd name="T29" fmla="*/ 217 h 222"/>
                <a:gd name="T30" fmla="*/ 361 w 721"/>
                <a:gd name="T31" fmla="*/ 222 h 222"/>
                <a:gd name="T32" fmla="*/ 310 w 721"/>
                <a:gd name="T33" fmla="*/ 217 h 222"/>
                <a:gd name="T34" fmla="*/ 260 w 721"/>
                <a:gd name="T35" fmla="*/ 205 h 222"/>
                <a:gd name="T36" fmla="*/ 214 w 721"/>
                <a:gd name="T37" fmla="*/ 186 h 222"/>
                <a:gd name="T38" fmla="*/ 173 w 721"/>
                <a:gd name="T39" fmla="*/ 161 h 222"/>
                <a:gd name="T40" fmla="*/ 135 w 721"/>
                <a:gd name="T41" fmla="*/ 129 h 222"/>
                <a:gd name="T42" fmla="*/ 103 w 721"/>
                <a:gd name="T43" fmla="*/ 94 h 222"/>
                <a:gd name="T44" fmla="*/ 50 w 721"/>
                <a:gd name="T45" fmla="*/ 107 h 222"/>
                <a:gd name="T46" fmla="*/ 0 w 721"/>
                <a:gd name="T47" fmla="*/ 123 h 222"/>
                <a:gd name="T48" fmla="*/ 38 w 721"/>
                <a:gd name="T49" fmla="*/ 94 h 222"/>
                <a:gd name="T50" fmla="*/ 81 w 721"/>
                <a:gd name="T51" fmla="*/ 66 h 222"/>
                <a:gd name="T52" fmla="*/ 129 w 721"/>
                <a:gd name="T53" fmla="*/ 44 h 222"/>
                <a:gd name="T54" fmla="*/ 182 w 721"/>
                <a:gd name="T55" fmla="*/ 25 h 222"/>
                <a:gd name="T56" fmla="*/ 238 w 721"/>
                <a:gd name="T57" fmla="*/ 11 h 222"/>
                <a:gd name="T58" fmla="*/ 298 w 721"/>
                <a:gd name="T59" fmla="*/ 3 h 222"/>
                <a:gd name="T60" fmla="*/ 360 w 721"/>
                <a:gd name="T6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1" h="222">
                  <a:moveTo>
                    <a:pt x="360" y="0"/>
                  </a:moveTo>
                  <a:lnTo>
                    <a:pt x="423" y="3"/>
                  </a:lnTo>
                  <a:lnTo>
                    <a:pt x="482" y="11"/>
                  </a:lnTo>
                  <a:lnTo>
                    <a:pt x="539" y="25"/>
                  </a:lnTo>
                  <a:lnTo>
                    <a:pt x="592" y="44"/>
                  </a:lnTo>
                  <a:lnTo>
                    <a:pt x="639" y="66"/>
                  </a:lnTo>
                  <a:lnTo>
                    <a:pt x="683" y="94"/>
                  </a:lnTo>
                  <a:lnTo>
                    <a:pt x="721" y="123"/>
                  </a:lnTo>
                  <a:lnTo>
                    <a:pt x="671" y="107"/>
                  </a:lnTo>
                  <a:lnTo>
                    <a:pt x="618" y="94"/>
                  </a:lnTo>
                  <a:lnTo>
                    <a:pt x="586" y="130"/>
                  </a:lnTo>
                  <a:lnTo>
                    <a:pt x="549" y="161"/>
                  </a:lnTo>
                  <a:lnTo>
                    <a:pt x="507" y="186"/>
                  </a:lnTo>
                  <a:lnTo>
                    <a:pt x="461" y="205"/>
                  </a:lnTo>
                  <a:lnTo>
                    <a:pt x="413" y="217"/>
                  </a:lnTo>
                  <a:lnTo>
                    <a:pt x="361" y="222"/>
                  </a:lnTo>
                  <a:lnTo>
                    <a:pt x="310" y="217"/>
                  </a:lnTo>
                  <a:lnTo>
                    <a:pt x="260" y="205"/>
                  </a:lnTo>
                  <a:lnTo>
                    <a:pt x="214" y="186"/>
                  </a:lnTo>
                  <a:lnTo>
                    <a:pt x="173" y="161"/>
                  </a:lnTo>
                  <a:lnTo>
                    <a:pt x="135" y="129"/>
                  </a:lnTo>
                  <a:lnTo>
                    <a:pt x="103" y="94"/>
                  </a:lnTo>
                  <a:lnTo>
                    <a:pt x="50" y="107"/>
                  </a:lnTo>
                  <a:lnTo>
                    <a:pt x="0" y="123"/>
                  </a:lnTo>
                  <a:lnTo>
                    <a:pt x="38" y="94"/>
                  </a:lnTo>
                  <a:lnTo>
                    <a:pt x="81" y="66"/>
                  </a:lnTo>
                  <a:lnTo>
                    <a:pt x="129" y="44"/>
                  </a:lnTo>
                  <a:lnTo>
                    <a:pt x="182" y="25"/>
                  </a:lnTo>
                  <a:lnTo>
                    <a:pt x="238" y="11"/>
                  </a:lnTo>
                  <a:lnTo>
                    <a:pt x="298" y="3"/>
                  </a:lnTo>
                  <a:lnTo>
                    <a:pt x="36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Placeholder 4">
            <a:extLst>
              <a:ext uri="{FF2B5EF4-FFF2-40B4-BE49-F238E27FC236}">
                <a16:creationId xmlns:a16="http://schemas.microsoft.com/office/drawing/2014/main" id="{AA81721A-67FD-41CF-929D-2C54FA84CE83}"/>
              </a:ext>
            </a:extLst>
          </p:cNvPr>
          <p:cNvSpPr>
            <a:spLocks noGrp="1"/>
          </p:cNvSpPr>
          <p:nvPr>
            <p:ph type="body" sz="quarter" idx="31" hasCustomPrompt="1"/>
          </p:nvPr>
        </p:nvSpPr>
        <p:spPr>
          <a:xfrm>
            <a:off x="9500714" y="1263129"/>
            <a:ext cx="2335686" cy="338554"/>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2200" b="1">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Key facts</a:t>
            </a:r>
          </a:p>
        </p:txBody>
      </p:sp>
      <p:sp>
        <p:nvSpPr>
          <p:cNvPr id="39" name="Text Placeholder 4">
            <a:extLst>
              <a:ext uri="{FF2B5EF4-FFF2-40B4-BE49-F238E27FC236}">
                <a16:creationId xmlns:a16="http://schemas.microsoft.com/office/drawing/2014/main" id="{4CBD7913-5B3C-4408-8218-FFF47783F855}"/>
              </a:ext>
            </a:extLst>
          </p:cNvPr>
          <p:cNvSpPr>
            <a:spLocks noGrp="1"/>
          </p:cNvSpPr>
          <p:nvPr>
            <p:ph type="body" sz="quarter" idx="32"/>
          </p:nvPr>
        </p:nvSpPr>
        <p:spPr>
          <a:xfrm>
            <a:off x="9500714" y="1712755"/>
            <a:ext cx="2335686" cy="854080"/>
          </a:xfrm>
        </p:spPr>
        <p:txBody>
          <a:bodyPr>
            <a:spAutoFit/>
          </a:bodyPr>
          <a:lstStyle>
            <a:lvl1pP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buClr>
                <a:schemeClr val="bg1"/>
              </a:buClr>
              <a:defRPr sz="12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Confidential">
            <a:extLst>
              <a:ext uri="{FF2B5EF4-FFF2-40B4-BE49-F238E27FC236}">
                <a16:creationId xmlns:a16="http://schemas.microsoft.com/office/drawing/2014/main" id="{9A5A9F84-A329-4FF8-9CAE-6D721520C4B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4" name="Text Placeholder 2">
            <a:extLst>
              <a:ext uri="{FF2B5EF4-FFF2-40B4-BE49-F238E27FC236}">
                <a16:creationId xmlns:a16="http://schemas.microsoft.com/office/drawing/2014/main" id="{35CBE728-73FD-4E81-81D2-C2FD2A68979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2" name="Text Placeholder 5">
            <a:extLst>
              <a:ext uri="{FF2B5EF4-FFF2-40B4-BE49-F238E27FC236}">
                <a16:creationId xmlns:a16="http://schemas.microsoft.com/office/drawing/2014/main" id="{8F11272A-6435-4CA8-99DD-0474751E9214}"/>
              </a:ext>
            </a:extLst>
          </p:cNvPr>
          <p:cNvSpPr>
            <a:spLocks noGrp="1"/>
          </p:cNvSpPr>
          <p:nvPr>
            <p:ph type="body" sz="quarter" idx="33"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41" name="Supertitle">
            <a:extLst>
              <a:ext uri="{FF2B5EF4-FFF2-40B4-BE49-F238E27FC236}">
                <a16:creationId xmlns:a16="http://schemas.microsoft.com/office/drawing/2014/main" id="{33C03219-68CC-46CB-ACB8-7CA3FFF44A3F}"/>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05820665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9212934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6" name="Text Placeholder 5">
            <a:extLst>
              <a:ext uri="{FF2B5EF4-FFF2-40B4-BE49-F238E27FC236}">
                <a16:creationId xmlns:a16="http://schemas.microsoft.com/office/drawing/2014/main" id="{623E6946-0748-48B6-97C6-CE6BE01F7EAB}"/>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8" name="Supertitle">
            <a:extLst>
              <a:ext uri="{FF2B5EF4-FFF2-40B4-BE49-F238E27FC236}">
                <a16:creationId xmlns:a16="http://schemas.microsoft.com/office/drawing/2014/main" id="{67259323-2698-47EA-85E1-F6C8C7417BEB}"/>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9419052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 Column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133424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Header 2">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Header 1">
            <a:extLst>
              <a:ext uri="{FF2B5EF4-FFF2-40B4-BE49-F238E27FC236}">
                <a16:creationId xmlns:a16="http://schemas.microsoft.com/office/drawing/2014/main" id="{32BAE579-0324-4306-9E4A-CEFBFBCF8241}"/>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br>
              <a:rPr lang="en-GB"/>
            </a:br>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Confidential">
            <a:extLst>
              <a:ext uri="{FF2B5EF4-FFF2-40B4-BE49-F238E27FC236}">
                <a16:creationId xmlns:a16="http://schemas.microsoft.com/office/drawing/2014/main" id="{3F6CE3CC-2060-479C-94F1-04D18BF5C6B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D9606BCF-6B49-43F6-B1F8-D730B3DBFA1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1" name="Aurora Logo">
            <a:extLst>
              <a:ext uri="{FF2B5EF4-FFF2-40B4-BE49-F238E27FC236}">
                <a16:creationId xmlns:a16="http://schemas.microsoft.com/office/drawing/2014/main" id="{8A8EA597-F2C7-43A2-BC75-D1BDEE3A6A8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6" name="Title 5">
            <a:extLst>
              <a:ext uri="{FF2B5EF4-FFF2-40B4-BE49-F238E27FC236}">
                <a16:creationId xmlns:a16="http://schemas.microsoft.com/office/drawing/2014/main" id="{9A68FB94-22BB-418E-A3AF-9DD42AD17527}"/>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Placeholder 5">
            <a:extLst>
              <a:ext uri="{FF2B5EF4-FFF2-40B4-BE49-F238E27FC236}">
                <a16:creationId xmlns:a16="http://schemas.microsoft.com/office/drawing/2014/main" id="{E72DEEE7-DA59-4851-9CD4-CC9406230800}"/>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56C4E603-64F7-4F39-A735-5CCD3A8AEBF5}"/>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2333888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068019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440880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2" name="Header 1">
            <a:extLst>
              <a:ext uri="{FF2B5EF4-FFF2-40B4-BE49-F238E27FC236}">
                <a16:creationId xmlns:a16="http://schemas.microsoft.com/office/drawing/2014/main" id="{A3739E06-BCC4-4BE2-8465-7C275005EB1B}"/>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7744C131-E445-449A-9D7A-C3330908F943}"/>
              </a:ext>
            </a:extLst>
          </p:cNvPr>
          <p:cNvSpPr>
            <a:spLocks noGrp="1"/>
          </p:cNvSpPr>
          <p:nvPr>
            <p:ph type="body" sz="quarter" idx="33" hasCustomPrompt="1"/>
          </p:nvPr>
        </p:nvSpPr>
        <p:spPr>
          <a:xfrm>
            <a:off x="381000" y="396175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Text Placeholder 5">
            <a:extLst>
              <a:ext uri="{FF2B5EF4-FFF2-40B4-BE49-F238E27FC236}">
                <a16:creationId xmlns:a16="http://schemas.microsoft.com/office/drawing/2014/main" id="{2A292F9D-6C89-415E-83D3-55D0817A9C6E}"/>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1" name="Supertitle">
            <a:extLst>
              <a:ext uri="{FF2B5EF4-FFF2-40B4-BE49-F238E27FC236}">
                <a16:creationId xmlns:a16="http://schemas.microsoft.com/office/drawing/2014/main" id="{5E90CA15-507C-4009-8650-4586F5995820}"/>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68482745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 Row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6167070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EA5D9CEB-00AA-4AAF-ABA5-B1C22FEFA300}"/>
              </a:ext>
            </a:extLst>
          </p:cNvPr>
          <p:cNvSpPr>
            <a:spLocks noGrp="1"/>
          </p:cNvSpPr>
          <p:nvPr>
            <p:ph type="body" sz="quarter" idx="27"/>
          </p:nvPr>
        </p:nvSpPr>
        <p:spPr>
          <a:xfrm>
            <a:off x="381000" y="17101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6" name="TextBox 35">
            <a:extLst>
              <a:ext uri="{FF2B5EF4-FFF2-40B4-BE49-F238E27FC236}">
                <a16:creationId xmlns:a16="http://schemas.microsoft.com/office/drawing/2014/main" id="{3AAFE7EB-AC65-4A3B-8ABB-87CF764E3961}"/>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45" name="Header Comments">
            <a:extLst>
              <a:ext uri="{FF2B5EF4-FFF2-40B4-BE49-F238E27FC236}">
                <a16:creationId xmlns:a16="http://schemas.microsoft.com/office/drawing/2014/main" id="{4C771506-7D0E-410C-BD98-A6E2D0CCE341}"/>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46" name="Text Comments">
            <a:extLst>
              <a:ext uri="{FF2B5EF4-FFF2-40B4-BE49-F238E27FC236}">
                <a16:creationId xmlns:a16="http://schemas.microsoft.com/office/drawing/2014/main" id="{BD7F1F24-5A19-4F5F-AA93-31145179A2E5}"/>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2">
            <a:extLst>
              <a:ext uri="{FF2B5EF4-FFF2-40B4-BE49-F238E27FC236}">
                <a16:creationId xmlns:a16="http://schemas.microsoft.com/office/drawing/2014/main" id="{766DB440-58A0-4B3F-8D90-E88EB6E32957}"/>
              </a:ext>
            </a:extLst>
          </p:cNvPr>
          <p:cNvSpPr>
            <a:spLocks noGrp="1"/>
          </p:cNvSpPr>
          <p:nvPr>
            <p:ph type="body" sz="quarter" idx="31"/>
          </p:nvPr>
        </p:nvSpPr>
        <p:spPr>
          <a:xfrm>
            <a:off x="381000" y="3421913"/>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Confidential">
            <a:extLst>
              <a:ext uri="{FF2B5EF4-FFF2-40B4-BE49-F238E27FC236}">
                <a16:creationId xmlns:a16="http://schemas.microsoft.com/office/drawing/2014/main" id="{84F846B3-E161-4A72-A3AD-915A061022EB}"/>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5" name="Text Placeholder 2">
            <a:extLst>
              <a:ext uri="{FF2B5EF4-FFF2-40B4-BE49-F238E27FC236}">
                <a16:creationId xmlns:a16="http://schemas.microsoft.com/office/drawing/2014/main" id="{B6DF8740-3263-4373-A52E-C92738D1F837}"/>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7" name="Aurora Logo">
            <a:extLst>
              <a:ext uri="{FF2B5EF4-FFF2-40B4-BE49-F238E27FC236}">
                <a16:creationId xmlns:a16="http://schemas.microsoft.com/office/drawing/2014/main" id="{0769C0C2-7FCE-4192-A778-F353FEF67DF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4" name="Title 3">
            <a:extLst>
              <a:ext uri="{FF2B5EF4-FFF2-40B4-BE49-F238E27FC236}">
                <a16:creationId xmlns:a16="http://schemas.microsoft.com/office/drawing/2014/main" id="{4BD59661-299C-4955-992A-E3CC7751A919}"/>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20" name="Text 2">
            <a:extLst>
              <a:ext uri="{FF2B5EF4-FFF2-40B4-BE49-F238E27FC236}">
                <a16:creationId xmlns:a16="http://schemas.microsoft.com/office/drawing/2014/main" id="{B52C0C7C-A921-4477-94C1-D3B37AE18DA7}"/>
              </a:ext>
            </a:extLst>
          </p:cNvPr>
          <p:cNvSpPr>
            <a:spLocks noGrp="1"/>
          </p:cNvSpPr>
          <p:nvPr>
            <p:ph type="body" sz="quarter" idx="33"/>
          </p:nvPr>
        </p:nvSpPr>
        <p:spPr>
          <a:xfrm>
            <a:off x="381000" y="5144472"/>
            <a:ext cx="8601074"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1">
            <a:extLst>
              <a:ext uri="{FF2B5EF4-FFF2-40B4-BE49-F238E27FC236}">
                <a16:creationId xmlns:a16="http://schemas.microsoft.com/office/drawing/2014/main" id="{6D5D929B-1295-4B1D-B4FF-E7026B5C2C52}"/>
              </a:ext>
            </a:extLst>
          </p:cNvPr>
          <p:cNvSpPr>
            <a:spLocks noGrp="1"/>
          </p:cNvSpPr>
          <p:nvPr>
            <p:ph type="body" sz="quarter" idx="29" hasCustomPrompt="1"/>
          </p:nvPr>
        </p:nvSpPr>
        <p:spPr>
          <a:xfrm>
            <a:off x="381000" y="1268129"/>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Header 2">
            <a:extLst>
              <a:ext uri="{FF2B5EF4-FFF2-40B4-BE49-F238E27FC236}">
                <a16:creationId xmlns:a16="http://schemas.microsoft.com/office/drawing/2014/main" id="{6BBC2BEC-EDFC-48F8-B92B-DF737A476BA4}"/>
              </a:ext>
            </a:extLst>
          </p:cNvPr>
          <p:cNvSpPr>
            <a:spLocks noGrp="1"/>
          </p:cNvSpPr>
          <p:nvPr>
            <p:ph type="body" sz="quarter" idx="35" hasCustomPrompt="1"/>
          </p:nvPr>
        </p:nvSpPr>
        <p:spPr>
          <a:xfrm>
            <a:off x="381000" y="2972287"/>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4" name="Header 3">
            <a:extLst>
              <a:ext uri="{FF2B5EF4-FFF2-40B4-BE49-F238E27FC236}">
                <a16:creationId xmlns:a16="http://schemas.microsoft.com/office/drawing/2014/main" id="{CBB7CE2B-E4BF-4D55-92E0-410EF2F14686}"/>
              </a:ext>
            </a:extLst>
          </p:cNvPr>
          <p:cNvSpPr>
            <a:spLocks noGrp="1"/>
          </p:cNvSpPr>
          <p:nvPr>
            <p:ph type="body" sz="quarter" idx="36" hasCustomPrompt="1"/>
          </p:nvPr>
        </p:nvSpPr>
        <p:spPr>
          <a:xfrm>
            <a:off x="381000" y="4694846"/>
            <a:ext cx="8601074"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Back 12 Point</a:t>
            </a:r>
            <a:br>
              <a:rPr lang="en-GB"/>
            </a:br>
            <a:r>
              <a:rPr lang="en-GB"/>
              <a:t>(max. 2 lines)</a:t>
            </a:r>
          </a:p>
        </p:txBody>
      </p:sp>
      <p:sp>
        <p:nvSpPr>
          <p:cNvPr id="30" name="Text Placeholder 5">
            <a:extLst>
              <a:ext uri="{FF2B5EF4-FFF2-40B4-BE49-F238E27FC236}">
                <a16:creationId xmlns:a16="http://schemas.microsoft.com/office/drawing/2014/main" id="{C2D14B43-FA7F-4C1C-BDCF-88D7C793E9F5}"/>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5" name="Supertitle">
            <a:extLst>
              <a:ext uri="{FF2B5EF4-FFF2-40B4-BE49-F238E27FC236}">
                <a16:creationId xmlns:a16="http://schemas.microsoft.com/office/drawing/2014/main" id="{668E88DA-65CD-4DAA-A768-FB88FADA606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31106078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5954609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Header 1">
            <a:extLst>
              <a:ext uri="{FF2B5EF4-FFF2-40B4-BE49-F238E27FC236}">
                <a16:creationId xmlns:a16="http://schemas.microsoft.com/office/drawing/2014/main" id="{899B6044-5D69-4BA0-AD5A-9F13BA4D536F}"/>
              </a:ext>
            </a:extLst>
          </p:cNvPr>
          <p:cNvSpPr>
            <a:spLocks noGrp="1"/>
          </p:cNvSpPr>
          <p:nvPr>
            <p:ph type="body" sz="quarter" idx="29" hasCustomPrompt="1"/>
          </p:nvPr>
        </p:nvSpPr>
        <p:spPr>
          <a:xfrm>
            <a:off x="381000"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29068DE1-26EE-4CC0-A093-29AD7EDF6CF6}"/>
              </a:ext>
            </a:extLst>
          </p:cNvPr>
          <p:cNvSpPr>
            <a:spLocks noGrp="1"/>
          </p:cNvSpPr>
          <p:nvPr>
            <p:ph type="body" sz="quarter" idx="36" hasCustomPrompt="1"/>
          </p:nvPr>
        </p:nvSpPr>
        <p:spPr>
          <a:xfrm>
            <a:off x="5020274" y="1268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3" name="Text Placeholder 5">
            <a:extLst>
              <a:ext uri="{FF2B5EF4-FFF2-40B4-BE49-F238E27FC236}">
                <a16:creationId xmlns:a16="http://schemas.microsoft.com/office/drawing/2014/main" id="{5A1619A7-4E66-467A-816F-8D216D356284}"/>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2B9C89C-9E0B-4344-82D2-A5C064C33F64}"/>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2196623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x2 Columns &amp; Commen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3954804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8" name="Text 1">
            <a:extLst>
              <a:ext uri="{FF2B5EF4-FFF2-40B4-BE49-F238E27FC236}">
                <a16:creationId xmlns:a16="http://schemas.microsoft.com/office/drawing/2014/main" id="{9B01E7D4-48BF-4E5D-A571-B8D98E87B856}"/>
              </a:ext>
            </a:extLst>
          </p:cNvPr>
          <p:cNvSpPr>
            <a:spLocks noGrp="1"/>
          </p:cNvSpPr>
          <p:nvPr>
            <p:ph type="body" sz="quarter" idx="33"/>
          </p:nvPr>
        </p:nvSpPr>
        <p:spPr>
          <a:xfrm>
            <a:off x="381000" y="1710172"/>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Text 2">
            <a:extLst>
              <a:ext uri="{FF2B5EF4-FFF2-40B4-BE49-F238E27FC236}">
                <a16:creationId xmlns:a16="http://schemas.microsoft.com/office/drawing/2014/main" id="{FA718C05-6704-4077-8FC4-2F09B5649B9A}"/>
              </a:ext>
            </a:extLst>
          </p:cNvPr>
          <p:cNvSpPr>
            <a:spLocks noGrp="1"/>
          </p:cNvSpPr>
          <p:nvPr>
            <p:ph type="body" sz="quarter" idx="35"/>
          </p:nvPr>
        </p:nvSpPr>
        <p:spPr>
          <a:xfrm>
            <a:off x="5020274" y="1712755"/>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9" name="Text 1">
            <a:extLst>
              <a:ext uri="{FF2B5EF4-FFF2-40B4-BE49-F238E27FC236}">
                <a16:creationId xmlns:a16="http://schemas.microsoft.com/office/drawing/2014/main" id="{1AB28788-F537-4100-8E92-B79AAFA2EBE2}"/>
              </a:ext>
            </a:extLst>
          </p:cNvPr>
          <p:cNvSpPr>
            <a:spLocks noGrp="1"/>
          </p:cNvSpPr>
          <p:nvPr>
            <p:ph type="body" sz="quarter" idx="37"/>
          </p:nvPr>
        </p:nvSpPr>
        <p:spPr>
          <a:xfrm>
            <a:off x="381000"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2">
            <a:extLst>
              <a:ext uri="{FF2B5EF4-FFF2-40B4-BE49-F238E27FC236}">
                <a16:creationId xmlns:a16="http://schemas.microsoft.com/office/drawing/2014/main" id="{1A8068DE-3744-4018-BC69-71A4401B61FB}"/>
              </a:ext>
            </a:extLst>
          </p:cNvPr>
          <p:cNvSpPr>
            <a:spLocks noGrp="1"/>
          </p:cNvSpPr>
          <p:nvPr>
            <p:ph type="body" sz="quarter" idx="39"/>
          </p:nvPr>
        </p:nvSpPr>
        <p:spPr>
          <a:xfrm>
            <a:off x="5020274" y="4408803"/>
            <a:ext cx="3962400"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Header 1">
            <a:extLst>
              <a:ext uri="{FF2B5EF4-FFF2-40B4-BE49-F238E27FC236}">
                <a16:creationId xmlns:a16="http://schemas.microsoft.com/office/drawing/2014/main" id="{CB4DC502-8D89-4CEA-A1D5-C3310F837805}"/>
              </a:ext>
            </a:extLst>
          </p:cNvPr>
          <p:cNvSpPr>
            <a:spLocks noGrp="1"/>
          </p:cNvSpPr>
          <p:nvPr>
            <p:ph type="body" sz="quarter" idx="29" hasCustomPrompt="1"/>
          </p:nvPr>
        </p:nvSpPr>
        <p:spPr>
          <a:xfrm>
            <a:off x="381000"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6" name="Header 2">
            <a:extLst>
              <a:ext uri="{FF2B5EF4-FFF2-40B4-BE49-F238E27FC236}">
                <a16:creationId xmlns:a16="http://schemas.microsoft.com/office/drawing/2014/main" id="{FC9BB27E-9C6E-43D6-8A3B-1C3475AEB274}"/>
              </a:ext>
            </a:extLst>
          </p:cNvPr>
          <p:cNvSpPr>
            <a:spLocks noGrp="1"/>
          </p:cNvSpPr>
          <p:nvPr>
            <p:ph type="body" sz="quarter" idx="36" hasCustomPrompt="1"/>
          </p:nvPr>
        </p:nvSpPr>
        <p:spPr>
          <a:xfrm>
            <a:off x="5020274" y="126312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0" name="Header 3">
            <a:extLst>
              <a:ext uri="{FF2B5EF4-FFF2-40B4-BE49-F238E27FC236}">
                <a16:creationId xmlns:a16="http://schemas.microsoft.com/office/drawing/2014/main" id="{D12FEAB3-1729-4D16-9A00-CC88221F1E0E}"/>
              </a:ext>
            </a:extLst>
          </p:cNvPr>
          <p:cNvSpPr>
            <a:spLocks noGrp="1"/>
          </p:cNvSpPr>
          <p:nvPr>
            <p:ph type="body" sz="quarter" idx="40" hasCustomPrompt="1"/>
          </p:nvPr>
        </p:nvSpPr>
        <p:spPr>
          <a:xfrm>
            <a:off x="381000"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6" name="Header 4">
            <a:extLst>
              <a:ext uri="{FF2B5EF4-FFF2-40B4-BE49-F238E27FC236}">
                <a16:creationId xmlns:a16="http://schemas.microsoft.com/office/drawing/2014/main" id="{7E808397-1165-4076-BD0A-BE6A90C19E9B}"/>
              </a:ext>
            </a:extLst>
          </p:cNvPr>
          <p:cNvSpPr>
            <a:spLocks noGrp="1"/>
          </p:cNvSpPr>
          <p:nvPr>
            <p:ph type="body" sz="quarter" idx="41" hasCustomPrompt="1"/>
          </p:nvPr>
        </p:nvSpPr>
        <p:spPr>
          <a:xfrm>
            <a:off x="5020274" y="3961759"/>
            <a:ext cx="39624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03887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Agenda 3">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603E8E9-3E6F-4875-89EC-2887A614A793}"/>
              </a:ext>
            </a:extLst>
          </p:cNvPr>
          <p:cNvSpPr>
            <a:spLocks noGrp="1"/>
          </p:cNvSpPr>
          <p:nvPr>
            <p:ph type="title" hasCustomPrompt="1"/>
          </p:nvPr>
        </p:nvSpPr>
        <p:spPr>
          <a:xfrm>
            <a:off x="511176" y="1601788"/>
            <a:ext cx="1947862" cy="1325563"/>
          </a:xfrm>
        </p:spPr>
        <p:txBody>
          <a:bodyPr/>
          <a:lstStyle>
            <a:lvl1pPr>
              <a:defRPr/>
            </a:lvl1pPr>
          </a:lstStyle>
          <a:p>
            <a:r>
              <a:rPr lang="en-GB"/>
              <a:t>Agenda</a:t>
            </a:r>
          </a:p>
        </p:txBody>
      </p:sp>
      <p:cxnSp>
        <p:nvCxnSpPr>
          <p:cNvPr id="13" name="Straight Connector 12">
            <a:extLst>
              <a:ext uri="{FF2B5EF4-FFF2-40B4-BE49-F238E27FC236}">
                <a16:creationId xmlns:a16="http://schemas.microsoft.com/office/drawing/2014/main" id="{0B9F7272-20C6-418C-8A6C-B6F913708AEE}"/>
              </a:ext>
            </a:extLst>
          </p:cNvPr>
          <p:cNvCxnSpPr>
            <a:cxnSpLocks/>
          </p:cNvCxnSpPr>
          <p:nvPr/>
        </p:nvCxnSpPr>
        <p:spPr>
          <a:xfrm flipH="1">
            <a:off x="2560638" y="1812877"/>
            <a:ext cx="4507455"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75" name="Agenda Placeholder">
            <a:extLst>
              <a:ext uri="{FF2B5EF4-FFF2-40B4-BE49-F238E27FC236}">
                <a16:creationId xmlns:a16="http://schemas.microsoft.com/office/drawing/2014/main" id="{E08FCD91-4ED5-4472-8502-99710E85E61C}"/>
              </a:ext>
            </a:extLst>
          </p:cNvPr>
          <p:cNvSpPr>
            <a:spLocks noGrp="1"/>
          </p:cNvSpPr>
          <p:nvPr>
            <p:ph type="body" sz="quarter" idx="10" hasCustomPrompt="1"/>
          </p:nvPr>
        </p:nvSpPr>
        <p:spPr>
          <a:xfrm>
            <a:off x="7683500" y="1601788"/>
            <a:ext cx="2950014" cy="4275137"/>
          </a:xfrm>
        </p:spPr>
        <p:txBody>
          <a:bodyPr/>
          <a:lstStyle>
            <a:lvl1pPr marL="342900" indent="-342900">
              <a:lnSpc>
                <a:spcPct val="100000"/>
              </a:lnSpc>
              <a:spcBef>
                <a:spcPts val="0"/>
              </a:spcBef>
              <a:spcAft>
                <a:spcPts val="600"/>
              </a:spcAft>
              <a:buFont typeface="+mj-lt"/>
              <a:buAutoNum type="arabicPlain"/>
              <a:tabLst/>
              <a:defRPr sz="1600">
                <a:solidFill>
                  <a:schemeClr val="tx1"/>
                </a:solidFill>
                <a:latin typeface="+mn-lt"/>
              </a:defRPr>
            </a:lvl1pPr>
            <a:lvl2pPr marL="514350" indent="-171450">
              <a:buFont typeface="Calibre" panose="020B0503030202060203" pitchFamily="34" charset="0"/>
              <a:buChar char="–"/>
              <a:defRPr sz="1200">
                <a:solidFill>
                  <a:schemeClr val="tx1"/>
                </a:solidFill>
                <a:latin typeface="+mn-lt"/>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Agenda item</a:t>
            </a:r>
          </a:p>
          <a:p>
            <a:pPr lvl="1"/>
            <a:r>
              <a:rPr lang="en-GB"/>
              <a:t>Second level</a:t>
            </a:r>
          </a:p>
          <a:p>
            <a:pPr lvl="2"/>
            <a:r>
              <a:rPr lang="en-GB"/>
              <a:t>Third level</a:t>
            </a:r>
          </a:p>
          <a:p>
            <a:pPr lvl="3"/>
            <a:r>
              <a:rPr lang="en-GB"/>
              <a:t>Fourth level</a:t>
            </a:r>
          </a:p>
          <a:p>
            <a:pPr lvl="4"/>
            <a:r>
              <a:rPr lang="en-GB"/>
              <a:t>Fifth level</a:t>
            </a:r>
          </a:p>
        </p:txBody>
      </p:sp>
      <p:sp>
        <p:nvSpPr>
          <p:cNvPr id="11" name="Picture Placeholder 10">
            <a:extLst>
              <a:ext uri="{FF2B5EF4-FFF2-40B4-BE49-F238E27FC236}">
                <a16:creationId xmlns:a16="http://schemas.microsoft.com/office/drawing/2014/main" id="{BDB04C03-037A-4942-9253-93DB7247F3BE}"/>
              </a:ext>
            </a:extLst>
          </p:cNvPr>
          <p:cNvSpPr>
            <a:spLocks noGrp="1"/>
          </p:cNvSpPr>
          <p:nvPr>
            <p:ph type="pic" sz="quarter" idx="13"/>
          </p:nvPr>
        </p:nvSpPr>
        <p:spPr>
          <a:xfrm>
            <a:off x="511175" y="2436729"/>
            <a:ext cx="2971800" cy="1973208"/>
          </a:xfrm>
        </p:spPr>
        <p:txBody>
          <a:bodyPr/>
          <a:lstStyle/>
          <a:p>
            <a:r>
              <a:rPr lang="en-GB" dirty="0"/>
              <a:t>Click icon to add picture</a:t>
            </a:r>
          </a:p>
        </p:txBody>
      </p:sp>
    </p:spTree>
    <p:extLst>
      <p:ext uri="{BB962C8B-B14F-4D97-AF65-F5344CB8AC3E}">
        <p14:creationId xmlns:p14="http://schemas.microsoft.com/office/powerpoint/2010/main" val="1199731116"/>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0205815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8FD374B-EC81-45FE-82A5-5D0B614B0955}"/>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BFED85D2-3BE9-4F6A-8B42-D15CF7D8BD05}"/>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5391905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amp;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822507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4" name="Text Placeholder 4">
            <a:extLst>
              <a:ext uri="{FF2B5EF4-FFF2-40B4-BE49-F238E27FC236}">
                <a16:creationId xmlns:a16="http://schemas.microsoft.com/office/drawing/2014/main" id="{1E8FE108-DC54-4409-9662-F8ED8D794459}"/>
              </a:ext>
            </a:extLst>
          </p:cNvPr>
          <p:cNvSpPr>
            <a:spLocks noGrp="1"/>
          </p:cNvSpPr>
          <p:nvPr>
            <p:ph type="body" sz="quarter" idx="31" hasCustomPrompt="1"/>
          </p:nvPr>
        </p:nvSpPr>
        <p:spPr>
          <a:xfrm>
            <a:off x="381599" y="1263129"/>
            <a:ext cx="11428800" cy="369332"/>
          </a:xfrm>
        </p:spPr>
        <p:txBody>
          <a:bodyPr>
            <a:spAutoFit/>
          </a:bodyPr>
          <a:lstStyle>
            <a:lvl1pPr>
              <a:spcBef>
                <a:spcPts val="0"/>
              </a:spcBef>
              <a:defRPr sz="1200" b="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Grey 12 Point </a:t>
            </a:r>
          </a:p>
          <a:p>
            <a:pPr lvl="0"/>
            <a:r>
              <a:rPr lang="en-GB"/>
              <a:t>(max. 2 lines)</a:t>
            </a:r>
          </a:p>
        </p:txBody>
      </p:sp>
      <p:cxnSp>
        <p:nvCxnSpPr>
          <p:cNvPr id="55" name="Straight Connector 54">
            <a:extLst>
              <a:ext uri="{FF2B5EF4-FFF2-40B4-BE49-F238E27FC236}">
                <a16:creationId xmlns:a16="http://schemas.microsoft.com/office/drawing/2014/main" id="{CB6E8ECA-899B-49C9-9F8D-7B1CB0242CFB}"/>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Confidential">
            <a:extLst>
              <a:ext uri="{FF2B5EF4-FFF2-40B4-BE49-F238E27FC236}">
                <a16:creationId xmlns:a16="http://schemas.microsoft.com/office/drawing/2014/main" id="{1E6624B9-93B9-4B77-AE26-6B03082B5DE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6" name="Text Placeholder 2">
            <a:extLst>
              <a:ext uri="{FF2B5EF4-FFF2-40B4-BE49-F238E27FC236}">
                <a16:creationId xmlns:a16="http://schemas.microsoft.com/office/drawing/2014/main" id="{7389D3C2-0654-4942-8DE0-23A2E181063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6" name="Title 5">
            <a:extLst>
              <a:ext uri="{FF2B5EF4-FFF2-40B4-BE49-F238E27FC236}">
                <a16:creationId xmlns:a16="http://schemas.microsoft.com/office/drawing/2014/main" id="{B2D0A33F-6A0B-4236-BEAF-EC5C09F9F742}"/>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1" name="Bottom line">
            <a:extLst>
              <a:ext uri="{FF2B5EF4-FFF2-40B4-BE49-F238E27FC236}">
                <a16:creationId xmlns:a16="http://schemas.microsoft.com/office/drawing/2014/main" id="{FD8396C6-C8F6-47C9-9402-AD6FEBA89BC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FE6F81A4-8F17-497F-9CA3-86176E23011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4" name="Supertitle">
            <a:extLst>
              <a:ext uri="{FF2B5EF4-FFF2-40B4-BE49-F238E27FC236}">
                <a16:creationId xmlns:a16="http://schemas.microsoft.com/office/drawing/2014/main" id="{9C0238B2-67A9-4A0D-A1CF-60F3C0D5A161}"/>
              </a:ext>
            </a:extLst>
          </p:cNvPr>
          <p:cNvSpPr>
            <a:spLocks noGrp="1"/>
          </p:cNvSpPr>
          <p:nvPr>
            <p:ph type="body" sz="quarter" idx="3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06650874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 Row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6318564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599" y="2159069"/>
            <a:ext cx="11428799"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Text 2">
            <a:extLst>
              <a:ext uri="{FF2B5EF4-FFF2-40B4-BE49-F238E27FC236}">
                <a16:creationId xmlns:a16="http://schemas.microsoft.com/office/drawing/2014/main" id="{C1D21A04-198F-4CDC-8469-16165405FDC5}"/>
              </a:ext>
            </a:extLst>
          </p:cNvPr>
          <p:cNvSpPr>
            <a:spLocks noGrp="1"/>
          </p:cNvSpPr>
          <p:nvPr>
            <p:ph type="body" sz="quarter" idx="31"/>
          </p:nvPr>
        </p:nvSpPr>
        <p:spPr>
          <a:xfrm>
            <a:off x="381599" y="4408803"/>
            <a:ext cx="11428799"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Header 2">
            <a:extLst>
              <a:ext uri="{FF2B5EF4-FFF2-40B4-BE49-F238E27FC236}">
                <a16:creationId xmlns:a16="http://schemas.microsoft.com/office/drawing/2014/main" id="{2802A5D6-C82B-4708-901E-1A6481C0F245}"/>
              </a:ext>
            </a:extLst>
          </p:cNvPr>
          <p:cNvSpPr>
            <a:spLocks noGrp="1"/>
          </p:cNvSpPr>
          <p:nvPr>
            <p:ph type="body" sz="quarter" idx="36" hasCustomPrompt="1"/>
          </p:nvPr>
        </p:nvSpPr>
        <p:spPr>
          <a:xfrm>
            <a:off x="381599" y="3961759"/>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25" name="Bottom line">
            <a:extLst>
              <a:ext uri="{FF2B5EF4-FFF2-40B4-BE49-F238E27FC236}">
                <a16:creationId xmlns:a16="http://schemas.microsoft.com/office/drawing/2014/main" id="{A72FF3B7-BC75-4064-BD6B-EB44619D9346}"/>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Confidential">
            <a:extLst>
              <a:ext uri="{FF2B5EF4-FFF2-40B4-BE49-F238E27FC236}">
                <a16:creationId xmlns:a16="http://schemas.microsoft.com/office/drawing/2014/main" id="{29BED52F-2D38-4AFD-937A-7F5F4180A7BD}"/>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1" name="Text Placeholder 2">
            <a:extLst>
              <a:ext uri="{FF2B5EF4-FFF2-40B4-BE49-F238E27FC236}">
                <a16:creationId xmlns:a16="http://schemas.microsoft.com/office/drawing/2014/main" id="{07B36058-653D-447D-8669-EC979FD9C70E}"/>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B23A8BAD-E2A3-4E1C-AB3E-B7DD1A21187A}"/>
              </a:ext>
            </a:extLst>
          </p:cNvPr>
          <p:cNvSpPr>
            <a:spLocks noGrp="1"/>
          </p:cNvSpPr>
          <p:nvPr>
            <p:ph type="title"/>
          </p:nvPr>
        </p:nvSpPr>
        <p:spPr>
          <a:xfrm>
            <a:off x="381599" y="411856"/>
            <a:ext cx="8600471" cy="609398"/>
          </a:xfrm>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80B7FFA5-CA01-4BA8-9847-6596B7EB6A80}"/>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1">
            <a:extLst>
              <a:ext uri="{FF2B5EF4-FFF2-40B4-BE49-F238E27FC236}">
                <a16:creationId xmlns:a16="http://schemas.microsoft.com/office/drawing/2014/main" id="{CC4CB824-191F-4530-95D8-E0D18B1F7B49}"/>
              </a:ext>
            </a:extLst>
          </p:cNvPr>
          <p:cNvSpPr>
            <a:spLocks noGrp="1"/>
          </p:cNvSpPr>
          <p:nvPr>
            <p:ph type="body" sz="quarter" idx="37" hasCustomPrompt="1"/>
          </p:nvPr>
        </p:nvSpPr>
        <p:spPr>
          <a:xfrm>
            <a:off x="381599" y="1710172"/>
            <a:ext cx="1142879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B47CA606-B2FB-45DB-974F-2AD9CF287F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2" name="Supertitle">
            <a:extLst>
              <a:ext uri="{FF2B5EF4-FFF2-40B4-BE49-F238E27FC236}">
                <a16:creationId xmlns:a16="http://schemas.microsoft.com/office/drawing/2014/main" id="{EF09A4E9-1555-4510-897B-0853590EBBC6}"/>
              </a:ext>
            </a:extLst>
          </p:cNvPr>
          <p:cNvSpPr>
            <a:spLocks noGrp="1"/>
          </p:cNvSpPr>
          <p:nvPr>
            <p:ph type="body" sz="quarter" idx="38"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16288108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3114609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6433799" y="2157215"/>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Text Placeholder 4">
            <a:extLst>
              <a:ext uri="{FF2B5EF4-FFF2-40B4-BE49-F238E27FC236}">
                <a16:creationId xmlns:a16="http://schemas.microsoft.com/office/drawing/2014/main" id="{E3BE1143-B024-49D1-A0D1-6FD6EE38346C}"/>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5" name="Header 2">
            <a:extLst>
              <a:ext uri="{FF2B5EF4-FFF2-40B4-BE49-F238E27FC236}">
                <a16:creationId xmlns:a16="http://schemas.microsoft.com/office/drawing/2014/main" id="{4CDAD24F-66BA-429F-B1D6-CC3E9F342B2E}"/>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8" name="Text Placeholder 5">
            <a:extLst>
              <a:ext uri="{FF2B5EF4-FFF2-40B4-BE49-F238E27FC236}">
                <a16:creationId xmlns:a16="http://schemas.microsoft.com/office/drawing/2014/main" id="{D31B44AB-E325-4D85-AD6C-F9D8A8EBD7A4}"/>
              </a:ext>
            </a:extLst>
          </p:cNvPr>
          <p:cNvSpPr>
            <a:spLocks noGrp="1"/>
          </p:cNvSpPr>
          <p:nvPr>
            <p:ph type="body" sz="quarter" idx="33"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Supertitle">
            <a:extLst>
              <a:ext uri="{FF2B5EF4-FFF2-40B4-BE49-F238E27FC236}">
                <a16:creationId xmlns:a16="http://schemas.microsoft.com/office/drawing/2014/main" id="{B13715BD-CF0D-4BD6-9FF9-55A24368CD77}"/>
              </a:ext>
            </a:extLst>
          </p:cNvPr>
          <p:cNvSpPr>
            <a:spLocks noGrp="1"/>
          </p:cNvSpPr>
          <p:nvPr>
            <p:ph type="body" sz="quarter" idx="34"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84047757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 Columns &amp; ST ">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075803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2157827"/>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2157827"/>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0E4B5625-6591-44EC-86EF-CA23C10F1388}"/>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372611914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3 Columns &amp; ST &amp; result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40669764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Text 1">
            <a:extLst>
              <a:ext uri="{FF2B5EF4-FFF2-40B4-BE49-F238E27FC236}">
                <a16:creationId xmlns:a16="http://schemas.microsoft.com/office/drawing/2014/main" id="{C00D6C2A-D463-4CBD-A2E5-2E0DB01D39C3}"/>
              </a:ext>
            </a:extLst>
          </p:cNvPr>
          <p:cNvSpPr>
            <a:spLocks noGrp="1"/>
          </p:cNvSpPr>
          <p:nvPr>
            <p:ph type="body" sz="quarter" idx="27"/>
          </p:nvPr>
        </p:nvSpPr>
        <p:spPr>
          <a:xfrm>
            <a:off x="381000" y="5311770"/>
            <a:ext cx="3517128"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8" name="Text 2">
            <a:extLst>
              <a:ext uri="{FF2B5EF4-FFF2-40B4-BE49-F238E27FC236}">
                <a16:creationId xmlns:a16="http://schemas.microsoft.com/office/drawing/2014/main" id="{7E8AD6BF-AC30-4F7D-9F46-E63580B7197E}"/>
              </a:ext>
            </a:extLst>
          </p:cNvPr>
          <p:cNvSpPr>
            <a:spLocks noGrp="1"/>
          </p:cNvSpPr>
          <p:nvPr>
            <p:ph type="body" sz="quarter" idx="28"/>
          </p:nvPr>
        </p:nvSpPr>
        <p:spPr>
          <a:xfrm>
            <a:off x="4341230"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Header 1">
            <a:extLst>
              <a:ext uri="{FF2B5EF4-FFF2-40B4-BE49-F238E27FC236}">
                <a16:creationId xmlns:a16="http://schemas.microsoft.com/office/drawing/2014/main" id="{E1C1146A-4D22-4265-822B-59B9841E83E7}"/>
              </a:ext>
            </a:extLst>
          </p:cNvPr>
          <p:cNvSpPr>
            <a:spLocks noGrp="1"/>
          </p:cNvSpPr>
          <p:nvPr>
            <p:ph type="body" sz="quarter" idx="29" hasCustomPrompt="1"/>
          </p:nvPr>
        </p:nvSpPr>
        <p:spPr>
          <a:xfrm>
            <a:off x="381000" y="1710172"/>
            <a:ext cx="3517128" cy="369332"/>
          </a:xfrm>
        </p:spPr>
        <p:txBody>
          <a:bodyPr wrap="square">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Bottom line">
            <a:extLst>
              <a:ext uri="{FF2B5EF4-FFF2-40B4-BE49-F238E27FC236}">
                <a16:creationId xmlns:a16="http://schemas.microsoft.com/office/drawing/2014/main" id="{434024EB-918D-4C70-AC55-1B6C25CB7E0D}"/>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Confidential">
            <a:extLst>
              <a:ext uri="{FF2B5EF4-FFF2-40B4-BE49-F238E27FC236}">
                <a16:creationId xmlns:a16="http://schemas.microsoft.com/office/drawing/2014/main" id="{0F643666-CC41-4DE8-8910-69F6DC6B7F00}"/>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0" name="Text Placeholder 2">
            <a:extLst>
              <a:ext uri="{FF2B5EF4-FFF2-40B4-BE49-F238E27FC236}">
                <a16:creationId xmlns:a16="http://schemas.microsoft.com/office/drawing/2014/main" id="{AD7C7DC7-AA60-40C1-89F5-CCDF3DBC4492}"/>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2AA8006-858F-4FF8-9D0A-23FEAE89287E}"/>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4" name="Header 2">
            <a:extLst>
              <a:ext uri="{FF2B5EF4-FFF2-40B4-BE49-F238E27FC236}">
                <a16:creationId xmlns:a16="http://schemas.microsoft.com/office/drawing/2014/main" id="{44CF15EB-CC9B-42C4-82A6-A6350F49EBD1}"/>
              </a:ext>
            </a:extLst>
          </p:cNvPr>
          <p:cNvSpPr>
            <a:spLocks noGrp="1"/>
          </p:cNvSpPr>
          <p:nvPr>
            <p:ph type="body" sz="quarter" idx="30" hasCustomPrompt="1"/>
          </p:nvPr>
        </p:nvSpPr>
        <p:spPr>
          <a:xfrm>
            <a:off x="4341230"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16" name="Text Placeholder 5">
            <a:extLst>
              <a:ext uri="{FF2B5EF4-FFF2-40B4-BE49-F238E27FC236}">
                <a16:creationId xmlns:a16="http://schemas.microsoft.com/office/drawing/2014/main" id="{7B7AD707-4457-4B02-906D-19F648AC9758}"/>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0" name="Text 2">
            <a:extLst>
              <a:ext uri="{FF2B5EF4-FFF2-40B4-BE49-F238E27FC236}">
                <a16:creationId xmlns:a16="http://schemas.microsoft.com/office/drawing/2014/main" id="{C857A7B0-0DB1-4A6B-8F82-EC0D515C9CEC}"/>
              </a:ext>
            </a:extLst>
          </p:cNvPr>
          <p:cNvSpPr>
            <a:spLocks noGrp="1"/>
          </p:cNvSpPr>
          <p:nvPr>
            <p:ph type="body" sz="quarter" idx="33"/>
          </p:nvPr>
        </p:nvSpPr>
        <p:spPr>
          <a:xfrm>
            <a:off x="8306568" y="5311770"/>
            <a:ext cx="3517132"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Header 2">
            <a:extLst>
              <a:ext uri="{FF2B5EF4-FFF2-40B4-BE49-F238E27FC236}">
                <a16:creationId xmlns:a16="http://schemas.microsoft.com/office/drawing/2014/main" id="{670B0AB7-1ADB-4DFC-B7A2-0ACC0E5E55A4}"/>
              </a:ext>
            </a:extLst>
          </p:cNvPr>
          <p:cNvSpPr>
            <a:spLocks noGrp="1"/>
          </p:cNvSpPr>
          <p:nvPr>
            <p:ph type="body" sz="quarter" idx="34" hasCustomPrompt="1"/>
          </p:nvPr>
        </p:nvSpPr>
        <p:spPr>
          <a:xfrm>
            <a:off x="8306568" y="1710172"/>
            <a:ext cx="3517132"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5" name="Text Placeholder 4">
            <a:extLst>
              <a:ext uri="{FF2B5EF4-FFF2-40B4-BE49-F238E27FC236}">
                <a16:creationId xmlns:a16="http://schemas.microsoft.com/office/drawing/2014/main" id="{F8DCD7AD-925F-43E4-B518-7C85FF5C6E73}"/>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3" name="Supertitle">
            <a:extLst>
              <a:ext uri="{FF2B5EF4-FFF2-40B4-BE49-F238E27FC236}">
                <a16:creationId xmlns:a16="http://schemas.microsoft.com/office/drawing/2014/main" id="{4CF9AB07-A543-4F9B-BA8A-FA616EDBFCE4}"/>
              </a:ext>
            </a:extLst>
          </p:cNvPr>
          <p:cNvSpPr>
            <a:spLocks noGrp="1"/>
          </p:cNvSpPr>
          <p:nvPr>
            <p:ph type="body" sz="quarter" idx="35"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166304423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x2 Columns w/ Subtit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55822417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15684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40880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19" name="Header 1">
            <a:extLst>
              <a:ext uri="{FF2B5EF4-FFF2-40B4-BE49-F238E27FC236}">
                <a16:creationId xmlns:a16="http://schemas.microsoft.com/office/drawing/2014/main" id="{CE85712C-A9D9-4D8D-9215-D2F8C7B77277}"/>
              </a:ext>
            </a:extLst>
          </p:cNvPr>
          <p:cNvSpPr>
            <a:spLocks noGrp="1"/>
          </p:cNvSpPr>
          <p:nvPr>
            <p:ph type="body" sz="quarter" idx="29" hasCustomPrompt="1"/>
          </p:nvPr>
        </p:nvSpPr>
        <p:spPr>
          <a:xfrm>
            <a:off x="381000"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0" name="Header 2">
            <a:extLst>
              <a:ext uri="{FF2B5EF4-FFF2-40B4-BE49-F238E27FC236}">
                <a16:creationId xmlns:a16="http://schemas.microsoft.com/office/drawing/2014/main" id="{9811013D-C8B9-4C12-B29D-D49896202E0B}"/>
              </a:ext>
            </a:extLst>
          </p:cNvPr>
          <p:cNvSpPr>
            <a:spLocks noGrp="1"/>
          </p:cNvSpPr>
          <p:nvPr>
            <p:ph type="body" sz="quarter" idx="32" hasCustomPrompt="1"/>
          </p:nvPr>
        </p:nvSpPr>
        <p:spPr>
          <a:xfrm>
            <a:off x="6433799" y="1710172"/>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1" name="Header 3">
            <a:extLst>
              <a:ext uri="{FF2B5EF4-FFF2-40B4-BE49-F238E27FC236}">
                <a16:creationId xmlns:a16="http://schemas.microsoft.com/office/drawing/2014/main" id="{81C32393-35A4-4D57-9C71-3766A762518F}"/>
              </a:ext>
            </a:extLst>
          </p:cNvPr>
          <p:cNvSpPr>
            <a:spLocks noGrp="1"/>
          </p:cNvSpPr>
          <p:nvPr>
            <p:ph type="body" sz="quarter" idx="40" hasCustomPrompt="1"/>
          </p:nvPr>
        </p:nvSpPr>
        <p:spPr>
          <a:xfrm>
            <a:off x="381000"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2" name="Header 4">
            <a:extLst>
              <a:ext uri="{FF2B5EF4-FFF2-40B4-BE49-F238E27FC236}">
                <a16:creationId xmlns:a16="http://schemas.microsoft.com/office/drawing/2014/main" id="{ED5EF0B4-A865-481D-B6EB-CE3AA5032265}"/>
              </a:ext>
            </a:extLst>
          </p:cNvPr>
          <p:cNvSpPr>
            <a:spLocks noGrp="1"/>
          </p:cNvSpPr>
          <p:nvPr>
            <p:ph type="body" sz="quarter" idx="41" hasCustomPrompt="1"/>
          </p:nvPr>
        </p:nvSpPr>
        <p:spPr>
          <a:xfrm>
            <a:off x="6433799" y="3961759"/>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br>
              <a:rPr lang="en-GB"/>
            </a:br>
            <a:r>
              <a:rPr lang="en-GB"/>
              <a:t>(max. 2 lines)</a:t>
            </a:r>
          </a:p>
        </p:txBody>
      </p:sp>
      <p:sp>
        <p:nvSpPr>
          <p:cNvPr id="27" name="Text Placeholder 5">
            <a:extLst>
              <a:ext uri="{FF2B5EF4-FFF2-40B4-BE49-F238E27FC236}">
                <a16:creationId xmlns:a16="http://schemas.microsoft.com/office/drawing/2014/main" id="{26764055-1C71-464F-9EC3-37CF1D5172BE}"/>
              </a:ext>
            </a:extLst>
          </p:cNvPr>
          <p:cNvSpPr>
            <a:spLocks noGrp="1"/>
          </p:cNvSpPr>
          <p:nvPr>
            <p:ph type="body" sz="quarter" idx="4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3" name="Supertitle">
            <a:extLst>
              <a:ext uri="{FF2B5EF4-FFF2-40B4-BE49-F238E27FC236}">
                <a16:creationId xmlns:a16="http://schemas.microsoft.com/office/drawing/2014/main" id="{59160C87-BA14-41C1-99AB-D59B8122C92A}"/>
              </a:ext>
            </a:extLst>
          </p:cNvPr>
          <p:cNvSpPr>
            <a:spLocks noGrp="1"/>
          </p:cNvSpPr>
          <p:nvPr>
            <p:ph type="body" sz="quarter" idx="43"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01895113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x2 Columns w/ boxes lef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46514350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2" name="Header 1">
            <a:extLst>
              <a:ext uri="{FF2B5EF4-FFF2-40B4-BE49-F238E27FC236}">
                <a16:creationId xmlns:a16="http://schemas.microsoft.com/office/drawing/2014/main" id="{C6F2795A-D810-4E5B-A614-A4D19B261450}"/>
              </a:ext>
            </a:extLst>
          </p:cNvPr>
          <p:cNvSpPr>
            <a:spLocks noGrp="1"/>
          </p:cNvSpPr>
          <p:nvPr>
            <p:ph type="body" sz="quarter" idx="44" hasCustomPrompt="1"/>
          </p:nvPr>
        </p:nvSpPr>
        <p:spPr>
          <a:xfrm>
            <a:off x="6436872"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1344260" y="2154644"/>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7397660" y="2154644"/>
            <a:ext cx="4412739" cy="1638197"/>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13442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7397660" y="172472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1344260"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7397660" y="4514955"/>
            <a:ext cx="4412739" cy="1638196"/>
          </a:xfrm>
        </p:spPr>
        <p:txBody>
          <a:bodyPr>
            <a:no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1344260" y="4085037"/>
            <a:ext cx="4412739"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7397660" y="4085037"/>
            <a:ext cx="4412739"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62856"/>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38" name="Header 1">
            <a:extLst>
              <a:ext uri="{FF2B5EF4-FFF2-40B4-BE49-F238E27FC236}">
                <a16:creationId xmlns:a16="http://schemas.microsoft.com/office/drawing/2014/main" id="{7FCA4893-4428-4B85-88ED-35A9A51FAEF7}"/>
              </a:ext>
            </a:extLst>
          </p:cNvPr>
          <p:cNvSpPr>
            <a:spLocks noGrp="1"/>
          </p:cNvSpPr>
          <p:nvPr>
            <p:ph type="body" sz="quarter" idx="41" hasCustomPrompt="1"/>
          </p:nvPr>
        </p:nvSpPr>
        <p:spPr>
          <a:xfrm>
            <a:off x="381599" y="1724728"/>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9" name="Text Placeholder 4">
            <a:extLst>
              <a:ext uri="{FF2B5EF4-FFF2-40B4-BE49-F238E27FC236}">
                <a16:creationId xmlns:a16="http://schemas.microsoft.com/office/drawing/2014/main" id="{2717A667-C17A-4A65-A0DA-460F20A79959}"/>
              </a:ext>
            </a:extLst>
          </p:cNvPr>
          <p:cNvSpPr>
            <a:spLocks noGrp="1"/>
          </p:cNvSpPr>
          <p:nvPr>
            <p:ph type="body" sz="quarter" idx="42" hasCustomPrompt="1"/>
          </p:nvPr>
        </p:nvSpPr>
        <p:spPr>
          <a:xfrm>
            <a:off x="346075"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41" name="Text Placeholder 4">
            <a:extLst>
              <a:ext uri="{FF2B5EF4-FFF2-40B4-BE49-F238E27FC236}">
                <a16:creationId xmlns:a16="http://schemas.microsoft.com/office/drawing/2014/main" id="{D44F1B25-5AEF-475A-B24F-9978D0EFEE15}"/>
              </a:ext>
            </a:extLst>
          </p:cNvPr>
          <p:cNvSpPr>
            <a:spLocks noGrp="1"/>
          </p:cNvSpPr>
          <p:nvPr>
            <p:ph type="body" sz="quarter" idx="43" hasCustomPrompt="1"/>
          </p:nvPr>
        </p:nvSpPr>
        <p:spPr>
          <a:xfrm>
            <a:off x="6370022" y="170512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3" name="Header 1">
            <a:extLst>
              <a:ext uri="{FF2B5EF4-FFF2-40B4-BE49-F238E27FC236}">
                <a16:creationId xmlns:a16="http://schemas.microsoft.com/office/drawing/2014/main" id="{7E37013A-460E-47E1-A9DF-15009C673120}"/>
              </a:ext>
            </a:extLst>
          </p:cNvPr>
          <p:cNvSpPr>
            <a:spLocks noGrp="1"/>
          </p:cNvSpPr>
          <p:nvPr>
            <p:ph type="body" sz="quarter" idx="45" hasCustomPrompt="1"/>
          </p:nvPr>
        </p:nvSpPr>
        <p:spPr>
          <a:xfrm>
            <a:off x="6436872"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4" name="Header 1">
            <a:extLst>
              <a:ext uri="{FF2B5EF4-FFF2-40B4-BE49-F238E27FC236}">
                <a16:creationId xmlns:a16="http://schemas.microsoft.com/office/drawing/2014/main" id="{4A7A49FE-90F8-49D5-92A6-BEF37210A6B8}"/>
              </a:ext>
            </a:extLst>
          </p:cNvPr>
          <p:cNvSpPr>
            <a:spLocks noGrp="1"/>
          </p:cNvSpPr>
          <p:nvPr>
            <p:ph type="body" sz="quarter" idx="46" hasCustomPrompt="1"/>
          </p:nvPr>
        </p:nvSpPr>
        <p:spPr>
          <a:xfrm>
            <a:off x="381599" y="4085037"/>
            <a:ext cx="908686" cy="2068113"/>
          </a:xfrm>
          <a:solidFill>
            <a:schemeClr val="bg2"/>
          </a:solidFill>
        </p:spPr>
        <p:txBody>
          <a:bodyPr lIns="72000" tIns="288000" rIns="72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45" name="Text Placeholder 4">
            <a:extLst>
              <a:ext uri="{FF2B5EF4-FFF2-40B4-BE49-F238E27FC236}">
                <a16:creationId xmlns:a16="http://schemas.microsoft.com/office/drawing/2014/main" id="{8EBB7965-F4C9-42ED-AD20-20DAD9D6CC5E}"/>
              </a:ext>
            </a:extLst>
          </p:cNvPr>
          <p:cNvSpPr>
            <a:spLocks noGrp="1"/>
          </p:cNvSpPr>
          <p:nvPr>
            <p:ph type="body" sz="quarter" idx="47" hasCustomPrompt="1"/>
          </p:nvPr>
        </p:nvSpPr>
        <p:spPr>
          <a:xfrm>
            <a:off x="346075" y="4045651"/>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46" name="Text Placeholder 4">
            <a:extLst>
              <a:ext uri="{FF2B5EF4-FFF2-40B4-BE49-F238E27FC236}">
                <a16:creationId xmlns:a16="http://schemas.microsoft.com/office/drawing/2014/main" id="{DC5BF429-E5B1-4EF1-9507-F7FADE5F65D8}"/>
              </a:ext>
            </a:extLst>
          </p:cNvPr>
          <p:cNvSpPr>
            <a:spLocks noGrp="1"/>
          </p:cNvSpPr>
          <p:nvPr>
            <p:ph type="body" sz="quarter" idx="48" hasCustomPrompt="1"/>
          </p:nvPr>
        </p:nvSpPr>
        <p:spPr>
          <a:xfrm>
            <a:off x="6370022" y="4016385"/>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37" name="Text Placeholder 5">
            <a:extLst>
              <a:ext uri="{FF2B5EF4-FFF2-40B4-BE49-F238E27FC236}">
                <a16:creationId xmlns:a16="http://schemas.microsoft.com/office/drawing/2014/main" id="{8574D18D-32EA-452E-8261-FB6F366D0871}"/>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CF05201-D523-4050-AE16-80986FCB8FAA}"/>
              </a:ext>
            </a:extLst>
          </p:cNvPr>
          <p:cNvSpPr>
            <a:spLocks noGrp="1"/>
          </p:cNvSpPr>
          <p:nvPr>
            <p:ph type="body" sz="quarter" idx="49"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264386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x2 Columns w/ header boxe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6561926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 1">
            <a:extLst>
              <a:ext uri="{FF2B5EF4-FFF2-40B4-BE49-F238E27FC236}">
                <a16:creationId xmlns:a16="http://schemas.microsoft.com/office/drawing/2014/main" id="{709B38E1-46E1-4A36-9C18-1E853237E6C7}"/>
              </a:ext>
            </a:extLst>
          </p:cNvPr>
          <p:cNvSpPr>
            <a:spLocks noGrp="1"/>
          </p:cNvSpPr>
          <p:nvPr>
            <p:ph type="body" sz="quarter" idx="27"/>
          </p:nvPr>
        </p:nvSpPr>
        <p:spPr>
          <a:xfrm>
            <a:off x="381000"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2">
            <a:extLst>
              <a:ext uri="{FF2B5EF4-FFF2-40B4-BE49-F238E27FC236}">
                <a16:creationId xmlns:a16="http://schemas.microsoft.com/office/drawing/2014/main" id="{B8A7F02B-4DFB-4342-AA8C-66FC004D4340}"/>
              </a:ext>
            </a:extLst>
          </p:cNvPr>
          <p:cNvSpPr>
            <a:spLocks noGrp="1"/>
          </p:cNvSpPr>
          <p:nvPr>
            <p:ph type="body" sz="quarter" idx="28"/>
          </p:nvPr>
        </p:nvSpPr>
        <p:spPr>
          <a:xfrm>
            <a:off x="6433799" y="2421389"/>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Header 1">
            <a:extLst>
              <a:ext uri="{FF2B5EF4-FFF2-40B4-BE49-F238E27FC236}">
                <a16:creationId xmlns:a16="http://schemas.microsoft.com/office/drawing/2014/main" id="{4260A183-6570-43A4-947E-594FDC5180ED}"/>
              </a:ext>
            </a:extLst>
          </p:cNvPr>
          <p:cNvSpPr>
            <a:spLocks noGrp="1"/>
          </p:cNvSpPr>
          <p:nvPr>
            <p:ph type="body" sz="quarter" idx="36" hasCustomPrompt="1"/>
          </p:nvPr>
        </p:nvSpPr>
        <p:spPr>
          <a:xfrm>
            <a:off x="381000"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0" name="Header 2">
            <a:extLst>
              <a:ext uri="{FF2B5EF4-FFF2-40B4-BE49-F238E27FC236}">
                <a16:creationId xmlns:a16="http://schemas.microsoft.com/office/drawing/2014/main" id="{30B40A43-AF85-4C48-AB3A-DA05DE732F35}"/>
              </a:ext>
            </a:extLst>
          </p:cNvPr>
          <p:cNvSpPr>
            <a:spLocks noGrp="1"/>
          </p:cNvSpPr>
          <p:nvPr>
            <p:ph type="body" sz="quarter" idx="30" hasCustomPrompt="1"/>
          </p:nvPr>
        </p:nvSpPr>
        <p:spPr>
          <a:xfrm>
            <a:off x="6433799" y="1974346"/>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2" name="Text 3">
            <a:extLst>
              <a:ext uri="{FF2B5EF4-FFF2-40B4-BE49-F238E27FC236}">
                <a16:creationId xmlns:a16="http://schemas.microsoft.com/office/drawing/2014/main" id="{04D66353-254B-4AA2-84A6-7B9409182638}"/>
              </a:ext>
            </a:extLst>
          </p:cNvPr>
          <p:cNvSpPr>
            <a:spLocks noGrp="1"/>
          </p:cNvSpPr>
          <p:nvPr>
            <p:ph type="body" sz="quarter" idx="37"/>
          </p:nvPr>
        </p:nvSpPr>
        <p:spPr>
          <a:xfrm>
            <a:off x="381000"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3" name="Text 4">
            <a:extLst>
              <a:ext uri="{FF2B5EF4-FFF2-40B4-BE49-F238E27FC236}">
                <a16:creationId xmlns:a16="http://schemas.microsoft.com/office/drawing/2014/main" id="{C7D37593-1A81-4023-A3E8-033632E6D157}"/>
              </a:ext>
            </a:extLst>
          </p:cNvPr>
          <p:cNvSpPr>
            <a:spLocks noGrp="1"/>
          </p:cNvSpPr>
          <p:nvPr>
            <p:ph type="body" sz="quarter" idx="38"/>
          </p:nvPr>
        </p:nvSpPr>
        <p:spPr>
          <a:xfrm>
            <a:off x="6433799" y="4794573"/>
            <a:ext cx="53760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5" name="Header 3">
            <a:extLst>
              <a:ext uri="{FF2B5EF4-FFF2-40B4-BE49-F238E27FC236}">
                <a16:creationId xmlns:a16="http://schemas.microsoft.com/office/drawing/2014/main" id="{831DB6E1-CBAC-4ECF-88CF-E8D51B29C19C}"/>
              </a:ext>
            </a:extLst>
          </p:cNvPr>
          <p:cNvSpPr>
            <a:spLocks noGrp="1"/>
          </p:cNvSpPr>
          <p:nvPr>
            <p:ph type="body" sz="quarter" idx="39" hasCustomPrompt="1"/>
          </p:nvPr>
        </p:nvSpPr>
        <p:spPr>
          <a:xfrm>
            <a:off x="381000" y="4344470"/>
            <a:ext cx="5376000"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a:t>(max. 2 lines)</a:t>
            </a:r>
          </a:p>
        </p:txBody>
      </p:sp>
      <p:sp>
        <p:nvSpPr>
          <p:cNvPr id="36" name="Header 4">
            <a:extLst>
              <a:ext uri="{FF2B5EF4-FFF2-40B4-BE49-F238E27FC236}">
                <a16:creationId xmlns:a16="http://schemas.microsoft.com/office/drawing/2014/main" id="{F2730FC7-2E6F-466D-9221-BB8A8A498DDA}"/>
              </a:ext>
            </a:extLst>
          </p:cNvPr>
          <p:cNvSpPr>
            <a:spLocks noGrp="1"/>
          </p:cNvSpPr>
          <p:nvPr>
            <p:ph type="body" sz="quarter" idx="40" hasCustomPrompt="1"/>
          </p:nvPr>
        </p:nvSpPr>
        <p:spPr>
          <a:xfrm>
            <a:off x="6433799" y="4344470"/>
            <a:ext cx="5376000" cy="369332"/>
          </a:xfrm>
        </p:spPr>
        <p:txBody>
          <a:bodyPr>
            <a:spAutoFit/>
          </a:bodyPr>
          <a:lstStyle>
            <a:lvl1pPr>
              <a:spcBef>
                <a:spcPts val="0"/>
              </a:spcBef>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a:t>
            </a:r>
            <a:r>
              <a:rPr lang="en-GB" err="1"/>
              <a:t>Lato</a:t>
            </a:r>
            <a:r>
              <a:rPr lang="en-GB"/>
              <a:t> 12 Point</a:t>
            </a:r>
          </a:p>
          <a:p>
            <a:pPr lvl="0"/>
            <a:r>
              <a:rPr lang="en-GB"/>
              <a:t>(max. 2 lines)</a:t>
            </a:r>
          </a:p>
        </p:txBody>
      </p: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18" name="Text Placeholder 4">
            <a:extLst>
              <a:ext uri="{FF2B5EF4-FFF2-40B4-BE49-F238E27FC236}">
                <a16:creationId xmlns:a16="http://schemas.microsoft.com/office/drawing/2014/main" id="{F1C9B74D-AA4A-41C9-908C-F5884B578581}"/>
              </a:ext>
            </a:extLst>
          </p:cNvPr>
          <p:cNvSpPr>
            <a:spLocks noGrp="1"/>
          </p:cNvSpPr>
          <p:nvPr>
            <p:ph type="body" sz="quarter" idx="31" hasCustomPrompt="1"/>
          </p:nvPr>
        </p:nvSpPr>
        <p:spPr>
          <a:xfrm>
            <a:off x="3815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495300"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6548099" y="1723182"/>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7" name="Text Placeholder 4">
            <a:extLst>
              <a:ext uri="{FF2B5EF4-FFF2-40B4-BE49-F238E27FC236}">
                <a16:creationId xmlns:a16="http://schemas.microsoft.com/office/drawing/2014/main" id="{22123AE3-2808-4107-B118-172F8E99A326}"/>
              </a:ext>
            </a:extLst>
          </p:cNvPr>
          <p:cNvSpPr>
            <a:spLocks noGrp="1"/>
          </p:cNvSpPr>
          <p:nvPr>
            <p:ph type="body" sz="quarter" idx="44" hasCustomPrompt="1"/>
          </p:nvPr>
        </p:nvSpPr>
        <p:spPr>
          <a:xfrm>
            <a:off x="6433799" y="170675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495300"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49" name="Text Placeholder 4">
            <a:extLst>
              <a:ext uri="{FF2B5EF4-FFF2-40B4-BE49-F238E27FC236}">
                <a16:creationId xmlns:a16="http://schemas.microsoft.com/office/drawing/2014/main" id="{5430CA55-3194-437D-886F-57F7C5BF7738}"/>
              </a:ext>
            </a:extLst>
          </p:cNvPr>
          <p:cNvSpPr>
            <a:spLocks noGrp="1"/>
          </p:cNvSpPr>
          <p:nvPr>
            <p:ph type="body" sz="quarter" idx="46" hasCustomPrompt="1"/>
          </p:nvPr>
        </p:nvSpPr>
        <p:spPr>
          <a:xfrm>
            <a:off x="381000"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3</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6548099" y="4090556"/>
            <a:ext cx="5261700" cy="211746"/>
          </a:xfrm>
          <a:solidFill>
            <a:schemeClr val="bg2"/>
          </a:solidFill>
        </p:spPr>
        <p:txBody>
          <a:bodyPr lIns="180000">
            <a:no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1" name="Text Placeholder 4">
            <a:extLst>
              <a:ext uri="{FF2B5EF4-FFF2-40B4-BE49-F238E27FC236}">
                <a16:creationId xmlns:a16="http://schemas.microsoft.com/office/drawing/2014/main" id="{E03268E8-248B-45BF-9BE3-8E6103F84597}"/>
              </a:ext>
            </a:extLst>
          </p:cNvPr>
          <p:cNvSpPr>
            <a:spLocks noGrp="1"/>
          </p:cNvSpPr>
          <p:nvPr>
            <p:ph type="body" sz="quarter" idx="48" hasCustomPrompt="1"/>
          </p:nvPr>
        </p:nvSpPr>
        <p:spPr>
          <a:xfrm>
            <a:off x="6433799" y="4070594"/>
            <a:ext cx="252000" cy="251670"/>
          </a:xfrm>
          <a:prstGeom prst="ellipse">
            <a:avLst/>
          </a:prstGeom>
          <a:solidFill>
            <a:schemeClr val="accent2"/>
          </a:solidFill>
          <a:ln w="15875" cmpd="sng">
            <a:noFill/>
          </a:ln>
        </p:spPr>
        <p:txBody>
          <a:bodyPr anchor="ctr" anchorCtr="0">
            <a:noAutofit/>
          </a:bodyPr>
          <a:lstStyle>
            <a:lvl1pPr algn="ctr">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4</a:t>
            </a:r>
          </a:p>
        </p:txBody>
      </p:sp>
      <p:sp>
        <p:nvSpPr>
          <p:cNvPr id="8" name="Text Placeholder 7">
            <a:extLst>
              <a:ext uri="{FF2B5EF4-FFF2-40B4-BE49-F238E27FC236}">
                <a16:creationId xmlns:a16="http://schemas.microsoft.com/office/drawing/2014/main" id="{C13C1FBD-2B60-4422-8E94-1A95A3DE93D5}"/>
              </a:ext>
            </a:extLst>
          </p:cNvPr>
          <p:cNvSpPr>
            <a:spLocks noGrp="1"/>
          </p:cNvSpPr>
          <p:nvPr>
            <p:ph type="body" sz="quarter" idx="49" hasCustomPrompt="1"/>
          </p:nvPr>
        </p:nvSpPr>
        <p:spPr>
          <a:xfrm>
            <a:off x="381000" y="1706754"/>
            <a:ext cx="252000" cy="251670"/>
          </a:xfrm>
          <a:prstGeom prst="ellipse">
            <a:avLst/>
          </a:prstGeom>
          <a:solidFill>
            <a:schemeClr val="accent2"/>
          </a:solidFill>
        </p:spPr>
        <p:txBody>
          <a:bodyPr anchor="ctr" anchorCtr="0">
            <a:noAutofit/>
          </a:bodyPr>
          <a:lstStyle>
            <a:lvl1pPr algn="ctr">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263972752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5 regions - bar chart -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010532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848034"/>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035234"/>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24327375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mage Agenda 1">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7FE991-A877-4767-B1CA-512FB5B04D95}"/>
              </a:ext>
            </a:extLst>
          </p:cNvPr>
          <p:cNvSpPr>
            <a:spLocks noGrp="1"/>
          </p:cNvSpPr>
          <p:nvPr>
            <p:ph type="title" hasCustomPrompt="1"/>
          </p:nvPr>
        </p:nvSpPr>
        <p:spPr>
          <a:xfrm>
            <a:off x="511176" y="1600200"/>
            <a:ext cx="1441744" cy="1325563"/>
          </a:xfrm>
        </p:spPr>
        <p:txBody>
          <a:bodyPr/>
          <a:lstStyle>
            <a:lvl1pPr>
              <a:defRPr>
                <a:solidFill>
                  <a:schemeClr val="tx1"/>
                </a:solidFill>
              </a:defRPr>
            </a:lvl1pPr>
          </a:lstStyle>
          <a:p>
            <a:r>
              <a:rPr lang="en-GB"/>
              <a:t>Agenda</a:t>
            </a:r>
          </a:p>
        </p:txBody>
      </p:sp>
      <p:sp>
        <p:nvSpPr>
          <p:cNvPr id="75" name="Agenda Placeholder">
            <a:extLst>
              <a:ext uri="{FF2B5EF4-FFF2-40B4-BE49-F238E27FC236}">
                <a16:creationId xmlns:a16="http://schemas.microsoft.com/office/drawing/2014/main" id="{0F20E8DD-88E2-4435-A814-208BF59AA4AF}"/>
              </a:ext>
            </a:extLst>
          </p:cNvPr>
          <p:cNvSpPr>
            <a:spLocks noGrp="1"/>
          </p:cNvSpPr>
          <p:nvPr>
            <p:ph type="body" sz="quarter" idx="10" hasCustomPrompt="1"/>
          </p:nvPr>
        </p:nvSpPr>
        <p:spPr>
          <a:xfrm>
            <a:off x="8707438" y="1562876"/>
            <a:ext cx="2971799" cy="4314049"/>
          </a:xfrm>
        </p:spPr>
        <p:txBody>
          <a:bodyPr/>
          <a:lstStyle>
            <a:lvl1pPr marL="342900" indent="-342900">
              <a:lnSpc>
                <a:spcPct val="100000"/>
              </a:lnSpc>
              <a:spcBef>
                <a:spcPts val="0"/>
              </a:spcBef>
              <a:spcAft>
                <a:spcPts val="600"/>
              </a:spcAft>
              <a:buFont typeface="+mj-lt"/>
              <a:buAutoNum type="arabicPlain"/>
              <a:tabLst/>
              <a:defRPr sz="1600">
                <a:solidFill>
                  <a:schemeClr val="tx1"/>
                </a:solidFill>
                <a:latin typeface="+mn-lt"/>
              </a:defRPr>
            </a:lvl1pPr>
            <a:lvl2pPr marL="514350" indent="-171450">
              <a:buFont typeface="Calibre" panose="020B0503030202060203" pitchFamily="34" charset="0"/>
              <a:buChar char="–"/>
              <a:defRPr sz="1200">
                <a:solidFill>
                  <a:schemeClr val="tx1"/>
                </a:solidFill>
                <a:latin typeface="+mn-lt"/>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Agenda item</a:t>
            </a:r>
          </a:p>
          <a:p>
            <a:pPr lvl="1"/>
            <a:r>
              <a:rPr lang="en-GB"/>
              <a:t>Second level</a:t>
            </a:r>
          </a:p>
          <a:p>
            <a:pPr lvl="2"/>
            <a:r>
              <a:rPr lang="en-GB"/>
              <a:t>Third level</a:t>
            </a:r>
          </a:p>
          <a:p>
            <a:pPr lvl="3"/>
            <a:r>
              <a:rPr lang="en-GB"/>
              <a:t>Fourth level</a:t>
            </a:r>
          </a:p>
          <a:p>
            <a:pPr lvl="4"/>
            <a:r>
              <a:rPr lang="en-GB"/>
              <a:t>Fifth level</a:t>
            </a:r>
          </a:p>
        </p:txBody>
      </p:sp>
      <p:sp>
        <p:nvSpPr>
          <p:cNvPr id="6" name="Picture Placeholder 5">
            <a:extLst>
              <a:ext uri="{FF2B5EF4-FFF2-40B4-BE49-F238E27FC236}">
                <a16:creationId xmlns:a16="http://schemas.microsoft.com/office/drawing/2014/main" id="{627EE949-DAB3-4E3E-BACE-0854D8E22185}"/>
              </a:ext>
            </a:extLst>
          </p:cNvPr>
          <p:cNvSpPr>
            <a:spLocks noGrp="1"/>
          </p:cNvSpPr>
          <p:nvPr>
            <p:ph type="pic" sz="quarter" idx="11"/>
          </p:nvPr>
        </p:nvSpPr>
        <p:spPr>
          <a:xfrm>
            <a:off x="3584575" y="476250"/>
            <a:ext cx="4506913" cy="5905500"/>
          </a:xfrm>
        </p:spPr>
        <p:txBody>
          <a:bodyPr/>
          <a:lstStyle/>
          <a:p>
            <a:r>
              <a:rPr lang="en-GB" dirty="0"/>
              <a:t>Click icon to add picture</a:t>
            </a:r>
          </a:p>
        </p:txBody>
      </p:sp>
    </p:spTree>
    <p:extLst>
      <p:ext uri="{BB962C8B-B14F-4D97-AF65-F5344CB8AC3E}">
        <p14:creationId xmlns:p14="http://schemas.microsoft.com/office/powerpoint/2010/main" val="3200609252"/>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 regions - comment - white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0424943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6" name="Header 1">
            <a:extLst>
              <a:ext uri="{FF2B5EF4-FFF2-40B4-BE49-F238E27FC236}">
                <a16:creationId xmlns:a16="http://schemas.microsoft.com/office/drawing/2014/main" id="{15492E27-0423-4B7C-9F8A-92CAFE37CEF1}"/>
              </a:ext>
            </a:extLst>
          </p:cNvPr>
          <p:cNvSpPr>
            <a:spLocks noGrp="1"/>
          </p:cNvSpPr>
          <p:nvPr>
            <p:ph type="body" sz="quarter" idx="43" hasCustomPrompt="1"/>
          </p:nvPr>
        </p:nvSpPr>
        <p:spPr>
          <a:xfrm>
            <a:off x="4283512"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48" name="Header 1">
            <a:extLst>
              <a:ext uri="{FF2B5EF4-FFF2-40B4-BE49-F238E27FC236}">
                <a16:creationId xmlns:a16="http://schemas.microsoft.com/office/drawing/2014/main" id="{ADD9AFFE-56A6-4380-8BEF-EB516EA5EA71}"/>
              </a:ext>
            </a:extLst>
          </p:cNvPr>
          <p:cNvSpPr>
            <a:spLocks noGrp="1"/>
          </p:cNvSpPr>
          <p:nvPr>
            <p:ph type="body" sz="quarter" idx="45" hasCustomPrompt="1"/>
          </p:nvPr>
        </p:nvSpPr>
        <p:spPr>
          <a:xfrm>
            <a:off x="377525"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
        <p:nvSpPr>
          <p:cNvPr id="50" name="Header 1">
            <a:extLst>
              <a:ext uri="{FF2B5EF4-FFF2-40B4-BE49-F238E27FC236}">
                <a16:creationId xmlns:a16="http://schemas.microsoft.com/office/drawing/2014/main" id="{AA2F41B8-E21B-46B0-BCA2-6056C9D8C5D8}"/>
              </a:ext>
            </a:extLst>
          </p:cNvPr>
          <p:cNvSpPr>
            <a:spLocks noGrp="1"/>
          </p:cNvSpPr>
          <p:nvPr>
            <p:ph type="body" sz="quarter" idx="47" hasCustomPrompt="1"/>
          </p:nvPr>
        </p:nvSpPr>
        <p:spPr>
          <a:xfrm>
            <a:off x="4283512" y="3962330"/>
            <a:ext cx="3635840" cy="187200"/>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5</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44" name="Header 1">
            <a:extLst>
              <a:ext uri="{FF2B5EF4-FFF2-40B4-BE49-F238E27FC236}">
                <a16:creationId xmlns:a16="http://schemas.microsoft.com/office/drawing/2014/main" id="{B9DFF9B2-EA65-4F16-AE77-78189FC247FD}"/>
              </a:ext>
            </a:extLst>
          </p:cNvPr>
          <p:cNvSpPr>
            <a:spLocks noGrp="1"/>
          </p:cNvSpPr>
          <p:nvPr>
            <p:ph type="body" sz="quarter" idx="52" hasCustomPrompt="1"/>
          </p:nvPr>
        </p:nvSpPr>
        <p:spPr>
          <a:xfrm>
            <a:off x="8176649" y="1779617"/>
            <a:ext cx="363584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56" name="Text 3">
            <a:extLst>
              <a:ext uri="{FF2B5EF4-FFF2-40B4-BE49-F238E27FC236}">
                <a16:creationId xmlns:a16="http://schemas.microsoft.com/office/drawing/2014/main" id="{D0B2870A-8204-4594-A776-A3DA73C035B9}"/>
              </a:ext>
            </a:extLst>
          </p:cNvPr>
          <p:cNvSpPr>
            <a:spLocks noGrp="1"/>
          </p:cNvSpPr>
          <p:nvPr>
            <p:ph type="body" sz="quarter" idx="37"/>
          </p:nvPr>
        </p:nvSpPr>
        <p:spPr>
          <a:xfrm>
            <a:off x="8234803" y="4149530"/>
            <a:ext cx="3635233" cy="854080"/>
          </a:xfrm>
        </p:spPr>
        <p:txBody>
          <a:bodyPr wrap="square">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Tree>
    <p:extLst>
      <p:ext uri="{BB962C8B-B14F-4D97-AF65-F5344CB8AC3E}">
        <p14:creationId xmlns:p14="http://schemas.microsoft.com/office/powerpoint/2010/main" val="63825297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 regions - comment - grey backgroun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5145639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8" name="887e9b1f-fb4c-4511-b226-5d5061d4e6ac">
            <a:extLst>
              <a:ext uri="{FF2B5EF4-FFF2-40B4-BE49-F238E27FC236}">
                <a16:creationId xmlns:a16="http://schemas.microsoft.com/office/drawing/2014/main" id="{5504868D-EEED-4AEB-A214-7752B465DA2D}"/>
              </a:ext>
            </a:extLst>
          </p:cNvPr>
          <p:cNvSpPr/>
          <p:nvPr/>
        </p:nvSpPr>
        <p:spPr>
          <a:xfrm flipV="1">
            <a:off x="9220201" y="0"/>
            <a:ext cx="2971799" cy="6857998"/>
          </a:xfrm>
          <a:prstGeom prst="rect">
            <a:avLst/>
          </a:prstGeom>
          <a:solidFill>
            <a:srgbClr val="E7E7E7"/>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549e57d5-23e7-4f51-aab7-eda7272a3e4f">
            <a:extLst>
              <a:ext uri="{FF2B5EF4-FFF2-40B4-BE49-F238E27FC236}">
                <a16:creationId xmlns:a16="http://schemas.microsoft.com/office/drawing/2014/main" id="{4E05B960-F0BC-4796-81C0-9E8609C1B444}"/>
              </a:ext>
            </a:extLst>
          </p:cNvPr>
          <p:cNvCxnSpPr>
            <a:cxnSpLocks/>
          </p:cNvCxnSpPr>
          <p:nvPr/>
        </p:nvCxnSpPr>
        <p:spPr>
          <a:xfrm>
            <a:off x="381600" y="6445604"/>
            <a:ext cx="8601074"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8E3D202-E0EA-466A-8C55-E2DE7686ED4D}"/>
              </a:ext>
            </a:extLst>
          </p:cNvPr>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4" name="Confidential">
            <a:extLst>
              <a:ext uri="{FF2B5EF4-FFF2-40B4-BE49-F238E27FC236}">
                <a16:creationId xmlns:a16="http://schemas.microsoft.com/office/drawing/2014/main" id="{14C29F18-0061-4AD0-8F17-1B44E4BAED6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D69DFB0D-DF47-4F51-8A1E-A3F04A199F53}"/>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pic>
        <p:nvPicPr>
          <p:cNvPr id="33" name="Aurora Logo">
            <a:extLst>
              <a:ext uri="{FF2B5EF4-FFF2-40B4-BE49-F238E27FC236}">
                <a16:creationId xmlns:a16="http://schemas.microsoft.com/office/drawing/2014/main" id="{0B030AA5-8163-4F27-9057-F3025760F02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303669" y="463173"/>
            <a:ext cx="1520032" cy="205004"/>
          </a:xfrm>
          <a:prstGeom prst="rect">
            <a:avLst/>
          </a:prstGeom>
        </p:spPr>
      </p:pic>
      <p:sp>
        <p:nvSpPr>
          <p:cNvPr id="34" name="Header Comments">
            <a:extLst>
              <a:ext uri="{FF2B5EF4-FFF2-40B4-BE49-F238E27FC236}">
                <a16:creationId xmlns:a16="http://schemas.microsoft.com/office/drawing/2014/main" id="{BA58D606-2C71-4E85-8328-99C37B4B4195}"/>
              </a:ext>
            </a:extLst>
          </p:cNvPr>
          <p:cNvSpPr>
            <a:spLocks noGrp="1"/>
          </p:cNvSpPr>
          <p:nvPr>
            <p:ph type="body" sz="quarter" idx="30" hasCustomPrompt="1"/>
          </p:nvPr>
        </p:nvSpPr>
        <p:spPr>
          <a:xfrm>
            <a:off x="9500714" y="1263129"/>
            <a:ext cx="2335686" cy="369332"/>
          </a:xfrm>
        </p:spPr>
        <p:txBody>
          <a:bodyPr>
            <a:spAutoFit/>
          </a:bodyPr>
          <a:lstStyle>
            <a:lvl1pPr marL="0" marR="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Comments</a:t>
            </a:r>
          </a:p>
          <a:p>
            <a:pPr lvl="0"/>
            <a:r>
              <a:rPr lang="en-GB"/>
              <a:t>(max. 2 lines)</a:t>
            </a:r>
          </a:p>
        </p:txBody>
      </p:sp>
      <p:sp>
        <p:nvSpPr>
          <p:cNvPr id="35" name="Text Comments">
            <a:extLst>
              <a:ext uri="{FF2B5EF4-FFF2-40B4-BE49-F238E27FC236}">
                <a16:creationId xmlns:a16="http://schemas.microsoft.com/office/drawing/2014/main" id="{FF2AB152-2969-46CD-B5D8-B3919809B323}"/>
              </a:ext>
            </a:extLst>
          </p:cNvPr>
          <p:cNvSpPr>
            <a:spLocks noGrp="1"/>
          </p:cNvSpPr>
          <p:nvPr>
            <p:ph type="body" sz="quarter" idx="28"/>
          </p:nvPr>
        </p:nvSpPr>
        <p:spPr>
          <a:xfrm>
            <a:off x="9500714" y="1712755"/>
            <a:ext cx="2335686"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C5C9D1F5-9907-4B3A-A8FD-DB0AF4B0874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37" name="Text Placeholder 5">
            <a:extLst>
              <a:ext uri="{FF2B5EF4-FFF2-40B4-BE49-F238E27FC236}">
                <a16:creationId xmlns:a16="http://schemas.microsoft.com/office/drawing/2014/main" id="{CC0D292B-B63E-4277-A339-858F1811E07D}"/>
              </a:ext>
            </a:extLst>
          </p:cNvPr>
          <p:cNvSpPr>
            <a:spLocks noGrp="1"/>
          </p:cNvSpPr>
          <p:nvPr>
            <p:ph type="body" sz="quarter" idx="32" hasCustomPrompt="1"/>
          </p:nvPr>
        </p:nvSpPr>
        <p:spPr>
          <a:xfrm>
            <a:off x="381600" y="6474841"/>
            <a:ext cx="8601074"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39" name="Supertitle">
            <a:extLst>
              <a:ext uri="{FF2B5EF4-FFF2-40B4-BE49-F238E27FC236}">
                <a16:creationId xmlns:a16="http://schemas.microsoft.com/office/drawing/2014/main" id="{23980E38-F915-4158-AF74-34AE9E15DEA1}"/>
              </a:ext>
            </a:extLst>
          </p:cNvPr>
          <p:cNvSpPr>
            <a:spLocks noGrp="1"/>
          </p:cNvSpPr>
          <p:nvPr>
            <p:ph type="body" sz="quarter" idx="31"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23" name="Header 1">
            <a:extLst>
              <a:ext uri="{FF2B5EF4-FFF2-40B4-BE49-F238E27FC236}">
                <a16:creationId xmlns:a16="http://schemas.microsoft.com/office/drawing/2014/main" id="{31D99F63-9B34-42E2-815E-E9FCF2F2AA13}"/>
              </a:ext>
            </a:extLst>
          </p:cNvPr>
          <p:cNvSpPr>
            <a:spLocks noGrp="1"/>
          </p:cNvSpPr>
          <p:nvPr>
            <p:ph type="body" sz="quarter" idx="41" hasCustomPrompt="1"/>
          </p:nvPr>
        </p:nvSpPr>
        <p:spPr>
          <a:xfrm>
            <a:off x="377525"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47" name="Text Placeholder 4">
            <a:extLst>
              <a:ext uri="{FF2B5EF4-FFF2-40B4-BE49-F238E27FC236}">
                <a16:creationId xmlns:a16="http://schemas.microsoft.com/office/drawing/2014/main" id="{3AEDFCF7-D380-4799-A922-137FF625D814}"/>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56" name="Text Placeholder 4">
            <a:extLst>
              <a:ext uri="{FF2B5EF4-FFF2-40B4-BE49-F238E27FC236}">
                <a16:creationId xmlns:a16="http://schemas.microsoft.com/office/drawing/2014/main" id="{1163F6F5-9703-4889-AF90-8C43A31987DD}"/>
              </a:ext>
            </a:extLst>
          </p:cNvPr>
          <p:cNvSpPr>
            <a:spLocks noGrp="1"/>
          </p:cNvSpPr>
          <p:nvPr>
            <p:ph type="body" sz="quarter" idx="54"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60" name="Header 1">
            <a:extLst>
              <a:ext uri="{FF2B5EF4-FFF2-40B4-BE49-F238E27FC236}">
                <a16:creationId xmlns:a16="http://schemas.microsoft.com/office/drawing/2014/main" id="{855315BF-E1B0-4A8B-93FD-5C9C28F33EEE}"/>
              </a:ext>
            </a:extLst>
          </p:cNvPr>
          <p:cNvSpPr>
            <a:spLocks noGrp="1"/>
          </p:cNvSpPr>
          <p:nvPr>
            <p:ph type="body" sz="quarter" idx="56" hasCustomPrompt="1"/>
          </p:nvPr>
        </p:nvSpPr>
        <p:spPr>
          <a:xfrm>
            <a:off x="5094070" y="1785266"/>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62" name="Header 1">
            <a:extLst>
              <a:ext uri="{FF2B5EF4-FFF2-40B4-BE49-F238E27FC236}">
                <a16:creationId xmlns:a16="http://schemas.microsoft.com/office/drawing/2014/main" id="{C9B227B5-E411-4287-9246-2E5D5ABC7373}"/>
              </a:ext>
            </a:extLst>
          </p:cNvPr>
          <p:cNvSpPr>
            <a:spLocks noGrp="1"/>
          </p:cNvSpPr>
          <p:nvPr>
            <p:ph type="body" sz="quarter" idx="57" hasCustomPrompt="1"/>
          </p:nvPr>
        </p:nvSpPr>
        <p:spPr>
          <a:xfrm>
            <a:off x="374052"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64" name="Header 1">
            <a:extLst>
              <a:ext uri="{FF2B5EF4-FFF2-40B4-BE49-F238E27FC236}">
                <a16:creationId xmlns:a16="http://schemas.microsoft.com/office/drawing/2014/main" id="{03C296AC-8AE5-4A5D-8B6D-31C3D325DB72}"/>
              </a:ext>
            </a:extLst>
          </p:cNvPr>
          <p:cNvSpPr>
            <a:spLocks noGrp="1"/>
          </p:cNvSpPr>
          <p:nvPr>
            <p:ph type="body" sz="quarter" idx="58" hasCustomPrompt="1"/>
          </p:nvPr>
        </p:nvSpPr>
        <p:spPr>
          <a:xfrm>
            <a:off x="5094070" y="3937670"/>
            <a:ext cx="38880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13782082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 regions - no comm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7096192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95920484-AD23-4E97-B38B-67589D9FA016}"/>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Bottom line">
            <a:extLst>
              <a:ext uri="{FF2B5EF4-FFF2-40B4-BE49-F238E27FC236}">
                <a16:creationId xmlns:a16="http://schemas.microsoft.com/office/drawing/2014/main" id="{1735D76D-005D-417E-844E-0BFD79BA2C7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Confidential">
            <a:extLst>
              <a:ext uri="{FF2B5EF4-FFF2-40B4-BE49-F238E27FC236}">
                <a16:creationId xmlns:a16="http://schemas.microsoft.com/office/drawing/2014/main" id="{5985080D-7476-405D-953D-F229B5D36CF4}"/>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40" name="Text Placeholder 2">
            <a:extLst>
              <a:ext uri="{FF2B5EF4-FFF2-40B4-BE49-F238E27FC236}">
                <a16:creationId xmlns:a16="http://schemas.microsoft.com/office/drawing/2014/main" id="{DE3E03D8-7858-4C44-9CD0-91F95C75BE11}"/>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4" name="Title 3">
            <a:extLst>
              <a:ext uri="{FF2B5EF4-FFF2-40B4-BE49-F238E27FC236}">
                <a16:creationId xmlns:a16="http://schemas.microsoft.com/office/drawing/2014/main" id="{A4AE471A-D344-4C97-831A-09E08BB10918}"/>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sp>
        <p:nvSpPr>
          <p:cNvPr id="43" name="Header 1">
            <a:extLst>
              <a:ext uri="{FF2B5EF4-FFF2-40B4-BE49-F238E27FC236}">
                <a16:creationId xmlns:a16="http://schemas.microsoft.com/office/drawing/2014/main" id="{A579CFF5-C5B3-474E-AF68-241D17CCE7C8}"/>
              </a:ext>
            </a:extLst>
          </p:cNvPr>
          <p:cNvSpPr>
            <a:spLocks noGrp="1"/>
          </p:cNvSpPr>
          <p:nvPr>
            <p:ph type="body" sz="quarter" idx="41" hasCustomPrompt="1"/>
          </p:nvPr>
        </p:nvSpPr>
        <p:spPr>
          <a:xfrm>
            <a:off x="3775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1</a:t>
            </a:r>
          </a:p>
        </p:txBody>
      </p:sp>
      <p:sp>
        <p:nvSpPr>
          <p:cNvPr id="37" name="Text Placeholder 5">
            <a:extLst>
              <a:ext uri="{FF2B5EF4-FFF2-40B4-BE49-F238E27FC236}">
                <a16:creationId xmlns:a16="http://schemas.microsoft.com/office/drawing/2014/main" id="{CADDEF87-26F6-4A8C-8D0F-27EC3695F06F}"/>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28" name="Supertitle">
            <a:extLst>
              <a:ext uri="{FF2B5EF4-FFF2-40B4-BE49-F238E27FC236}">
                <a16:creationId xmlns:a16="http://schemas.microsoft.com/office/drawing/2014/main" id="{CD5122C1-D049-4CBA-8381-0C6B2BE92B9E}"/>
              </a:ext>
            </a:extLst>
          </p:cNvPr>
          <p:cNvSpPr>
            <a:spLocks noGrp="1"/>
          </p:cNvSpPr>
          <p:nvPr>
            <p:ph type="body" sz="quarter" idx="50"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
        <p:nvSpPr>
          <p:cNvPr id="57" name="Text Placeholder 4">
            <a:extLst>
              <a:ext uri="{FF2B5EF4-FFF2-40B4-BE49-F238E27FC236}">
                <a16:creationId xmlns:a16="http://schemas.microsoft.com/office/drawing/2014/main" id="{E106BF0B-FA51-492C-9864-4E75F8CA876E}"/>
              </a:ext>
            </a:extLst>
          </p:cNvPr>
          <p:cNvSpPr>
            <a:spLocks noGrp="1"/>
          </p:cNvSpPr>
          <p:nvPr>
            <p:ph type="body" sz="quarter" idx="31" hasCustomPrompt="1"/>
          </p:nvPr>
        </p:nvSpPr>
        <p:spPr>
          <a:xfrm>
            <a:off x="381599" y="1263129"/>
            <a:ext cx="11428800" cy="184666"/>
          </a:xfrm>
        </p:spPr>
        <p:txBody>
          <a:bodyPr vert="horz" lIns="0" tIns="0" rIns="0" bIns="0" rtlCol="0">
            <a:spAutoFit/>
          </a:bodyPr>
          <a:lstStyle>
            <a:lvl1pPr>
              <a:defRPr lang="en-GB" sz="1200" b="1"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p:txBody>
      </p:sp>
      <p:sp>
        <p:nvSpPr>
          <p:cNvPr id="58" name="Text Placeholder 4">
            <a:extLst>
              <a:ext uri="{FF2B5EF4-FFF2-40B4-BE49-F238E27FC236}">
                <a16:creationId xmlns:a16="http://schemas.microsoft.com/office/drawing/2014/main" id="{FB9C1B2F-60BB-41B1-82E1-CEC967EB46F3}"/>
              </a:ext>
            </a:extLst>
          </p:cNvPr>
          <p:cNvSpPr>
            <a:spLocks noGrp="1"/>
          </p:cNvSpPr>
          <p:nvPr>
            <p:ph type="body" sz="quarter" idx="53" hasCustomPrompt="1"/>
          </p:nvPr>
        </p:nvSpPr>
        <p:spPr>
          <a:xfrm>
            <a:off x="374054" y="1486557"/>
            <a:ext cx="11428800" cy="184666"/>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Units</a:t>
            </a:r>
          </a:p>
        </p:txBody>
      </p:sp>
      <p:sp>
        <p:nvSpPr>
          <p:cNvPr id="30" name="Header 1">
            <a:extLst>
              <a:ext uri="{FF2B5EF4-FFF2-40B4-BE49-F238E27FC236}">
                <a16:creationId xmlns:a16="http://schemas.microsoft.com/office/drawing/2014/main" id="{46E0C9A3-F0A4-4B11-B190-BE85518AE9EE}"/>
              </a:ext>
            </a:extLst>
          </p:cNvPr>
          <p:cNvSpPr>
            <a:spLocks noGrp="1"/>
          </p:cNvSpPr>
          <p:nvPr>
            <p:ph type="body" sz="quarter" idx="55" hasCustomPrompt="1"/>
          </p:nvPr>
        </p:nvSpPr>
        <p:spPr>
          <a:xfrm>
            <a:off x="6325325" y="1785266"/>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2</a:t>
            </a:r>
          </a:p>
        </p:txBody>
      </p:sp>
      <p:sp>
        <p:nvSpPr>
          <p:cNvPr id="32" name="Header 1">
            <a:extLst>
              <a:ext uri="{FF2B5EF4-FFF2-40B4-BE49-F238E27FC236}">
                <a16:creationId xmlns:a16="http://schemas.microsoft.com/office/drawing/2014/main" id="{C4F220CD-4FA8-42B2-BC6A-7E113A1E87F4}"/>
              </a:ext>
            </a:extLst>
          </p:cNvPr>
          <p:cNvSpPr>
            <a:spLocks noGrp="1"/>
          </p:cNvSpPr>
          <p:nvPr>
            <p:ph type="body" sz="quarter" idx="56" hasCustomPrompt="1"/>
          </p:nvPr>
        </p:nvSpPr>
        <p:spPr>
          <a:xfrm>
            <a:off x="380996"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3</a:t>
            </a:r>
          </a:p>
        </p:txBody>
      </p:sp>
      <p:sp>
        <p:nvSpPr>
          <p:cNvPr id="33" name="Header 1">
            <a:extLst>
              <a:ext uri="{FF2B5EF4-FFF2-40B4-BE49-F238E27FC236}">
                <a16:creationId xmlns:a16="http://schemas.microsoft.com/office/drawing/2014/main" id="{9D9FE029-2E2C-4CA8-864E-5F92CB211DAF}"/>
              </a:ext>
            </a:extLst>
          </p:cNvPr>
          <p:cNvSpPr>
            <a:spLocks noGrp="1"/>
          </p:cNvSpPr>
          <p:nvPr>
            <p:ph type="body" sz="quarter" idx="57" hasCustomPrompt="1"/>
          </p:nvPr>
        </p:nvSpPr>
        <p:spPr>
          <a:xfrm>
            <a:off x="6325325" y="4046879"/>
            <a:ext cx="5493600" cy="188458"/>
          </a:xfrm>
          <a:solidFill>
            <a:schemeClr val="bg2"/>
          </a:solidFill>
        </p:spPr>
        <p:txBody>
          <a:bodyPr lIns="180000">
            <a:noAutofit/>
          </a:bodyPr>
          <a:lstStyle>
            <a:lvl1pPr marL="0" marR="0" indent="0" algn="ctr" defTabSz="685783" rtl="0" eaLnBrk="1" fontAlgn="auto" latinLnBrk="0" hangingPunct="1">
              <a:lnSpc>
                <a:spcPct val="100000"/>
              </a:lnSpc>
              <a:spcBef>
                <a:spcPts val="0"/>
              </a:spcBef>
              <a:spcAft>
                <a:spcPts val="0"/>
              </a:spcAft>
              <a:buClrTx/>
              <a:buSzTx/>
              <a:buFont typeface="Wingdings" panose="05000000000000000000" pitchFamily="2" charset="2"/>
              <a:buNone/>
              <a:tabLst/>
              <a:defRPr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Header box 4</a:t>
            </a:r>
          </a:p>
        </p:txBody>
      </p:sp>
    </p:spTree>
    <p:extLst>
      <p:ext uri="{BB962C8B-B14F-4D97-AF65-F5344CB8AC3E}">
        <p14:creationId xmlns:p14="http://schemas.microsoft.com/office/powerpoint/2010/main" val="304856736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2841947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EBB12DAB-248B-4CC5-B158-9C14008A4AA4}"/>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63d2e65d-6c78-4ff1-a99a-dd29d915a147">
            <a:extLst>
              <a:ext uri="{FF2B5EF4-FFF2-40B4-BE49-F238E27FC236}">
                <a16:creationId xmlns:a16="http://schemas.microsoft.com/office/drawing/2014/main" id="{850A5AD8-A7CC-46D7-B07D-B23066194F7A}"/>
              </a:ext>
            </a:extLst>
          </p:cNvPr>
          <p:cNvSpPr/>
          <p:nvPr/>
        </p:nvSpPr>
        <p:spPr>
          <a:xfrm flipV="1">
            <a:off x="1" y="5510470"/>
            <a:ext cx="12192000" cy="644816"/>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8" name="Freeform: Shape 17">
            <a:extLst>
              <a:ext uri="{FF2B5EF4-FFF2-40B4-BE49-F238E27FC236}">
                <a16:creationId xmlns:a16="http://schemas.microsoft.com/office/drawing/2014/main" id="{E999386E-A4BE-41B8-B323-366658A98FA7}"/>
              </a:ext>
            </a:extLst>
          </p:cNvPr>
          <p:cNvSpPr/>
          <p:nvPr/>
        </p:nvSpPr>
        <p:spPr>
          <a:xfrm>
            <a:off x="-3028" y="5509760"/>
            <a:ext cx="273478" cy="646241"/>
          </a:xfrm>
          <a:custGeom>
            <a:avLst/>
            <a:gdLst>
              <a:gd name="connsiteX0" fmla="*/ 0 w 273478"/>
              <a:gd name="connsiteY0" fmla="*/ 0 h 646241"/>
              <a:gd name="connsiteX1" fmla="*/ 11034 w 273478"/>
              <a:gd name="connsiteY1" fmla="*/ 1112 h 646241"/>
              <a:gd name="connsiteX2" fmla="*/ 273478 w 273478"/>
              <a:gd name="connsiteY2" fmla="*/ 323120 h 646241"/>
              <a:gd name="connsiteX3" fmla="*/ 11034 w 273478"/>
              <a:gd name="connsiteY3" fmla="*/ 645129 h 646241"/>
              <a:gd name="connsiteX4" fmla="*/ 0 w 273478"/>
              <a:gd name="connsiteY4" fmla="*/ 646241 h 646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478" h="646241">
                <a:moveTo>
                  <a:pt x="0" y="0"/>
                </a:moveTo>
                <a:lnTo>
                  <a:pt x="11034" y="1112"/>
                </a:lnTo>
                <a:cubicBezTo>
                  <a:pt x="160810" y="31761"/>
                  <a:pt x="273478" y="164283"/>
                  <a:pt x="273478" y="323120"/>
                </a:cubicBezTo>
                <a:cubicBezTo>
                  <a:pt x="273478" y="481957"/>
                  <a:pt x="160810" y="614480"/>
                  <a:pt x="11034" y="645129"/>
                </a:cubicBezTo>
                <a:lnTo>
                  <a:pt x="0" y="646241"/>
                </a:ln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wrap="square" tIns="90000" bIns="90000" rtlCol="0" anchor="ctr" anchorCtr="0">
            <a:noAutofit/>
          </a:bodyPr>
          <a:lstStyle/>
          <a:p>
            <a:pPr marL="285750" indent="-285750" algn="l">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5" name="Text Placeholder 4">
            <a:extLst>
              <a:ext uri="{FF2B5EF4-FFF2-40B4-BE49-F238E27FC236}">
                <a16:creationId xmlns:a16="http://schemas.microsoft.com/office/drawing/2014/main" id="{9E0CB1CA-2673-4B31-A700-221496DAC274}"/>
              </a:ext>
            </a:extLst>
          </p:cNvPr>
          <p:cNvSpPr>
            <a:spLocks noGrp="1"/>
          </p:cNvSpPr>
          <p:nvPr>
            <p:ph type="body" sz="quarter" idx="27"/>
          </p:nvPr>
        </p:nvSpPr>
        <p:spPr>
          <a:xfrm>
            <a:off x="381000" y="1710172"/>
            <a:ext cx="11428800" cy="854080"/>
          </a:xfrm>
        </p:spPr>
        <p:txBody>
          <a:bodyPr>
            <a:spAutoFit/>
          </a:bodyPr>
          <a:lstStyle>
            <a:lvl1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3pPr>
            <a:lvl4pPr>
              <a:defRPr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4">
            <a:extLst>
              <a:ext uri="{FF2B5EF4-FFF2-40B4-BE49-F238E27FC236}">
                <a16:creationId xmlns:a16="http://schemas.microsoft.com/office/drawing/2014/main" id="{E6001AB0-D6CA-4DE1-B60C-B634BCB97865}"/>
              </a:ext>
            </a:extLst>
          </p:cNvPr>
          <p:cNvSpPr>
            <a:spLocks noGrp="1"/>
          </p:cNvSpPr>
          <p:nvPr>
            <p:ph type="body" sz="quarter" idx="31" hasCustomPrompt="1"/>
          </p:nvPr>
        </p:nvSpPr>
        <p:spPr>
          <a:xfrm>
            <a:off x="380999" y="1263129"/>
            <a:ext cx="11428800" cy="369332"/>
          </a:xfrm>
        </p:spPr>
        <p:txBody>
          <a:bodyPr vert="horz" lIns="0" tIns="0" rIns="0" bIns="0" rtlCol="0">
            <a:spAutoFit/>
          </a:bodyPr>
          <a:lstStyle>
            <a:lvl1pPr>
              <a:defRPr lang="en-GB" sz="1200" b="0" dirty="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spcBef>
                <a:spcPts val="0"/>
              </a:spcBef>
            </a:pPr>
            <a:r>
              <a:rPr lang="en-GB"/>
              <a:t>Subtitle Grey 12 Point </a:t>
            </a:r>
          </a:p>
          <a:p>
            <a:pPr lvl="0">
              <a:spcBef>
                <a:spcPts val="0"/>
              </a:spcBef>
            </a:pPr>
            <a:r>
              <a:rPr lang="en-GB"/>
              <a:t>(max. 2 lines)</a:t>
            </a:r>
          </a:p>
        </p:txBody>
      </p:sp>
      <p:sp>
        <p:nvSpPr>
          <p:cNvPr id="27" name="Text Placeholder 4">
            <a:extLst>
              <a:ext uri="{FF2B5EF4-FFF2-40B4-BE49-F238E27FC236}">
                <a16:creationId xmlns:a16="http://schemas.microsoft.com/office/drawing/2014/main" id="{E4842526-521A-4171-BA27-E5BAD58192F9}"/>
              </a:ext>
            </a:extLst>
          </p:cNvPr>
          <p:cNvSpPr>
            <a:spLocks noGrp="1"/>
          </p:cNvSpPr>
          <p:nvPr>
            <p:ph type="body" sz="quarter" idx="36" hasCustomPrompt="1"/>
          </p:nvPr>
        </p:nvSpPr>
        <p:spPr>
          <a:xfrm>
            <a:off x="381000" y="5586657"/>
            <a:ext cx="11428800" cy="492443"/>
          </a:xfrm>
        </p:spPr>
        <p:txBody>
          <a:bodyPr anchor="ctr" anchorCtr="0">
            <a:spAutoFit/>
          </a:bodyPr>
          <a:lstStyle>
            <a:lvl1pPr>
              <a:defRPr sz="1600">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600"/>
            </a:lvl2pPr>
            <a:lvl3pPr>
              <a:defRPr sz="1600"/>
            </a:lvl3pPr>
            <a:lvl4pPr>
              <a:defRPr sz="1600"/>
            </a:lvl4pPr>
          </a:lstStyle>
          <a:p>
            <a:pPr lvl="0"/>
            <a:r>
              <a:rPr lang="en-GB"/>
              <a:t>Conclusion: Lorem ipsum dolor sit amet, consectetuer adipiscing elit. Maecenas porttitor congue massa. Fusce posuere, magna sed pulvinar ultricies, purus lectus malesuada libero, sit amet commodo magna eros quis </a:t>
            </a:r>
            <a:r>
              <a:rPr lang="en-GB" err="1"/>
              <a:t>urna</a:t>
            </a:r>
            <a:r>
              <a:rPr lang="en-GB"/>
              <a:t>.</a:t>
            </a:r>
          </a:p>
        </p:txBody>
      </p:sp>
      <p:sp>
        <p:nvSpPr>
          <p:cNvPr id="28" name="Confidential">
            <a:extLst>
              <a:ext uri="{FF2B5EF4-FFF2-40B4-BE49-F238E27FC236}">
                <a16:creationId xmlns:a16="http://schemas.microsoft.com/office/drawing/2014/main" id="{CA4BE958-1557-4F4B-AC25-7461D9D65387}"/>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32" name="Text Placeholder 2">
            <a:extLst>
              <a:ext uri="{FF2B5EF4-FFF2-40B4-BE49-F238E27FC236}">
                <a16:creationId xmlns:a16="http://schemas.microsoft.com/office/drawing/2014/main" id="{16315AB2-20C9-434E-A56D-259096E1615D}"/>
              </a:ext>
            </a:extLst>
          </p:cNvPr>
          <p:cNvSpPr>
            <a:spLocks noGrp="1"/>
          </p:cNvSpPr>
          <p:nvPr>
            <p:ph type="body" sz="quarter" idx="22" hasCustomPrompt="1"/>
          </p:nvPr>
        </p:nvSpPr>
        <p:spPr>
          <a:xfrm>
            <a:off x="381001" y="6715169"/>
            <a:ext cx="562655" cy="110800"/>
          </a:xfrm>
        </p:spPr>
        <p:txBody>
          <a:bodyPr wrap="none" lIns="0" tIns="0" rIns="0" bIns="0" anchor="b" anchorCtr="0">
            <a:spAutoFit/>
          </a:bodyPr>
          <a:lstStyle>
            <a:lvl1pPr marL="0" indent="0">
              <a:lnSpc>
                <a:spcPct val="90000"/>
              </a:lnSpc>
              <a:spcBef>
                <a:spcPts val="0"/>
              </a:spcBef>
              <a:buNone/>
              <a:defRPr sz="8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ources: xxx</a:t>
            </a:r>
          </a:p>
        </p:txBody>
      </p:sp>
      <p:sp>
        <p:nvSpPr>
          <p:cNvPr id="2" name="Title 1">
            <a:extLst>
              <a:ext uri="{FF2B5EF4-FFF2-40B4-BE49-F238E27FC236}">
                <a16:creationId xmlns:a16="http://schemas.microsoft.com/office/drawing/2014/main" id="{E06814CC-68D5-4C9C-BF65-8A91571A06F0}"/>
              </a:ext>
            </a:extLst>
          </p:cNvPr>
          <p:cNvSpPr>
            <a:spLocks noGrp="1"/>
          </p:cNvSpPr>
          <p:nvPr>
            <p:ph type="title"/>
          </p:nvPr>
        </p:nvSpPr>
        <p:spPr/>
        <p:txBody>
          <a:bodyPr/>
          <a:lstStyle>
            <a:lvl1pPr>
              <a:defRPr>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US"/>
              <a:t>Click to edit Master title style</a:t>
            </a:r>
            <a:endParaRPr lang="en-GB"/>
          </a:p>
        </p:txBody>
      </p:sp>
      <p:cxnSp>
        <p:nvCxnSpPr>
          <p:cNvPr id="14" name="Bottom line">
            <a:extLst>
              <a:ext uri="{FF2B5EF4-FFF2-40B4-BE49-F238E27FC236}">
                <a16:creationId xmlns:a16="http://schemas.microsoft.com/office/drawing/2014/main" id="{BC64208B-5568-4DBF-ACA2-533DF10F10D8}"/>
              </a:ext>
            </a:extLst>
          </p:cNvPr>
          <p:cNvCxnSpPr>
            <a:cxnSpLocks/>
          </p:cNvCxnSpPr>
          <p:nvPr/>
        </p:nvCxnSpPr>
        <p:spPr>
          <a:xfrm>
            <a:off x="381600" y="6445604"/>
            <a:ext cx="114288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5EAA528-DB1A-4AE8-A9F4-1CD21CED50EA}"/>
              </a:ext>
            </a:extLst>
          </p:cNvPr>
          <p:cNvSpPr>
            <a:spLocks noGrp="1"/>
          </p:cNvSpPr>
          <p:nvPr>
            <p:ph type="body" sz="quarter" idx="32" hasCustomPrompt="1"/>
          </p:nvPr>
        </p:nvSpPr>
        <p:spPr>
          <a:xfrm>
            <a:off x="381600" y="6474841"/>
            <a:ext cx="11428800" cy="110800"/>
          </a:xfrm>
        </p:spPr>
        <p:txBody>
          <a:bodyPr>
            <a:spAutoFit/>
          </a:bodyPr>
          <a:lstStyle>
            <a:lvl1pPr>
              <a:lnSpc>
                <a:spcPct val="90000"/>
              </a:lnSpc>
              <a:spcBef>
                <a:spcPts val="0"/>
              </a:spcBef>
              <a:defRPr sz="8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lnSpc>
                <a:spcPct val="90000"/>
              </a:lnSpc>
              <a:spcBef>
                <a:spcPts val="0"/>
              </a:spcBef>
            </a:pPr>
            <a:r>
              <a:rPr lang="en-GB"/>
              <a:t>1) xxx; 2) xxx</a:t>
            </a:r>
          </a:p>
        </p:txBody>
      </p:sp>
      <p:sp>
        <p:nvSpPr>
          <p:cNvPr id="15" name="Supertitle">
            <a:extLst>
              <a:ext uri="{FF2B5EF4-FFF2-40B4-BE49-F238E27FC236}">
                <a16:creationId xmlns:a16="http://schemas.microsoft.com/office/drawing/2014/main" id="{4A325F33-0AA7-476D-BD9A-4344A6711E20}"/>
              </a:ext>
            </a:extLst>
          </p:cNvPr>
          <p:cNvSpPr>
            <a:spLocks noGrp="1"/>
          </p:cNvSpPr>
          <p:nvPr>
            <p:ph type="body" sz="quarter" idx="37" hasCustomPrompt="1"/>
          </p:nvPr>
        </p:nvSpPr>
        <p:spPr>
          <a:xfrm>
            <a:off x="381599" y="79401"/>
            <a:ext cx="3406382" cy="184666"/>
          </a:xfrm>
        </p:spPr>
        <p:txBody>
          <a:bodyPr wrap="none" anchor="t" anchorCtr="0"/>
          <a:lstStyle>
            <a:lvl1pPr marL="223838" indent="-223838">
              <a:spcBef>
                <a:spcPts val="0"/>
              </a:spcBef>
              <a:tabLst>
                <a:tab pos="452438" algn="l"/>
              </a:tabLst>
              <a:defRPr sz="12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sz="1000"/>
            </a:lvl2pPr>
            <a:lvl3pPr>
              <a:defRPr sz="1000"/>
            </a:lvl3pPr>
            <a:lvl4pPr>
              <a:defRPr sz="1000"/>
            </a:lvl4pPr>
            <a:lvl5pPr>
              <a:defRPr sz="1000"/>
            </a:lvl5pPr>
          </a:lstStyle>
          <a:p>
            <a:pPr lvl="0"/>
            <a:r>
              <a:rPr lang="en-GB" noProof="0"/>
              <a:t>Supertitle (add tap stops if using round navigators)</a:t>
            </a:r>
          </a:p>
        </p:txBody>
      </p:sp>
    </p:spTree>
    <p:extLst>
      <p:ext uri="{BB962C8B-B14F-4D97-AF65-F5344CB8AC3E}">
        <p14:creationId xmlns:p14="http://schemas.microsoft.com/office/powerpoint/2010/main" val="420550306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isclaimer &amp; Details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1533942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a:p>
            <a:pPr lvl="0"/>
            <a:endParaRPr lang="en-GB"/>
          </a:p>
        </p:txBody>
      </p:sp>
    </p:spTree>
    <p:extLst>
      <p:ext uri="{BB962C8B-B14F-4D97-AF65-F5344CB8AC3E}">
        <p14:creationId xmlns:p14="http://schemas.microsoft.com/office/powerpoint/2010/main" val="13764622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9507817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tx2"/>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6801862"/>
          </a:xfrm>
          <a:prstGeom prst="rect">
            <a:avLst/>
          </a:prstGeom>
          <a:noFill/>
        </p:spPr>
        <p:txBody>
          <a:bodyPr wrap="square" lIns="0" tIns="0" rIns="0" bIns="0" rtlCol="0">
            <a:spAutoFit/>
          </a:bodyPr>
          <a:lstStyle/>
          <a:p>
            <a:pPr algn="just">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wird Ihnen in der vorliegenden Form nur zur Information bereitgestellt und Aurora Energy Research Limited sowie die Tochtergesellschaften Aurora Energy Research GmbH und Aurora Energy Research Pty Ltd (zusammen,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Geschäftsführer, Mitarbeiter, Vertreter oder verbundene Unternehmen (zusammen nachfolgend als seine "Partner" bezeichnet), gibt hinsichtlich der Richtigkeit, Verlässlichkeit oder Vollständigkeit weder ausdrücklich noch stillschweigend eine Zusicherung oder Gewährleistung ab. Aurora und seine Partner übernehmen keine Verantwortung und keine Haftung für jedweden Schaden, der aus der Nutzung dieses Dokuments entsteht. Dieses Dokument darf für keinen Zweck herangezogen oder als Grundlage verwendet oder als Ersatz für Ihre eigenen Untersuchungen und fundierten Beurteilungen verwendet werden. Die in diesem Dokument enthaltenen Informationen spiegeln unsere Überzeugungen, Annahmen, Absichten und Erwartungen zum Zeitpunkt des Verfassens dieses Dokuments wider; Änderungen sind vorbehalten. Aurora übernimmt keine Verpflichtung zur Aktualisierung dieser Informationen und beabsichtigt keine solche Aktualisierung.</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 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enthält zukunftsgerichtete Aussagen und Informationen, die Auroras aktuelle Einschätzung hinsichtlich zukünftiger Ereignisse und finanzieller Ergebnisse widerspiegeln. Wörter wie "glauben", "erwarten", "planen", "können", "werden", "würden", "könnten", "sollten", "voraussehen", "schätzen", "prognostizieren", "beabsichtigen", oder "Prognose" bzw. Varianten dieser Wörter oder anderer ähnlicher Ausdrücke werden eingesetzt, um zukunftsgerichtete Aussagen und Informationen als solche zu kennzeichnen. Tatsächlich eintretende Ergebnisse können sich, da sie bekannten oder unbekannten Risiken und Unsicherheiten unterliegen, von den Erwartungen, die in diesen zukunftsgerichteten Aussagen formuliert oder impliziert sind, wesentlich abweichen. Zu bekannten Risiken und Unsicherheiten gehören unter anderem: vertragliche Risiken, die Bonität von Kunden, die Leistung von Lieferanten und die Verwaltung von Anlagen und Personal; Risiken im Zusammenhang mit finanziellen Faktoren wie der Volatilität von Wechselkursen, der Erhöhung von Zinssätzen, Beschränkungen in Bezug auf den Kapitalzugang sowie Schwankungen auf den globalen Finanzmärkten; mit inländischen und ausländischen staatlichen Vorschriften verbundene Risiken einschließlich Exportkontrollen und wirtschaftlichen Sanktionen und weitere Risiken wie z. B. Rechtsstreitigkeiten. Die oben genannte Liste ist nicht abschließend.</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und sein Inhalt (unter anderem der Text, die Abbildungen, Grafiken und Illustrationen) ist urheberrechtlich geschütztes Eigentum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Dokuments darf ohne vorherige schriftliche Genehmigung von Aurora kopiert, vervielfältigt, verteilt oder in irgendeiner Art und Weise kommerziell genutzt werden.</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bg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spTree>
    <p:extLst>
      <p:ext uri="{BB962C8B-B14F-4D97-AF65-F5344CB8AC3E}">
        <p14:creationId xmlns:p14="http://schemas.microsoft.com/office/powerpoint/2010/main" val="192318295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isclaimer &amp; Details_light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142524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6" name="43c3cef7-b209-4f1f-a261-318da2372fe8">
            <a:extLst>
              <a:ext uri="{FF2B5EF4-FFF2-40B4-BE49-F238E27FC236}">
                <a16:creationId xmlns:a16="http://schemas.microsoft.com/office/drawing/2014/main" id="{57400D9F-282B-4411-962D-7AD2AEEFC01C}"/>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5201424"/>
          </a:xfrm>
          <a:prstGeom prst="rect">
            <a:avLst/>
          </a:prstGeom>
          <a:noFill/>
        </p:spPr>
        <p:txBody>
          <a:bodyPr wrap="square" lIns="0" tIns="0" rIns="0" bIns="0" rtlCol="0">
            <a:spAutoFit/>
          </a:bodyPr>
          <a:lstStyle/>
          <a:p>
            <a:pPr algn="just">
              <a:lnSpc>
                <a:spcPct val="100000"/>
              </a:lnSpc>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2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30" name="e393ebc3-55b1-4ffd-a99f-f5012d6d099d">
            <a:extLst>
              <a:ext uri="{FF2B5EF4-FFF2-40B4-BE49-F238E27FC236}">
                <a16:creationId xmlns:a16="http://schemas.microsoft.com/office/drawing/2014/main" id="{170025E0-54A0-4A56-A1C9-1695DADA63FC}"/>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and </a:t>
            </a:r>
            <a:b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cation</a:t>
            </a:r>
          </a:p>
          <a:p>
            <a:pPr lvl="0"/>
            <a:endParaRPr lang="en-GB"/>
          </a:p>
        </p:txBody>
      </p:sp>
    </p:spTree>
    <p:extLst>
      <p:ext uri="{BB962C8B-B14F-4D97-AF65-F5344CB8AC3E}">
        <p14:creationId xmlns:p14="http://schemas.microsoft.com/office/powerpoint/2010/main" val="387247632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Disclaimer &amp; Details_GER">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27730866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43c3cef7-b209-4f1f-a261-318da2372fe8">
            <a:extLst>
              <a:ext uri="{FF2B5EF4-FFF2-40B4-BE49-F238E27FC236}">
                <a16:creationId xmlns:a16="http://schemas.microsoft.com/office/drawing/2014/main" id="{4B722E6D-9FA2-4CA8-9BB5-2AAECBD11AFF}"/>
              </a:ext>
            </a:extLst>
          </p:cNvPr>
          <p:cNvSpPr/>
          <p:nvPr/>
        </p:nvSpPr>
        <p:spPr>
          <a:xfrm>
            <a:off x="-6845" y="-3"/>
            <a:ext cx="3588245" cy="6858001"/>
          </a:xfrm>
          <a:prstGeom prst="rect">
            <a:avLst/>
          </a:prstGeom>
          <a:solidFill>
            <a:schemeClr val="bg1">
              <a:lumMod val="75000"/>
            </a:schemeClr>
          </a:solidFill>
          <a:ln>
            <a:noFill/>
          </a:ln>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285750" indent="-285750">
              <a:spcAft>
                <a:spcPts val="1000"/>
              </a:spcAft>
              <a:buFont typeface="Wingdings" panose="05000000000000000000" pitchFamily="2" charset="2"/>
              <a:buChar char="§"/>
            </a:pPr>
            <a:endParaRPr lang="en-GB" sz="14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4480" y="1178149"/>
            <a:ext cx="8000149" cy="6801862"/>
          </a:xfrm>
          <a:prstGeom prst="rect">
            <a:avLst/>
          </a:prstGeom>
          <a:noFill/>
        </p:spPr>
        <p:txBody>
          <a:bodyPr wrap="square" lIns="0" tIns="0" rIns="0" bIns="0" rtlCol="0">
            <a:spAutoFit/>
          </a:bodyPr>
          <a:lstStyle/>
          <a:p>
            <a:pPr algn="just">
              <a:lnSpc>
                <a:spcPct val="100000"/>
              </a:lnSpc>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wird Ihnen in der vorliegenden Form nur zur Information bereitgestellt und Aurora Energy Research Limited sowie die Tochtergesellschaften Aurora Energy Research GmbH und Aurora Energy Research Pty Ltd (zusammen, "</a:t>
            </a: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Geschäftsführer, Mitarbeiter, Vertreter oder verbundene Unternehmen (zusammen nachfolgend als seine "Partner" bezeichnet), gibt hinsichtlich der Richtigkeit, Verlässlichkeit oder Vollständigkeit weder ausdrücklich noch stillschweigend eine Zusicherung oder Gewährleistung ab. Aurora und seine Partner übernehmen keine Verantwortung und keine Haftung für jedweden Schaden, der aus der Nutzung dieses Dokuments entsteht. Dieses Dokument darf für keinen Zweck herangezogen oder als Grundlage verwendet oder als Ersatz für Ihre eigenen Untersuchungen und fundierten Beurteilungen verwendet werden. Die in diesem Dokument enthaltenen Informationen spiegeln unsere Überzeugungen, Annahmen, Absichten und Erwartungen zum Zeitpunkt des Verfassens dieses Dokuments wider; Änderungen sind vorbehalten. Aurora übernimmt keine Verpflichtung zur Aktualisierung dieser Informationen und beabsichtigt keine solche Aktualisierung.</a:t>
            </a:r>
            <a:endPar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 Aussagen</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enthält zukunftsgerichtete Aussagen und Informationen, die Auroras aktuelle Einschätzung hinsichtlich zukünftiger Ereignisse und finanzieller Ergebnisse widerspiegeln. Wörter wie "glauben", "erwarten", "planen", "können", "werden", "würden", "könnten", "sollten", "voraussehen", "schätzen", "prognostizieren", "beabsichtigen", oder "Prognose" bzw. Varianten dieser Wörter oder anderer ähnlicher Ausdrücke werden eingesetzt, um zukunftsgerichtete Aussagen und Informationen als solche zu kennzeichnen. Tatsächlich eintretende Ergebnisse können sich, da sie bekannten oder unbekannten Risiken und Unsicherheiten unterliegen, von den Erwartungen, die in diesen zukunftsgerichteten Aussagen formuliert oder impliziert sind, wesentlich abweichen. Zu bekannten Risiken und Unsicherheiten gehören unter anderem: vertragliche Risiken, die Bonität von Kunden, die Leistung von Lieferanten und die Verwaltung von Anlagen und Personal; Risiken im Zusammenhang mit finanziellen Faktoren wie der Volatilität von Wechselkursen, der Erhöhung von Zinssätzen, Beschränkungen in Bezug auf den Kapitalzugang sowie Schwankungen auf den globalen Finanzmärkten; mit inländischen und ausländischen staatlichen Vorschriften verbundene Risiken einschließlich Exportkontrollen und wirtschaftlichen Sanktionen und weitere Risiken wie z. B. Rechtsstreitigkeiten. Die oben genannte Liste ist nicht abschließend.</a:t>
            </a:r>
            <a:r>
              <a:rPr lang="en-GB" sz="11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t>
            </a:r>
          </a:p>
          <a:p>
            <a:pPr algn="just">
              <a:lnSpc>
                <a:spcPct val="100000"/>
              </a:lnSpc>
              <a:spcBef>
                <a:spcPts val="12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pPr>
            <a:r>
              <a:rPr lang="en-GB" sz="11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und sein Inhalt (unter anderem der Text, die Abbildungen, Grafiken und Illustrationen) ist urheberrechtlich geschütztes Eigentum von Aurora.</a:t>
            </a:r>
          </a:p>
          <a:p>
            <a:pPr algn="just">
              <a:lnSpc>
                <a:spcPct val="100000"/>
              </a:lnSpc>
            </a:pPr>
            <a:r>
              <a:rPr lang="en-GB" sz="11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Dokuments darf ohne vorherige schriftliche Genehmigung von Aurora kopiert, vervielfältigt, verteilt oder in irgendeiner Art und Weise kommerziell genutzt werden.</a:t>
            </a:r>
            <a:endParaRPr lang="en-GB" sz="11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1" name="10e1266e-6e10-41de-afd2-0a01c060bafe">
            <a:extLst>
              <a:ext uri="{FF2B5EF4-FFF2-40B4-BE49-F238E27FC236}">
                <a16:creationId xmlns:a16="http://schemas.microsoft.com/office/drawing/2014/main" id="{369A5478-40F0-4755-A950-C1CEAEEA234F}"/>
              </a:ext>
            </a:extLst>
          </p:cNvPr>
          <p:cNvSpPr txBox="1">
            <a:spLocks/>
          </p:cNvSpPr>
          <p:nvPr/>
        </p:nvSpPr>
        <p:spPr>
          <a:xfrm>
            <a:off x="381001" y="1156719"/>
            <a:ext cx="3164179" cy="677108"/>
          </a:xfrm>
          <a:prstGeom prst="rect">
            <a:avLst/>
          </a:prstGeom>
        </p:spPr>
        <p:txBody>
          <a:bodyPr vert="horz" wrap="square" lIns="0" tIns="0" rIns="0" bIns="0" rtlCol="0" anchor="t" anchorCtr="0">
            <a:spAutoFit/>
          </a:bodyPr>
          <a:lstStyle>
            <a:lvl1pPr algn="l" defTabSz="685783" rtl="0" eaLnBrk="1" latinLnBrk="0" hangingPunct="1">
              <a:lnSpc>
                <a:spcPct val="90000"/>
              </a:lnSpc>
              <a:spcBef>
                <a:spcPct val="0"/>
              </a:spcBef>
              <a:buNone/>
              <a:defRPr sz="2200" b="1" kern="1200">
                <a:solidFill>
                  <a:schemeClr val="tx1"/>
                </a:solidFill>
                <a:latin typeface="+mj-lt"/>
                <a:ea typeface="+mj-ea"/>
                <a:cs typeface="+mj-cs"/>
              </a:defRPr>
            </a:lvl1pPr>
          </a:lstStyle>
          <a:p>
            <a:pPr>
              <a:lnSpc>
                <a:spcPct val="100000"/>
              </a:lnSpc>
            </a:pPr>
            <a:r>
              <a:rPr lang="en-GB" b="0" spc="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etails und Haftungsausschluss</a:t>
            </a:r>
          </a:p>
        </p:txBody>
      </p:sp>
      <p:sp>
        <p:nvSpPr>
          <p:cNvPr id="8" name="Text Placeholder 7">
            <a:extLst>
              <a:ext uri="{FF2B5EF4-FFF2-40B4-BE49-F238E27FC236}">
                <a16:creationId xmlns:a16="http://schemas.microsoft.com/office/drawing/2014/main" id="{52EFD1F1-0275-455C-92E4-58A98AB77373}"/>
              </a:ext>
            </a:extLst>
          </p:cNvPr>
          <p:cNvSpPr>
            <a:spLocks noGrp="1"/>
          </p:cNvSpPr>
          <p:nvPr>
            <p:ph type="body" sz="quarter" idx="36" hasCustomPrompt="1"/>
          </p:nvPr>
        </p:nvSpPr>
        <p:spPr>
          <a:xfrm>
            <a:off x="381001" y="2193390"/>
            <a:ext cx="2971799" cy="4186175"/>
          </a:xfrm>
        </p:spPr>
        <p:txBody>
          <a:bodyPr>
            <a:noAutofit/>
          </a:bodyPr>
          <a:lstStyle>
            <a:lvl1pPr>
              <a:spcBef>
                <a:spcPts val="0"/>
              </a:spcBef>
              <a:defRPr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2pPr>
            <a:lvl3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3pPr>
            <a:lvl4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4pPr>
            <a:lvl5pPr>
              <a:defRPr>
                <a:solidFill>
                  <a:schemeClr val="bg1"/>
                </a:solidFill>
                <a:latin typeface="Lato Black" panose="020F0502020204030203" pitchFamily="34" charset="0"/>
                <a:ea typeface="Lato Black" panose="020F0502020204030203" pitchFamily="34" charset="0"/>
                <a:cs typeface="Lato Black" panose="020F0502020204030203" pitchFamily="34" charset="0"/>
              </a:defRPr>
            </a:lvl5pPr>
          </a:lstStyle>
          <a:p>
            <a:pPr lvl="0"/>
            <a:r>
              <a:rPr lang="en-GB"/>
              <a:t>Publikation</a:t>
            </a:r>
          </a:p>
          <a:p>
            <a:pPr lvl="0"/>
            <a:endParaRPr lang="en-GB"/>
          </a:p>
          <a:p>
            <a:pPr lvl="0"/>
            <a:endParaRPr lang="en-GB"/>
          </a:p>
        </p:txBody>
      </p:sp>
      <p:cxnSp>
        <p:nvCxnSpPr>
          <p:cNvPr id="10" name="e393ebc3-55b1-4ffd-a99f-f5012d6d099d">
            <a:extLst>
              <a:ext uri="{FF2B5EF4-FFF2-40B4-BE49-F238E27FC236}">
                <a16:creationId xmlns:a16="http://schemas.microsoft.com/office/drawing/2014/main" id="{4B7F0A9E-01B9-4FC2-9C7C-69924AD23DE6}"/>
              </a:ext>
            </a:extLst>
          </p:cNvPr>
          <p:cNvCxnSpPr>
            <a:cxnSpLocks/>
          </p:cNvCxnSpPr>
          <p:nvPr/>
        </p:nvCxnSpPr>
        <p:spPr>
          <a:xfrm>
            <a:off x="381001" y="1975910"/>
            <a:ext cx="609523" cy="0"/>
          </a:xfrm>
          <a:prstGeom prst="line">
            <a:avLst/>
          </a:prstGeom>
          <a:ln w="31750"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088438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isclaimer_EN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82602009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047262"/>
          </a:xfrm>
          <a:prstGeom prst="rect">
            <a:avLst/>
          </a:prstGeom>
          <a:noFill/>
        </p:spPr>
        <p:txBody>
          <a:bodyPr wrap="square" lIns="0" tIns="0" rIns="0" bIns="0" rtlCol="0">
            <a:spAutoFit/>
          </a:bodyPr>
          <a:lstStyle/>
          <a:p>
            <a:pPr algn="just">
              <a:lnSpc>
                <a:spcPct val="100000"/>
              </a:lnSpc>
              <a:spcBef>
                <a:spcPts val="6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General Disclaimer</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provided "as is" for your information only and no representation or warranty, express or implied, is given by Aurora Energy Research Limited and its subsidiaries Aurora Energy Research GmbH and Aurora Energy Research Pty Ltd (together,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b="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their directors, employees agents or affiliates (together, Aurora’s "</a:t>
            </a: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ssociates</a:t>
            </a: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s to its accuracy, reliability or completeness.  Aurora and its Associates assume no responsibility, and accept no liability for, any loss arising out of your use of this document.  This document is not to be relied upon for any purpose or used in substitution for your own independent investigations and sound judgment.  The information contained in this document reflects our beliefs, assumptions, intentions and expectations as of the date of this document and is subject to change. Aurora assumes no obligation, and does not intend, to update this information.</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Forward-looking statements</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contains forward-looking statements and information, which reflect Aurora’s current view with respect to future events and financial performance. When used in this document, the words "believes", "expects", "plans", "may", "will", "would", "could", "should", "anticipates", "estimates", "project", "intend" or "outlook" or other variations of these words or other similar expressions are intended to identify forward-looking statements and information. Actual results may differ materially from the expectations expressed or implied in the forward-looking statements as a result of known and unknown risks and uncertainties. Known risks and uncertainties include but are not limited to: risks associated with political events in Europe and elsewhere, contractual risks, creditworthiness of customers, performance of suppliers and management of plant and personnel; risk associated with financial factors such as volatility in exchange rates, increases in interest rates, restrictions on access to capital, and swings in global financial markets; risks associated with domestic and foreign government regulation, including export controls and economic sanctions; and other risks, including litigation. The foregoing list of important factors is not exhaustive. </a:t>
            </a:r>
          </a:p>
          <a:p>
            <a:pPr algn="just">
              <a:lnSpc>
                <a:spcPct val="100000"/>
              </a:lnSpc>
              <a:spcBef>
                <a:spcPts val="1800"/>
              </a:spcBef>
            </a:pPr>
            <a:r>
              <a:rPr lang="en-GB" sz="1200" b="1">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pyright</a:t>
            </a:r>
            <a:endPar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and its content (including, but not limited to, the text, images, graphics and illustrations) is the copyright material of Aurora, unless otherwise stated. </a:t>
            </a:r>
          </a:p>
          <a:p>
            <a:pPr algn="just">
              <a:lnSpc>
                <a:spcPct val="100000"/>
              </a:lnSpc>
              <a:spcBef>
                <a:spcPts val="0"/>
              </a:spcBef>
            </a:pPr>
            <a:r>
              <a:rPr lang="en-GB" sz="1200" b="1">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This document is confidential and it may not be copied, reproduced, distributed or in any way used for commercial purposes without the prior written consent of Aurora.</a:t>
            </a:r>
          </a:p>
        </p:txBody>
      </p:sp>
      <p:cxnSp>
        <p:nvCxnSpPr>
          <p:cNvPr id="10" name="Straight Connector 9">
            <a:extLst>
              <a:ext uri="{FF2B5EF4-FFF2-40B4-BE49-F238E27FC236}">
                <a16:creationId xmlns:a16="http://schemas.microsoft.com/office/drawing/2014/main" id="{3399C645-B355-4BF8-A0FD-AB66337228D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3738d0d7-0a6d-4acc-b630-0f72ea09deea">
            <a:extLst>
              <a:ext uri="{FF2B5EF4-FFF2-40B4-BE49-F238E27FC236}">
                <a16:creationId xmlns:a16="http://schemas.microsoft.com/office/drawing/2014/main" id="{B10FD820-C0F0-420F-A3F7-1B0218FB2443}"/>
              </a:ext>
            </a:extLst>
          </p:cNvPr>
          <p:cNvSpPr txBox="1">
            <a:spLocks/>
          </p:cNvSpPr>
          <p:nvPr/>
        </p:nvSpPr>
        <p:spPr>
          <a:xfrm>
            <a:off x="381600" y="411856"/>
            <a:ext cx="8600471" cy="338554"/>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sclaimer and Copyright</a:t>
            </a:r>
          </a:p>
        </p:txBody>
      </p:sp>
    </p:spTree>
    <p:extLst>
      <p:ext uri="{BB962C8B-B14F-4D97-AF65-F5344CB8AC3E}">
        <p14:creationId xmlns:p14="http://schemas.microsoft.com/office/powerpoint/2010/main" val="288825434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isclaimer_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5941236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b5969651-e7bb-419a-9308-e092f0b82139">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sp>
        <p:nvSpPr>
          <p:cNvPr id="29" name="3738d0d7-0a6d-4acc-b630-0f72ea09deea">
            <a:extLst>
              <a:ext uri="{FF2B5EF4-FFF2-40B4-BE49-F238E27FC236}">
                <a16:creationId xmlns:a16="http://schemas.microsoft.com/office/drawing/2014/main" id="{8650298A-3EA5-43C5-98DC-69771AE12FD6}"/>
              </a:ext>
            </a:extLst>
          </p:cNvPr>
          <p:cNvSpPr txBox="1">
            <a:spLocks/>
          </p:cNvSpPr>
          <p:nvPr/>
        </p:nvSpPr>
        <p:spPr>
          <a:xfrm>
            <a:off x="381599" y="1268413"/>
            <a:ext cx="11428800" cy="4785926"/>
          </a:xfrm>
          <a:prstGeom prst="rect">
            <a:avLst/>
          </a:prstGeom>
          <a:noFill/>
        </p:spPr>
        <p:txBody>
          <a:bodyPr wrap="square" lIns="0" tIns="0" rIns="0" bIns="0" rtlCol="0">
            <a:spAutoFit/>
          </a:bodyPr>
          <a:lstStyle/>
          <a:p>
            <a:pPr algn="just">
              <a:lnSpc>
                <a:spcPct val="100000"/>
              </a:lnSpc>
              <a:spcBef>
                <a:spcPts val="6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llgemeiner Haftungsausschluss</a:t>
            </a:r>
          </a:p>
          <a:p>
            <a:pPr algn="just">
              <a:lnSpc>
                <a:spcPct val="100000"/>
              </a:lnSpc>
              <a:spcBef>
                <a:spcPts val="0"/>
              </a:spcBef>
            </a:pP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wird Ihnen in der vorliegenden Form nur zur Information bereitgestellt und Aurora Energy Research Limited sowie die Tochtergesellschaften Aurora Energy Research GmbH und Aurora Energy Research Pty Ltd (zusammen, "</a:t>
            </a:r>
            <a:r>
              <a:rPr lang="en-GB" sz="1200" b="1"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urora</a:t>
            </a:r>
            <a:r>
              <a:rPr lang="en-GB" sz="1200" noProof="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seine Geschäftsführer, Mitarbeiter, Vertreter oder verbundene Unternehmen (zusammen nachfolgend als seine "Partner" bezeichnet), gibt hinsichtlich der Richtigkeit, Verlässlichkeit oder Vollständigkeit weder ausdrücklich noch stillschweigend eine Zusicherung oder Gewährleistung ab. Aurora und seine Partner übernehmen keine Verantwortung und keine Haftung für jedweden Schaden, der aus der Nutzung dieses Dokuments entsteht. Dieses Dokument darf für keinen Zweck herangezogen oder als Grundlage verwendet oder als Ersatz für Ihre eigenen Untersuchungen und fundierten Beurteilungen verwendet werden. Die in diesem Dokument enthaltenen Informationen spiegeln unsere Überzeugungen, Annahmen, Absichten und Erwartungen zum Zeitpunkt des Verfassens dieses Dokuments wider; Änderungen sind vorbehalten. Aurora übernimmt keine Verpflichtung zur Aktualisierung dieser Informationen und beabsichtigt keine solche Aktualisierung.</a:t>
            </a:r>
          </a:p>
          <a:p>
            <a:pPr algn="just">
              <a:lnSpc>
                <a:spcPct val="100000"/>
              </a:lnSpc>
              <a:spcBef>
                <a:spcPts val="18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Zukunftsgerichtete Aussagen</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enthält zukunftsgerichtete Aussagen und Informationen, die Auroras aktuelle Einschätzung hinsichtlich zukünftiger Ereignisse und finanzieller Ergebnisse widerspiegeln. Wörter wie "glauben", "erwarten", "planen", "können", "werden", "würden", "könnten", "sollten", "voraussehen", "schätzen", "prognostizieren", "beabsichtigen", oder "Prognose" bzw. Varianten dieser Wörter oder anderer ähnlicher Ausdrücke werden eingesetzt, um zukunftsgerichtete Aussagen und Informationen als solche zu kennzeichnen. Tatsächlich eintretende Ergebnisse können sich, da sie bekannten oder unbekannten Risiken und Unsicherheiten unterliegen, von den Erwartungen, die in diesen zukunftsgerichteten Aussagen formuliert oder impliziert sind, wesentlich abweichen. Zu bekannten Risiken und Unsicherheiten gehören unter anderem: vertragliche Risiken, die Bonität von Kunden, die Leistung von Lieferanten und die Verwaltung von Anlagen und Personal; Risiken im Zusammenhang mit finanziellen Faktoren wie der Volatilität von Wechselkursen, der Erhöhung von Zinssätzen, Beschränkungen in Bezug auf den Kapitalzugang sowie Schwankungen auf den globalen Finanzmärkten; mit inländischen und ausländischen staatlichen Vorschriften verbundene Risiken einschließlich Exportkontrollen und wirtschaftlichen Sanktionen und weitere Risiken wie z. B. Rechtsstreitigkeiten. Die oben genannte Liste ist nicht abschließend. </a:t>
            </a:r>
          </a:p>
          <a:p>
            <a:pPr algn="just">
              <a:lnSpc>
                <a:spcPct val="100000"/>
              </a:lnSpc>
              <a:spcBef>
                <a:spcPts val="1800"/>
              </a:spcBef>
            </a:pP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Urheberrecht</a:t>
            </a: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a:p>
            <a:pPr algn="just">
              <a:lnSpc>
                <a:spcPct val="100000"/>
              </a:lnSpc>
              <a:spcBef>
                <a:spcPts val="0"/>
              </a:spcBef>
            </a:pPr>
            <a: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Dieses Dokument und sein Inhalt (unter anderem der Text, die Abbildungen, Grafiken und Illustrationen) ist urheberrechtlich geschütztes Eigentum von Aurora. </a:t>
            </a:r>
            <a:br>
              <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br>
            <a:r>
              <a:rPr lang="en-GB" sz="12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Kein Teil dieses Dokuments darf ohne vorherige schriftliche Genehmigung von Aurora kopiert, vervielfältigt, verteilt oder in irgendeiner Art und Weise kommerziell genutzt werden.</a:t>
            </a:r>
          </a:p>
        </p:txBody>
      </p:sp>
      <p:cxnSp>
        <p:nvCxnSpPr>
          <p:cNvPr id="7" name="Straight Connector 6">
            <a:extLst>
              <a:ext uri="{FF2B5EF4-FFF2-40B4-BE49-F238E27FC236}">
                <a16:creationId xmlns:a16="http://schemas.microsoft.com/office/drawing/2014/main" id="{6FBCA722-93A5-43EB-ACB0-0BA183C7B423}"/>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3738d0d7-0a6d-4acc-b630-0f72ea09deea">
            <a:extLst>
              <a:ext uri="{FF2B5EF4-FFF2-40B4-BE49-F238E27FC236}">
                <a16:creationId xmlns:a16="http://schemas.microsoft.com/office/drawing/2014/main" id="{F6026BE4-2B9D-4B6F-9DC8-C648690E0847}"/>
              </a:ext>
            </a:extLst>
          </p:cNvPr>
          <p:cNvSpPr txBox="1">
            <a:spLocks/>
          </p:cNvSpPr>
          <p:nvPr/>
        </p:nvSpPr>
        <p:spPr>
          <a:xfrm>
            <a:off x="3816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Haftungsausschluss und Urheberrecht</a:t>
            </a:r>
          </a:p>
        </p:txBody>
      </p:sp>
    </p:spTree>
    <p:extLst>
      <p:ext uri="{BB962C8B-B14F-4D97-AF65-F5344CB8AC3E}">
        <p14:creationId xmlns:p14="http://schemas.microsoft.com/office/powerpoint/2010/main" val="27392340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Image Agenda 1 Dark">
    <p:bg>
      <p:bgPr>
        <a:solidFill>
          <a:srgbClr val="012A2D"/>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7FE991-A877-4767-B1CA-512FB5B04D95}"/>
              </a:ext>
            </a:extLst>
          </p:cNvPr>
          <p:cNvSpPr>
            <a:spLocks noGrp="1"/>
          </p:cNvSpPr>
          <p:nvPr>
            <p:ph type="title" hasCustomPrompt="1"/>
          </p:nvPr>
        </p:nvSpPr>
        <p:spPr>
          <a:xfrm>
            <a:off x="511176" y="1600200"/>
            <a:ext cx="1441744" cy="1325563"/>
          </a:xfrm>
        </p:spPr>
        <p:txBody>
          <a:bodyPr/>
          <a:lstStyle>
            <a:lvl1pPr>
              <a:defRPr>
                <a:solidFill>
                  <a:schemeClr val="bg1"/>
                </a:solidFill>
              </a:defRPr>
            </a:lvl1pPr>
          </a:lstStyle>
          <a:p>
            <a:r>
              <a:rPr lang="en-GB"/>
              <a:t>Agenda</a:t>
            </a:r>
          </a:p>
        </p:txBody>
      </p:sp>
      <p:sp>
        <p:nvSpPr>
          <p:cNvPr id="75" name="Agenda Placeholder">
            <a:extLst>
              <a:ext uri="{FF2B5EF4-FFF2-40B4-BE49-F238E27FC236}">
                <a16:creationId xmlns:a16="http://schemas.microsoft.com/office/drawing/2014/main" id="{0F20E8DD-88E2-4435-A814-208BF59AA4AF}"/>
              </a:ext>
            </a:extLst>
          </p:cNvPr>
          <p:cNvSpPr>
            <a:spLocks noGrp="1"/>
          </p:cNvSpPr>
          <p:nvPr>
            <p:ph type="body" sz="quarter" idx="10" hasCustomPrompt="1"/>
          </p:nvPr>
        </p:nvSpPr>
        <p:spPr>
          <a:xfrm>
            <a:off x="8707438" y="1562876"/>
            <a:ext cx="2971799" cy="4314049"/>
          </a:xfrm>
        </p:spPr>
        <p:txBody>
          <a:bodyPr/>
          <a:lstStyle>
            <a:lvl1pPr marL="342900" indent="-342900">
              <a:lnSpc>
                <a:spcPct val="100000"/>
              </a:lnSpc>
              <a:spcBef>
                <a:spcPts val="0"/>
              </a:spcBef>
              <a:spcAft>
                <a:spcPts val="600"/>
              </a:spcAft>
              <a:buFont typeface="+mj-lt"/>
              <a:buAutoNum type="arabicPlain"/>
              <a:tabLst/>
              <a:defRPr sz="1600">
                <a:solidFill>
                  <a:schemeClr val="bg1"/>
                </a:solidFill>
                <a:latin typeface="+mn-lt"/>
              </a:defRPr>
            </a:lvl1pPr>
            <a:lvl2pPr marL="514350" indent="-171450">
              <a:buFont typeface="Calibre" panose="020B0503030202060203" pitchFamily="34" charset="0"/>
              <a:buChar char="–"/>
              <a:defRPr sz="1100">
                <a:solidFill>
                  <a:schemeClr val="bg1"/>
                </a:solidFill>
                <a:latin typeface="+mn-lt"/>
              </a:defRPr>
            </a:lvl2pPr>
            <a:lvl3pP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GB"/>
              <a:t>Agenda item</a:t>
            </a:r>
          </a:p>
          <a:p>
            <a:pPr lvl="1"/>
            <a:r>
              <a:rPr lang="en-GB"/>
              <a:t>Second level</a:t>
            </a:r>
          </a:p>
          <a:p>
            <a:pPr lvl="2"/>
            <a:r>
              <a:rPr lang="en-GB"/>
              <a:t>Third level</a:t>
            </a:r>
          </a:p>
          <a:p>
            <a:pPr lvl="3"/>
            <a:r>
              <a:rPr lang="en-GB"/>
              <a:t>Fourth level</a:t>
            </a:r>
          </a:p>
          <a:p>
            <a:pPr lvl="4"/>
            <a:r>
              <a:rPr lang="en-GB"/>
              <a:t>Fifth level</a:t>
            </a:r>
          </a:p>
        </p:txBody>
      </p:sp>
      <p:sp>
        <p:nvSpPr>
          <p:cNvPr id="6" name="Picture Placeholder 5">
            <a:extLst>
              <a:ext uri="{FF2B5EF4-FFF2-40B4-BE49-F238E27FC236}">
                <a16:creationId xmlns:a16="http://schemas.microsoft.com/office/drawing/2014/main" id="{627EE949-DAB3-4E3E-BACE-0854D8E22185}"/>
              </a:ext>
            </a:extLst>
          </p:cNvPr>
          <p:cNvSpPr>
            <a:spLocks noGrp="1"/>
          </p:cNvSpPr>
          <p:nvPr>
            <p:ph type="pic" sz="quarter" idx="11"/>
          </p:nvPr>
        </p:nvSpPr>
        <p:spPr>
          <a:xfrm>
            <a:off x="3584575" y="476250"/>
            <a:ext cx="4506913" cy="5905500"/>
          </a:xfrm>
        </p:spPr>
        <p:txBody>
          <a:bodyPr/>
          <a:lstStyle>
            <a:lvl1pPr>
              <a:defRPr>
                <a:solidFill>
                  <a:schemeClr val="bg1"/>
                </a:solidFill>
              </a:defRPr>
            </a:lvl1pPr>
          </a:lstStyle>
          <a:p>
            <a:r>
              <a:rPr lang="en-GB" dirty="0"/>
              <a:t>Click icon to add picture</a:t>
            </a:r>
          </a:p>
        </p:txBody>
      </p:sp>
      <p:sp>
        <p:nvSpPr>
          <p:cNvPr id="9" name="TextBox 8">
            <a:extLst>
              <a:ext uri="{FF2B5EF4-FFF2-40B4-BE49-F238E27FC236}">
                <a16:creationId xmlns:a16="http://schemas.microsoft.com/office/drawing/2014/main" id="{1053A7E3-6304-4250-B44B-DA8FB5E67F65}"/>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10" name="TextBox 9">
            <a:extLst>
              <a:ext uri="{FF2B5EF4-FFF2-40B4-BE49-F238E27FC236}">
                <a16:creationId xmlns:a16="http://schemas.microsoft.com/office/drawing/2014/main" id="{49D8847A-8E6A-4F35-B6DA-1BB0A465AAE3}"/>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Tree>
    <p:extLst>
      <p:ext uri="{BB962C8B-B14F-4D97-AF65-F5344CB8AC3E}">
        <p14:creationId xmlns:p14="http://schemas.microsoft.com/office/powerpoint/2010/main" val="962892815"/>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Last Page_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E57110-B039-481A-B7E2-2B76E2AB4EA2}"/>
              </a:ext>
            </a:extLst>
          </p:cNvPr>
          <p:cNvGraphicFramePr>
            <a:graphicFrameLocks noChangeAspect="1"/>
          </p:cNvGraphicFramePr>
          <p:nvPr>
            <p:custDataLst>
              <p:tags r:id="rId1"/>
            </p:custDataLst>
            <p:extLst>
              <p:ext uri="{D42A27DB-BD31-4B8C-83A1-F6EECF244321}">
                <p14:modId xmlns:p14="http://schemas.microsoft.com/office/powerpoint/2010/main" val="1617923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55E57110-B039-481A-B7E2-2B76E2AB4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126A2FE5-B585-4EEB-B516-1A9AC455B102}"/>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494888" y="2821504"/>
            <a:ext cx="5202223" cy="1214993"/>
          </a:xfrm>
          <a:prstGeom prst="rect">
            <a:avLst/>
          </a:prstGeom>
        </p:spPr>
      </p:pic>
      <p:sp>
        <p:nvSpPr>
          <p:cNvPr id="3" name="Rectangle 2">
            <a:extLst>
              <a:ext uri="{FF2B5EF4-FFF2-40B4-BE49-F238E27FC236}">
                <a16:creationId xmlns:a16="http://schemas.microsoft.com/office/drawing/2014/main" id="{3EB4029C-17E9-4AA0-BC76-5B1904183B6C}"/>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2" name="Rectangle 1">
            <a:extLst>
              <a:ext uri="{FF2B5EF4-FFF2-40B4-BE49-F238E27FC236}">
                <a16:creationId xmlns:a16="http://schemas.microsoft.com/office/drawing/2014/main" id="{E3A2AB1F-850B-492A-B682-98652722B1A4}"/>
              </a:ext>
            </a:extLst>
          </p:cNvPr>
          <p:cNvSpPr/>
          <p:nvPr/>
        </p:nvSpPr>
        <p:spPr>
          <a:xfrm>
            <a:off x="11544300" y="6616700"/>
            <a:ext cx="384348" cy="241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178243344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01550E-0551-47DC-B19E-B3684AE7028B}"/>
              </a:ext>
            </a:extLst>
          </p:cNvPr>
          <p:cNvGraphicFramePr>
            <a:graphicFrameLocks noChangeAspect="1"/>
          </p:cNvGraphicFramePr>
          <p:nvPr>
            <p:custDataLst>
              <p:tags r:id="rId1"/>
            </p:custDataLst>
            <p:extLst>
              <p:ext uri="{D42A27DB-BD31-4B8C-83A1-F6EECF244321}">
                <p14:modId xmlns:p14="http://schemas.microsoft.com/office/powerpoint/2010/main" val="4048961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501550E-0551-47DC-B19E-B3684AE70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378DD12-45E2-4111-950A-BF131F54ABF1}"/>
              </a:ext>
            </a:extLst>
          </p:cNvPr>
          <p:cNvSpPr/>
          <p:nvPr/>
        </p:nvSpPr>
        <p:spPr>
          <a:xfrm>
            <a:off x="10272464" y="404664"/>
            <a:ext cx="1656184" cy="360040"/>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Bef>
                <a:spcPts val="600"/>
              </a:spcBef>
            </a:pPr>
            <a:endParaRPr lang="en-GB" sz="120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Tree>
    <p:extLst>
      <p:ext uri="{BB962C8B-B14F-4D97-AF65-F5344CB8AC3E}">
        <p14:creationId xmlns:p14="http://schemas.microsoft.com/office/powerpoint/2010/main" val="48393133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cSld name="Title Slide Ful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Picture 5" descr="Close-up of a bunch of colorful lights&#10;&#10;Description automatically generated">
            <a:extLst>
              <a:ext uri="{FF2B5EF4-FFF2-40B4-BE49-F238E27FC236}">
                <a16:creationId xmlns:a16="http://schemas.microsoft.com/office/drawing/2014/main" id="{1C25A054-C48F-4C52-7A9A-846D42AE318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10172" y="0"/>
            <a:ext cx="10281828" cy="6858000"/>
          </a:xfrm>
          <a:prstGeom prst="rect">
            <a:avLst/>
          </a:prstGeom>
        </p:spPr>
      </p:pic>
      <p:sp>
        <p:nvSpPr>
          <p:cNvPr id="2" name="Title 1">
            <a:extLst>
              <a:ext uri="{FF2B5EF4-FFF2-40B4-BE49-F238E27FC236}">
                <a16:creationId xmlns:a16="http://schemas.microsoft.com/office/drawing/2014/main" id="{27E531C1-639E-4F49-BD67-5DBFB3C87BC7}"/>
              </a:ext>
            </a:extLst>
          </p:cNvPr>
          <p:cNvSpPr>
            <a:spLocks noGrp="1"/>
          </p:cNvSpPr>
          <p:nvPr>
            <p:ph type="ctrTitle"/>
          </p:nvPr>
        </p:nvSpPr>
        <p:spPr>
          <a:xfrm>
            <a:off x="1095931" y="1999047"/>
            <a:ext cx="4572000" cy="2263671"/>
          </a:xfrm>
        </p:spPr>
        <p:txBody>
          <a:bodyPr anchor="b" anchorCtr="0"/>
          <a:lstStyle>
            <a:lvl1pPr algn="l">
              <a:defRPr sz="3800">
                <a:solidFill>
                  <a:schemeClr val="bg1"/>
                </a:solidFill>
              </a:defRPr>
            </a:lvl1pPr>
            <a:lvl2pPr>
              <a:lnSpc>
                <a:spcPct val="90000"/>
              </a:lnSpc>
              <a:defRPr sz="3800" b="1">
                <a:solidFill>
                  <a:schemeClr val="bg1"/>
                </a:solidFill>
                <a:latin typeface="+mj-lt"/>
              </a:defRPr>
            </a:lvl2pPr>
            <a:lvl3pPr>
              <a:defRPr sz="2800">
                <a:solidFill>
                  <a:schemeClr val="bg1"/>
                </a:solidFill>
                <a:latin typeface="+mj-lt"/>
              </a:defRPr>
            </a:lvl3pPr>
          </a:lstStyle>
          <a:p>
            <a:pPr lvl="0"/>
            <a:r>
              <a:rPr lang="en-US"/>
              <a:t>Click to edit Master title style</a:t>
            </a:r>
            <a:endParaRPr lang="en-GB"/>
          </a:p>
        </p:txBody>
      </p:sp>
      <p:sp>
        <p:nvSpPr>
          <p:cNvPr id="31" name="Google Shape;144;p13">
            <a:extLst>
              <a:ext uri="{FF2B5EF4-FFF2-40B4-BE49-F238E27FC236}">
                <a16:creationId xmlns:a16="http://schemas.microsoft.com/office/drawing/2014/main" id="{96093233-0248-4259-AAC4-862B575CFA53}"/>
              </a:ext>
            </a:extLst>
          </p:cNvPr>
          <p:cNvSpPr/>
          <p:nvPr userDrawn="1"/>
        </p:nvSpPr>
        <p:spPr>
          <a:xfrm>
            <a:off x="1096224" y="4652000"/>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accent3"/>
              </a:solidFill>
            </a:endParaRPr>
          </a:p>
        </p:txBody>
      </p:sp>
      <p:sp>
        <p:nvSpPr>
          <p:cNvPr id="3" name="Subtitle 2">
            <a:extLst>
              <a:ext uri="{FF2B5EF4-FFF2-40B4-BE49-F238E27FC236}">
                <a16:creationId xmlns:a16="http://schemas.microsoft.com/office/drawing/2014/main" id="{0EFA1529-36E5-4F47-BCAD-8926FDFE0452}"/>
              </a:ext>
            </a:extLst>
          </p:cNvPr>
          <p:cNvSpPr>
            <a:spLocks noGrp="1"/>
          </p:cNvSpPr>
          <p:nvPr>
            <p:ph type="subTitle" idx="1"/>
          </p:nvPr>
        </p:nvSpPr>
        <p:spPr>
          <a:xfrm>
            <a:off x="1095931" y="4978800"/>
            <a:ext cx="4572000" cy="1220294"/>
          </a:xfrm>
        </p:spPr>
        <p:txBody>
          <a:bodyPr/>
          <a:lstStyle>
            <a:lvl1pPr marL="0" indent="0" algn="l">
              <a:spcAft>
                <a:spcPts val="1984"/>
              </a:spcAft>
              <a:buNone/>
              <a:defRPr sz="2000">
                <a:solidFill>
                  <a:schemeClr val="bg1"/>
                </a:solidFill>
              </a:defRPr>
            </a:lvl1pPr>
            <a:lvl2pPr marL="0" indent="0" algn="l">
              <a:spcAft>
                <a:spcPts val="0"/>
              </a:spcAft>
              <a:buNone/>
              <a:defRPr sz="1000" b="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a:p>
        </p:txBody>
      </p:sp>
      <p:sp>
        <p:nvSpPr>
          <p:cNvPr id="32" name="Disclaimer">
            <a:extLst>
              <a:ext uri="{FF2B5EF4-FFF2-40B4-BE49-F238E27FC236}">
                <a16:creationId xmlns:a16="http://schemas.microsoft.com/office/drawing/2014/main" id="{0B96C473-E7B3-2E42-ABB9-B2198B419008}"/>
              </a:ext>
            </a:extLst>
          </p:cNvPr>
          <p:cNvSpPr txBox="1"/>
          <p:nvPr userDrawn="1"/>
        </p:nvSpPr>
        <p:spPr>
          <a:xfrm>
            <a:off x="1102632" y="6336849"/>
            <a:ext cx="6733988" cy="441324"/>
          </a:xfrm>
          <a:prstGeom prst="rect">
            <a:avLst/>
          </a:prstGeom>
          <a:noFill/>
        </p:spPr>
        <p:txBody>
          <a:bodyPr wrap="square" lIns="0" tIns="0" rIns="0" bIns="0" rtlCol="0" anchor="ctr">
            <a:noAutofit/>
          </a:bodyPr>
          <a:lstStyle/>
          <a:p>
            <a:r>
              <a:rPr lang="en-GB" sz="1000">
                <a:solidFill>
                  <a:schemeClr val="bg1"/>
                </a:solidFill>
              </a:rPr>
              <a:t>This document is for professional clients, institutional/qualified investors and advisors only. </a:t>
            </a:r>
            <a:br>
              <a:rPr lang="en-GB" sz="1000">
                <a:solidFill>
                  <a:schemeClr val="bg1"/>
                </a:solidFill>
              </a:rPr>
            </a:br>
            <a:r>
              <a:rPr lang="en-GB" sz="1000">
                <a:solidFill>
                  <a:schemeClr val="bg1"/>
                </a:solidFill>
              </a:rPr>
              <a:t>It is not to be distributed to or relied on by retail clients.</a:t>
            </a:r>
          </a:p>
        </p:txBody>
      </p:sp>
      <p:grpSp>
        <p:nvGrpSpPr>
          <p:cNvPr id="9" name="Google Shape;21;p2">
            <a:extLst>
              <a:ext uri="{FF2B5EF4-FFF2-40B4-BE49-F238E27FC236}">
                <a16:creationId xmlns:a16="http://schemas.microsoft.com/office/drawing/2014/main" id="{262A35F6-4D81-4900-BAF4-682A90C0CC13}"/>
              </a:ext>
            </a:extLst>
          </p:cNvPr>
          <p:cNvGrpSpPr/>
          <p:nvPr userDrawn="1"/>
        </p:nvGrpSpPr>
        <p:grpSpPr>
          <a:xfrm>
            <a:off x="1095931" y="-14"/>
            <a:ext cx="958858" cy="1185166"/>
            <a:chOff x="4763500" y="1239650"/>
            <a:chExt cx="2618400" cy="3235799"/>
          </a:xfrm>
        </p:grpSpPr>
        <p:sp>
          <p:nvSpPr>
            <p:cNvPr id="10" name="Google Shape;22;p2">
              <a:extLst>
                <a:ext uri="{FF2B5EF4-FFF2-40B4-BE49-F238E27FC236}">
                  <a16:creationId xmlns:a16="http://schemas.microsoft.com/office/drawing/2014/main" id="{70B6CBA2-927C-4B98-A515-AB196C67E0C8}"/>
                </a:ext>
              </a:extLst>
            </p:cNvPr>
            <p:cNvSpPr/>
            <p:nvPr/>
          </p:nvSpPr>
          <p:spPr>
            <a:xfrm>
              <a:off x="4763500" y="1239650"/>
              <a:ext cx="2618400" cy="3235799"/>
            </a:xfrm>
            <a:custGeom>
              <a:avLst/>
              <a:gdLst/>
              <a:ahLst/>
              <a:cxnLst/>
              <a:rect l="l" t="t" r="r" b="b"/>
              <a:pathLst>
                <a:path w="120000" h="120000" extrusionOk="0">
                  <a:moveTo>
                    <a:pt x="0" y="0"/>
                  </a:moveTo>
                  <a:lnTo>
                    <a:pt x="0" y="120000"/>
                  </a:lnTo>
                  <a:lnTo>
                    <a:pt x="120000" y="120000"/>
                  </a:lnTo>
                  <a:lnTo>
                    <a:pt x="120000" y="0"/>
                  </a:lnTo>
                  <a:close/>
                </a:path>
              </a:pathLst>
            </a:custGeom>
            <a:solidFill>
              <a:srgbClr val="FFD9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nvGrpSpPr>
            <p:cNvPr id="11" name="Google Shape;23;p2">
              <a:extLst>
                <a:ext uri="{FF2B5EF4-FFF2-40B4-BE49-F238E27FC236}">
                  <a16:creationId xmlns:a16="http://schemas.microsoft.com/office/drawing/2014/main" id="{15BD1364-0E1E-41F6-9FE8-16EA2CA743DA}"/>
                </a:ext>
              </a:extLst>
            </p:cNvPr>
            <p:cNvGrpSpPr/>
            <p:nvPr userDrawn="1"/>
          </p:nvGrpSpPr>
          <p:grpSpPr>
            <a:xfrm>
              <a:off x="5111949" y="2036274"/>
              <a:ext cx="1921499" cy="1642450"/>
              <a:chOff x="5111957" y="2036275"/>
              <a:chExt cx="1921504" cy="1642450"/>
            </a:xfrm>
          </p:grpSpPr>
          <p:sp>
            <p:nvSpPr>
              <p:cNvPr id="12" name="Google Shape;24;p2">
                <a:extLst>
                  <a:ext uri="{FF2B5EF4-FFF2-40B4-BE49-F238E27FC236}">
                    <a16:creationId xmlns:a16="http://schemas.microsoft.com/office/drawing/2014/main" id="{F45E3B3C-76EA-4D93-8E74-0A4011447DEB}"/>
                  </a:ext>
                </a:extLst>
              </p:cNvPr>
              <p:cNvSpPr/>
              <p:nvPr/>
            </p:nvSpPr>
            <p:spPr>
              <a:xfrm>
                <a:off x="5111957" y="3461826"/>
                <a:ext cx="1921504" cy="216899"/>
              </a:xfrm>
              <a:custGeom>
                <a:avLst/>
                <a:gdLst/>
                <a:ahLst/>
                <a:cxnLst/>
                <a:rect l="l" t="t" r="r" b="b"/>
                <a:pathLst>
                  <a:path w="120000" h="120000" extrusionOk="0">
                    <a:moveTo>
                      <a:pt x="101489" y="17607"/>
                    </a:moveTo>
                    <a:lnTo>
                      <a:pt x="102301" y="18409"/>
                    </a:lnTo>
                    <a:lnTo>
                      <a:pt x="102933" y="20802"/>
                    </a:lnTo>
                    <a:lnTo>
                      <a:pt x="103205" y="22406"/>
                    </a:lnTo>
                    <a:lnTo>
                      <a:pt x="103475" y="24813"/>
                    </a:lnTo>
                    <a:lnTo>
                      <a:pt x="103565" y="27206"/>
                    </a:lnTo>
                    <a:lnTo>
                      <a:pt x="103747" y="29612"/>
                    </a:lnTo>
                    <a:lnTo>
                      <a:pt x="103836" y="36002"/>
                    </a:lnTo>
                    <a:lnTo>
                      <a:pt x="103747" y="40802"/>
                    </a:lnTo>
                    <a:lnTo>
                      <a:pt x="103565" y="45601"/>
                    </a:lnTo>
                    <a:lnTo>
                      <a:pt x="103294" y="48810"/>
                    </a:lnTo>
                    <a:lnTo>
                      <a:pt x="102933" y="52005"/>
                    </a:lnTo>
                    <a:lnTo>
                      <a:pt x="102482" y="54398"/>
                    </a:lnTo>
                    <a:lnTo>
                      <a:pt x="101850" y="56002"/>
                    </a:lnTo>
                    <a:lnTo>
                      <a:pt x="101127" y="56804"/>
                    </a:lnTo>
                    <a:lnTo>
                      <a:pt x="100315" y="57607"/>
                    </a:lnTo>
                    <a:lnTo>
                      <a:pt x="99231" y="56804"/>
                    </a:lnTo>
                    <a:lnTo>
                      <a:pt x="99231" y="17607"/>
                    </a:lnTo>
                    <a:close/>
                    <a:moveTo>
                      <a:pt x="85597" y="17607"/>
                    </a:moveTo>
                    <a:lnTo>
                      <a:pt x="86501" y="18409"/>
                    </a:lnTo>
                    <a:lnTo>
                      <a:pt x="87313" y="20013"/>
                    </a:lnTo>
                    <a:lnTo>
                      <a:pt x="88035" y="23208"/>
                    </a:lnTo>
                    <a:lnTo>
                      <a:pt x="88577" y="27206"/>
                    </a:lnTo>
                    <a:lnTo>
                      <a:pt x="89028" y="33609"/>
                    </a:lnTo>
                    <a:lnTo>
                      <a:pt x="89298" y="40802"/>
                    </a:lnTo>
                    <a:lnTo>
                      <a:pt x="89570" y="49598"/>
                    </a:lnTo>
                    <a:lnTo>
                      <a:pt x="89570" y="60000"/>
                    </a:lnTo>
                    <a:lnTo>
                      <a:pt x="89570" y="70401"/>
                    </a:lnTo>
                    <a:lnTo>
                      <a:pt x="89298" y="79197"/>
                    </a:lnTo>
                    <a:lnTo>
                      <a:pt x="89028" y="86403"/>
                    </a:lnTo>
                    <a:lnTo>
                      <a:pt x="88577" y="91991"/>
                    </a:lnTo>
                    <a:lnTo>
                      <a:pt x="88035" y="96791"/>
                    </a:lnTo>
                    <a:lnTo>
                      <a:pt x="87313" y="100000"/>
                    </a:lnTo>
                    <a:lnTo>
                      <a:pt x="86501" y="101590"/>
                    </a:lnTo>
                    <a:lnTo>
                      <a:pt x="85597" y="102392"/>
                    </a:lnTo>
                    <a:lnTo>
                      <a:pt x="84694" y="101590"/>
                    </a:lnTo>
                    <a:lnTo>
                      <a:pt x="83881" y="100000"/>
                    </a:lnTo>
                    <a:lnTo>
                      <a:pt x="83250" y="96791"/>
                    </a:lnTo>
                    <a:lnTo>
                      <a:pt x="82708" y="91991"/>
                    </a:lnTo>
                    <a:lnTo>
                      <a:pt x="82256" y="86403"/>
                    </a:lnTo>
                    <a:lnTo>
                      <a:pt x="81895" y="79197"/>
                    </a:lnTo>
                    <a:lnTo>
                      <a:pt x="81714" y="70401"/>
                    </a:lnTo>
                    <a:lnTo>
                      <a:pt x="81625" y="60000"/>
                    </a:lnTo>
                    <a:lnTo>
                      <a:pt x="81714" y="49598"/>
                    </a:lnTo>
                    <a:lnTo>
                      <a:pt x="81895" y="40802"/>
                    </a:lnTo>
                    <a:lnTo>
                      <a:pt x="82256" y="33609"/>
                    </a:lnTo>
                    <a:lnTo>
                      <a:pt x="82708" y="27206"/>
                    </a:lnTo>
                    <a:lnTo>
                      <a:pt x="83250" y="23208"/>
                    </a:lnTo>
                    <a:lnTo>
                      <a:pt x="83881" y="20013"/>
                    </a:lnTo>
                    <a:lnTo>
                      <a:pt x="84694" y="18409"/>
                    </a:lnTo>
                    <a:lnTo>
                      <a:pt x="85597" y="17607"/>
                    </a:lnTo>
                    <a:close/>
                    <a:moveTo>
                      <a:pt x="0" y="2406"/>
                    </a:moveTo>
                    <a:lnTo>
                      <a:pt x="0" y="6403"/>
                    </a:lnTo>
                    <a:lnTo>
                      <a:pt x="451" y="7206"/>
                    </a:lnTo>
                    <a:lnTo>
                      <a:pt x="902" y="9612"/>
                    </a:lnTo>
                    <a:lnTo>
                      <a:pt x="1174" y="12807"/>
                    </a:lnTo>
                    <a:lnTo>
                      <a:pt x="1264" y="14412"/>
                    </a:lnTo>
                    <a:lnTo>
                      <a:pt x="1355" y="16002"/>
                    </a:lnTo>
                    <a:lnTo>
                      <a:pt x="1355" y="115988"/>
                    </a:lnTo>
                    <a:lnTo>
                      <a:pt x="4694" y="115988"/>
                    </a:lnTo>
                    <a:lnTo>
                      <a:pt x="4694" y="2406"/>
                    </a:lnTo>
                    <a:close/>
                    <a:moveTo>
                      <a:pt x="7133" y="2406"/>
                    </a:moveTo>
                    <a:lnTo>
                      <a:pt x="7133" y="6403"/>
                    </a:lnTo>
                    <a:lnTo>
                      <a:pt x="7584" y="7206"/>
                    </a:lnTo>
                    <a:lnTo>
                      <a:pt x="7945" y="9612"/>
                    </a:lnTo>
                    <a:lnTo>
                      <a:pt x="8307" y="12807"/>
                    </a:lnTo>
                    <a:lnTo>
                      <a:pt x="8398" y="14412"/>
                    </a:lnTo>
                    <a:lnTo>
                      <a:pt x="8398" y="16002"/>
                    </a:lnTo>
                    <a:lnTo>
                      <a:pt x="8398" y="115988"/>
                    </a:lnTo>
                    <a:lnTo>
                      <a:pt x="10925" y="115988"/>
                    </a:lnTo>
                    <a:lnTo>
                      <a:pt x="10925" y="40802"/>
                    </a:lnTo>
                    <a:lnTo>
                      <a:pt x="17336" y="115988"/>
                    </a:lnTo>
                    <a:lnTo>
                      <a:pt x="21670" y="115988"/>
                    </a:lnTo>
                    <a:lnTo>
                      <a:pt x="21670" y="2406"/>
                    </a:lnTo>
                    <a:lnTo>
                      <a:pt x="19231" y="2406"/>
                    </a:lnTo>
                    <a:lnTo>
                      <a:pt x="19231" y="86403"/>
                    </a:lnTo>
                    <a:lnTo>
                      <a:pt x="12009" y="2406"/>
                    </a:lnTo>
                    <a:close/>
                    <a:moveTo>
                      <a:pt x="23837" y="2406"/>
                    </a:moveTo>
                    <a:lnTo>
                      <a:pt x="23837" y="6403"/>
                    </a:lnTo>
                    <a:lnTo>
                      <a:pt x="24288" y="8008"/>
                    </a:lnTo>
                    <a:lnTo>
                      <a:pt x="24740" y="9612"/>
                    </a:lnTo>
                    <a:lnTo>
                      <a:pt x="25011" y="12005"/>
                    </a:lnTo>
                    <a:lnTo>
                      <a:pt x="25281" y="15214"/>
                    </a:lnTo>
                    <a:lnTo>
                      <a:pt x="29706" y="115988"/>
                    </a:lnTo>
                    <a:lnTo>
                      <a:pt x="33317" y="115988"/>
                    </a:lnTo>
                    <a:lnTo>
                      <a:pt x="38644" y="2406"/>
                    </a:lnTo>
                    <a:lnTo>
                      <a:pt x="36117" y="2406"/>
                    </a:lnTo>
                    <a:lnTo>
                      <a:pt x="32234" y="85601"/>
                    </a:lnTo>
                    <a:lnTo>
                      <a:pt x="28532" y="2406"/>
                    </a:lnTo>
                    <a:close/>
                    <a:moveTo>
                      <a:pt x="40451" y="2406"/>
                    </a:moveTo>
                    <a:lnTo>
                      <a:pt x="40451" y="6403"/>
                    </a:lnTo>
                    <a:lnTo>
                      <a:pt x="40902" y="7206"/>
                    </a:lnTo>
                    <a:lnTo>
                      <a:pt x="41353" y="9612"/>
                    </a:lnTo>
                    <a:lnTo>
                      <a:pt x="41625" y="12005"/>
                    </a:lnTo>
                    <a:lnTo>
                      <a:pt x="41715" y="14412"/>
                    </a:lnTo>
                    <a:lnTo>
                      <a:pt x="41715" y="16002"/>
                    </a:lnTo>
                    <a:lnTo>
                      <a:pt x="41715" y="115988"/>
                    </a:lnTo>
                    <a:lnTo>
                      <a:pt x="50654" y="115988"/>
                    </a:lnTo>
                    <a:lnTo>
                      <a:pt x="50654" y="99197"/>
                    </a:lnTo>
                    <a:lnTo>
                      <a:pt x="45145" y="99197"/>
                    </a:lnTo>
                    <a:lnTo>
                      <a:pt x="45145" y="63997"/>
                    </a:lnTo>
                    <a:lnTo>
                      <a:pt x="50202" y="63997"/>
                    </a:lnTo>
                    <a:lnTo>
                      <a:pt x="50202" y="48008"/>
                    </a:lnTo>
                    <a:lnTo>
                      <a:pt x="45145" y="48008"/>
                    </a:lnTo>
                    <a:lnTo>
                      <a:pt x="45145" y="19211"/>
                    </a:lnTo>
                    <a:lnTo>
                      <a:pt x="50654" y="19211"/>
                    </a:lnTo>
                    <a:lnTo>
                      <a:pt x="50654" y="2406"/>
                    </a:lnTo>
                    <a:close/>
                    <a:moveTo>
                      <a:pt x="64740" y="2406"/>
                    </a:moveTo>
                    <a:lnTo>
                      <a:pt x="64740" y="19211"/>
                    </a:lnTo>
                    <a:lnTo>
                      <a:pt x="69344" y="19211"/>
                    </a:lnTo>
                    <a:lnTo>
                      <a:pt x="69344" y="115988"/>
                    </a:lnTo>
                    <a:lnTo>
                      <a:pt x="72685" y="115988"/>
                    </a:lnTo>
                    <a:lnTo>
                      <a:pt x="72685" y="19211"/>
                    </a:lnTo>
                    <a:lnTo>
                      <a:pt x="77291" y="19211"/>
                    </a:lnTo>
                    <a:lnTo>
                      <a:pt x="77291" y="2406"/>
                    </a:lnTo>
                    <a:close/>
                    <a:moveTo>
                      <a:pt x="94537" y="2406"/>
                    </a:moveTo>
                    <a:lnTo>
                      <a:pt x="94537" y="6403"/>
                    </a:lnTo>
                    <a:lnTo>
                      <a:pt x="94988" y="7206"/>
                    </a:lnTo>
                    <a:lnTo>
                      <a:pt x="95439" y="9612"/>
                    </a:lnTo>
                    <a:lnTo>
                      <a:pt x="95709" y="12005"/>
                    </a:lnTo>
                    <a:lnTo>
                      <a:pt x="95800" y="13609"/>
                    </a:lnTo>
                    <a:lnTo>
                      <a:pt x="95890" y="15214"/>
                    </a:lnTo>
                    <a:lnTo>
                      <a:pt x="95890" y="115988"/>
                    </a:lnTo>
                    <a:lnTo>
                      <a:pt x="99231" y="115988"/>
                    </a:lnTo>
                    <a:lnTo>
                      <a:pt x="99231" y="66403"/>
                    </a:lnTo>
                    <a:lnTo>
                      <a:pt x="99954" y="70401"/>
                    </a:lnTo>
                    <a:lnTo>
                      <a:pt x="100676" y="76002"/>
                    </a:lnTo>
                    <a:lnTo>
                      <a:pt x="101759" y="88796"/>
                    </a:lnTo>
                    <a:lnTo>
                      <a:pt x="104288" y="115988"/>
                    </a:lnTo>
                    <a:lnTo>
                      <a:pt x="108260" y="115988"/>
                    </a:lnTo>
                    <a:lnTo>
                      <a:pt x="105191" y="83195"/>
                    </a:lnTo>
                    <a:lnTo>
                      <a:pt x="104740" y="77593"/>
                    </a:lnTo>
                    <a:lnTo>
                      <a:pt x="104288" y="72793"/>
                    </a:lnTo>
                    <a:lnTo>
                      <a:pt x="103836" y="68008"/>
                    </a:lnTo>
                    <a:lnTo>
                      <a:pt x="103384" y="64799"/>
                    </a:lnTo>
                    <a:lnTo>
                      <a:pt x="104288" y="63208"/>
                    </a:lnTo>
                    <a:lnTo>
                      <a:pt x="105010" y="61604"/>
                    </a:lnTo>
                    <a:lnTo>
                      <a:pt x="105733" y="58409"/>
                    </a:lnTo>
                    <a:lnTo>
                      <a:pt x="106184" y="55200"/>
                    </a:lnTo>
                    <a:lnTo>
                      <a:pt x="106635" y="51203"/>
                    </a:lnTo>
                    <a:lnTo>
                      <a:pt x="106907" y="46403"/>
                    </a:lnTo>
                    <a:lnTo>
                      <a:pt x="107086" y="41604"/>
                    </a:lnTo>
                    <a:lnTo>
                      <a:pt x="107177" y="36002"/>
                    </a:lnTo>
                    <a:lnTo>
                      <a:pt x="107086" y="28008"/>
                    </a:lnTo>
                    <a:lnTo>
                      <a:pt x="106816" y="21604"/>
                    </a:lnTo>
                    <a:lnTo>
                      <a:pt x="106365" y="16002"/>
                    </a:lnTo>
                    <a:lnTo>
                      <a:pt x="105823" y="11203"/>
                    </a:lnTo>
                    <a:lnTo>
                      <a:pt x="105010" y="7206"/>
                    </a:lnTo>
                    <a:lnTo>
                      <a:pt x="104107" y="4813"/>
                    </a:lnTo>
                    <a:lnTo>
                      <a:pt x="103024" y="3208"/>
                    </a:lnTo>
                    <a:lnTo>
                      <a:pt x="101759" y="2406"/>
                    </a:lnTo>
                    <a:close/>
                    <a:moveTo>
                      <a:pt x="58871" y="816"/>
                    </a:moveTo>
                    <a:lnTo>
                      <a:pt x="57606" y="1604"/>
                    </a:lnTo>
                    <a:lnTo>
                      <a:pt x="56523" y="3208"/>
                    </a:lnTo>
                    <a:lnTo>
                      <a:pt x="55530" y="5615"/>
                    </a:lnTo>
                    <a:lnTo>
                      <a:pt x="54718" y="9612"/>
                    </a:lnTo>
                    <a:lnTo>
                      <a:pt x="54085" y="13609"/>
                    </a:lnTo>
                    <a:lnTo>
                      <a:pt x="53634" y="19211"/>
                    </a:lnTo>
                    <a:lnTo>
                      <a:pt x="53362" y="24813"/>
                    </a:lnTo>
                    <a:lnTo>
                      <a:pt x="53272" y="31203"/>
                    </a:lnTo>
                    <a:lnTo>
                      <a:pt x="53362" y="36804"/>
                    </a:lnTo>
                    <a:lnTo>
                      <a:pt x="53634" y="42406"/>
                    </a:lnTo>
                    <a:lnTo>
                      <a:pt x="53904" y="47206"/>
                    </a:lnTo>
                    <a:lnTo>
                      <a:pt x="54446" y="52005"/>
                    </a:lnTo>
                    <a:lnTo>
                      <a:pt x="55259" y="58409"/>
                    </a:lnTo>
                    <a:lnTo>
                      <a:pt x="56613" y="66403"/>
                    </a:lnTo>
                    <a:lnTo>
                      <a:pt x="58419" y="76002"/>
                    </a:lnTo>
                    <a:lnTo>
                      <a:pt x="58961" y="80000"/>
                    </a:lnTo>
                    <a:lnTo>
                      <a:pt x="59322" y="83997"/>
                    </a:lnTo>
                    <a:lnTo>
                      <a:pt x="59503" y="87192"/>
                    </a:lnTo>
                    <a:lnTo>
                      <a:pt x="59594" y="91203"/>
                    </a:lnTo>
                    <a:lnTo>
                      <a:pt x="59503" y="93596"/>
                    </a:lnTo>
                    <a:lnTo>
                      <a:pt x="59412" y="96002"/>
                    </a:lnTo>
                    <a:lnTo>
                      <a:pt x="59141" y="98395"/>
                    </a:lnTo>
                    <a:lnTo>
                      <a:pt x="58871" y="100000"/>
                    </a:lnTo>
                    <a:lnTo>
                      <a:pt x="58238" y="101590"/>
                    </a:lnTo>
                    <a:lnTo>
                      <a:pt x="56432" y="101590"/>
                    </a:lnTo>
                    <a:lnTo>
                      <a:pt x="55259" y="100000"/>
                    </a:lnTo>
                    <a:lnTo>
                      <a:pt x="54176" y="96791"/>
                    </a:lnTo>
                    <a:lnTo>
                      <a:pt x="53181" y="92793"/>
                    </a:lnTo>
                    <a:lnTo>
                      <a:pt x="53181" y="112793"/>
                    </a:lnTo>
                    <a:lnTo>
                      <a:pt x="54176" y="115200"/>
                    </a:lnTo>
                    <a:lnTo>
                      <a:pt x="55169" y="116791"/>
                    </a:lnTo>
                    <a:lnTo>
                      <a:pt x="56252" y="117593"/>
                    </a:lnTo>
                    <a:lnTo>
                      <a:pt x="57245" y="118395"/>
                    </a:lnTo>
                    <a:lnTo>
                      <a:pt x="58148" y="117593"/>
                    </a:lnTo>
                    <a:lnTo>
                      <a:pt x="58961" y="116791"/>
                    </a:lnTo>
                    <a:lnTo>
                      <a:pt x="59773" y="115988"/>
                    </a:lnTo>
                    <a:lnTo>
                      <a:pt x="60496" y="113596"/>
                    </a:lnTo>
                    <a:lnTo>
                      <a:pt x="61038" y="111189"/>
                    </a:lnTo>
                    <a:lnTo>
                      <a:pt x="61670" y="108796"/>
                    </a:lnTo>
                    <a:lnTo>
                      <a:pt x="62121" y="105601"/>
                    </a:lnTo>
                    <a:lnTo>
                      <a:pt x="62482" y="102392"/>
                    </a:lnTo>
                    <a:lnTo>
                      <a:pt x="62754" y="98395"/>
                    </a:lnTo>
                    <a:lnTo>
                      <a:pt x="62933" y="94398"/>
                    </a:lnTo>
                    <a:lnTo>
                      <a:pt x="63114" y="89598"/>
                    </a:lnTo>
                    <a:lnTo>
                      <a:pt x="63114" y="84799"/>
                    </a:lnTo>
                    <a:lnTo>
                      <a:pt x="63114" y="80802"/>
                    </a:lnTo>
                    <a:lnTo>
                      <a:pt x="62933" y="76804"/>
                    </a:lnTo>
                    <a:lnTo>
                      <a:pt x="62754" y="72793"/>
                    </a:lnTo>
                    <a:lnTo>
                      <a:pt x="62391" y="68796"/>
                    </a:lnTo>
                    <a:lnTo>
                      <a:pt x="61940" y="63997"/>
                    </a:lnTo>
                    <a:lnTo>
                      <a:pt x="61489" y="60000"/>
                    </a:lnTo>
                    <a:lnTo>
                      <a:pt x="60857" y="56002"/>
                    </a:lnTo>
                    <a:lnTo>
                      <a:pt x="60134" y="52005"/>
                    </a:lnTo>
                    <a:lnTo>
                      <a:pt x="58238" y="41604"/>
                    </a:lnTo>
                    <a:lnTo>
                      <a:pt x="57516" y="36804"/>
                    </a:lnTo>
                    <a:lnTo>
                      <a:pt x="57064" y="33609"/>
                    </a:lnTo>
                    <a:lnTo>
                      <a:pt x="56794" y="30401"/>
                    </a:lnTo>
                    <a:lnTo>
                      <a:pt x="56704" y="28008"/>
                    </a:lnTo>
                    <a:lnTo>
                      <a:pt x="56794" y="24813"/>
                    </a:lnTo>
                    <a:lnTo>
                      <a:pt x="57064" y="21604"/>
                    </a:lnTo>
                    <a:lnTo>
                      <a:pt x="57427" y="20013"/>
                    </a:lnTo>
                    <a:lnTo>
                      <a:pt x="57878" y="18409"/>
                    </a:lnTo>
                    <a:lnTo>
                      <a:pt x="58419" y="17607"/>
                    </a:lnTo>
                    <a:lnTo>
                      <a:pt x="59052" y="16804"/>
                    </a:lnTo>
                    <a:lnTo>
                      <a:pt x="59864" y="17607"/>
                    </a:lnTo>
                    <a:lnTo>
                      <a:pt x="60587" y="19211"/>
                    </a:lnTo>
                    <a:lnTo>
                      <a:pt x="61128" y="20802"/>
                    </a:lnTo>
                    <a:lnTo>
                      <a:pt x="61580" y="23208"/>
                    </a:lnTo>
                    <a:lnTo>
                      <a:pt x="61850" y="26403"/>
                    </a:lnTo>
                    <a:lnTo>
                      <a:pt x="62121" y="29612"/>
                    </a:lnTo>
                    <a:lnTo>
                      <a:pt x="62482" y="29612"/>
                    </a:lnTo>
                    <a:lnTo>
                      <a:pt x="62482" y="5615"/>
                    </a:lnTo>
                    <a:lnTo>
                      <a:pt x="61670" y="3208"/>
                    </a:lnTo>
                    <a:lnTo>
                      <a:pt x="60766" y="1604"/>
                    </a:lnTo>
                    <a:lnTo>
                      <a:pt x="59864" y="816"/>
                    </a:lnTo>
                    <a:close/>
                    <a:moveTo>
                      <a:pt x="115754" y="816"/>
                    </a:moveTo>
                    <a:lnTo>
                      <a:pt x="114491" y="1604"/>
                    </a:lnTo>
                    <a:lnTo>
                      <a:pt x="113317" y="3208"/>
                    </a:lnTo>
                    <a:lnTo>
                      <a:pt x="112413" y="5615"/>
                    </a:lnTo>
                    <a:lnTo>
                      <a:pt x="111601" y="9612"/>
                    </a:lnTo>
                    <a:lnTo>
                      <a:pt x="110969" y="13609"/>
                    </a:lnTo>
                    <a:lnTo>
                      <a:pt x="110518" y="19211"/>
                    </a:lnTo>
                    <a:lnTo>
                      <a:pt x="110248" y="24813"/>
                    </a:lnTo>
                    <a:lnTo>
                      <a:pt x="110157" y="31203"/>
                    </a:lnTo>
                    <a:lnTo>
                      <a:pt x="110248" y="36804"/>
                    </a:lnTo>
                    <a:lnTo>
                      <a:pt x="110427" y="42406"/>
                    </a:lnTo>
                    <a:lnTo>
                      <a:pt x="110788" y="47206"/>
                    </a:lnTo>
                    <a:lnTo>
                      <a:pt x="111330" y="52005"/>
                    </a:lnTo>
                    <a:lnTo>
                      <a:pt x="112143" y="58409"/>
                    </a:lnTo>
                    <a:lnTo>
                      <a:pt x="113497" y="66403"/>
                    </a:lnTo>
                    <a:lnTo>
                      <a:pt x="115303" y="76002"/>
                    </a:lnTo>
                    <a:lnTo>
                      <a:pt x="115845" y="80000"/>
                    </a:lnTo>
                    <a:lnTo>
                      <a:pt x="116206" y="83997"/>
                    </a:lnTo>
                    <a:lnTo>
                      <a:pt x="116387" y="87192"/>
                    </a:lnTo>
                    <a:lnTo>
                      <a:pt x="116477" y="91203"/>
                    </a:lnTo>
                    <a:lnTo>
                      <a:pt x="116387" y="93596"/>
                    </a:lnTo>
                    <a:lnTo>
                      <a:pt x="116296" y="96002"/>
                    </a:lnTo>
                    <a:lnTo>
                      <a:pt x="116026" y="98395"/>
                    </a:lnTo>
                    <a:lnTo>
                      <a:pt x="115754" y="100000"/>
                    </a:lnTo>
                    <a:lnTo>
                      <a:pt x="115122" y="101590"/>
                    </a:lnTo>
                    <a:lnTo>
                      <a:pt x="113227" y="101590"/>
                    </a:lnTo>
                    <a:lnTo>
                      <a:pt x="112143" y="100000"/>
                    </a:lnTo>
                    <a:lnTo>
                      <a:pt x="111060" y="96791"/>
                    </a:lnTo>
                    <a:lnTo>
                      <a:pt x="110067" y="92793"/>
                    </a:lnTo>
                    <a:lnTo>
                      <a:pt x="110067" y="112793"/>
                    </a:lnTo>
                    <a:lnTo>
                      <a:pt x="111060" y="115200"/>
                    </a:lnTo>
                    <a:lnTo>
                      <a:pt x="112053" y="116791"/>
                    </a:lnTo>
                    <a:lnTo>
                      <a:pt x="113046" y="117593"/>
                    </a:lnTo>
                    <a:lnTo>
                      <a:pt x="114129" y="118395"/>
                    </a:lnTo>
                    <a:lnTo>
                      <a:pt x="115033" y="117593"/>
                    </a:lnTo>
                    <a:lnTo>
                      <a:pt x="115845" y="116791"/>
                    </a:lnTo>
                    <a:lnTo>
                      <a:pt x="116658" y="115988"/>
                    </a:lnTo>
                    <a:lnTo>
                      <a:pt x="117289" y="113596"/>
                    </a:lnTo>
                    <a:lnTo>
                      <a:pt x="117921" y="111189"/>
                    </a:lnTo>
                    <a:lnTo>
                      <a:pt x="118463" y="108796"/>
                    </a:lnTo>
                    <a:lnTo>
                      <a:pt x="118914" y="105601"/>
                    </a:lnTo>
                    <a:lnTo>
                      <a:pt x="119367" y="102392"/>
                    </a:lnTo>
                    <a:lnTo>
                      <a:pt x="119637" y="98395"/>
                    </a:lnTo>
                    <a:lnTo>
                      <a:pt x="119818" y="94398"/>
                    </a:lnTo>
                    <a:lnTo>
                      <a:pt x="119998" y="89598"/>
                    </a:lnTo>
                    <a:lnTo>
                      <a:pt x="119998" y="84799"/>
                    </a:lnTo>
                    <a:lnTo>
                      <a:pt x="119909" y="80802"/>
                    </a:lnTo>
                    <a:lnTo>
                      <a:pt x="119818" y="76804"/>
                    </a:lnTo>
                    <a:lnTo>
                      <a:pt x="119547" y="72793"/>
                    </a:lnTo>
                    <a:lnTo>
                      <a:pt x="119277" y="68796"/>
                    </a:lnTo>
                    <a:lnTo>
                      <a:pt x="118825" y="63997"/>
                    </a:lnTo>
                    <a:lnTo>
                      <a:pt x="118373" y="60000"/>
                    </a:lnTo>
                    <a:lnTo>
                      <a:pt x="117742" y="56002"/>
                    </a:lnTo>
                    <a:lnTo>
                      <a:pt x="117019" y="52005"/>
                    </a:lnTo>
                    <a:lnTo>
                      <a:pt x="115033" y="41604"/>
                    </a:lnTo>
                    <a:lnTo>
                      <a:pt x="114401" y="36804"/>
                    </a:lnTo>
                    <a:lnTo>
                      <a:pt x="113950" y="33609"/>
                    </a:lnTo>
                    <a:lnTo>
                      <a:pt x="113678" y="30401"/>
                    </a:lnTo>
                    <a:lnTo>
                      <a:pt x="113587" y="28008"/>
                    </a:lnTo>
                    <a:lnTo>
                      <a:pt x="113678" y="24813"/>
                    </a:lnTo>
                    <a:lnTo>
                      <a:pt x="113950" y="21604"/>
                    </a:lnTo>
                    <a:lnTo>
                      <a:pt x="114310" y="20013"/>
                    </a:lnTo>
                    <a:lnTo>
                      <a:pt x="114761" y="18409"/>
                    </a:lnTo>
                    <a:lnTo>
                      <a:pt x="115303" y="17607"/>
                    </a:lnTo>
                    <a:lnTo>
                      <a:pt x="115935" y="16804"/>
                    </a:lnTo>
                    <a:lnTo>
                      <a:pt x="116747" y="17607"/>
                    </a:lnTo>
                    <a:lnTo>
                      <a:pt x="117470" y="19211"/>
                    </a:lnTo>
                    <a:lnTo>
                      <a:pt x="118012" y="20802"/>
                    </a:lnTo>
                    <a:lnTo>
                      <a:pt x="118463" y="23208"/>
                    </a:lnTo>
                    <a:lnTo>
                      <a:pt x="118735" y="26403"/>
                    </a:lnTo>
                    <a:lnTo>
                      <a:pt x="118914" y="29612"/>
                    </a:lnTo>
                    <a:lnTo>
                      <a:pt x="119367" y="29612"/>
                    </a:lnTo>
                    <a:lnTo>
                      <a:pt x="119367" y="5615"/>
                    </a:lnTo>
                    <a:lnTo>
                      <a:pt x="118463" y="3208"/>
                    </a:lnTo>
                    <a:lnTo>
                      <a:pt x="117651" y="1604"/>
                    </a:lnTo>
                    <a:lnTo>
                      <a:pt x="116747" y="816"/>
                    </a:lnTo>
                    <a:close/>
                    <a:moveTo>
                      <a:pt x="84785" y="13"/>
                    </a:moveTo>
                    <a:lnTo>
                      <a:pt x="83971" y="816"/>
                    </a:lnTo>
                    <a:lnTo>
                      <a:pt x="83160" y="2406"/>
                    </a:lnTo>
                    <a:lnTo>
                      <a:pt x="82527" y="4813"/>
                    </a:lnTo>
                    <a:lnTo>
                      <a:pt x="81804" y="7206"/>
                    </a:lnTo>
                    <a:lnTo>
                      <a:pt x="81172" y="10414"/>
                    </a:lnTo>
                    <a:lnTo>
                      <a:pt x="80630" y="13609"/>
                    </a:lnTo>
                    <a:lnTo>
                      <a:pt x="80179" y="17607"/>
                    </a:lnTo>
                    <a:lnTo>
                      <a:pt x="79728" y="21604"/>
                    </a:lnTo>
                    <a:lnTo>
                      <a:pt x="79277" y="26403"/>
                    </a:lnTo>
                    <a:lnTo>
                      <a:pt x="78916" y="31203"/>
                    </a:lnTo>
                    <a:lnTo>
                      <a:pt x="78644" y="36804"/>
                    </a:lnTo>
                    <a:lnTo>
                      <a:pt x="78463" y="41604"/>
                    </a:lnTo>
                    <a:lnTo>
                      <a:pt x="78284" y="48008"/>
                    </a:lnTo>
                    <a:lnTo>
                      <a:pt x="78193" y="53609"/>
                    </a:lnTo>
                    <a:lnTo>
                      <a:pt x="78103" y="60000"/>
                    </a:lnTo>
                    <a:lnTo>
                      <a:pt x="78193" y="65601"/>
                    </a:lnTo>
                    <a:lnTo>
                      <a:pt x="78284" y="72005"/>
                    </a:lnTo>
                    <a:lnTo>
                      <a:pt x="78463" y="77593"/>
                    </a:lnTo>
                    <a:lnTo>
                      <a:pt x="78644" y="83195"/>
                    </a:lnTo>
                    <a:lnTo>
                      <a:pt x="78916" y="88796"/>
                    </a:lnTo>
                    <a:lnTo>
                      <a:pt x="79277" y="93596"/>
                    </a:lnTo>
                    <a:lnTo>
                      <a:pt x="79728" y="98395"/>
                    </a:lnTo>
                    <a:lnTo>
                      <a:pt x="80179" y="102392"/>
                    </a:lnTo>
                    <a:lnTo>
                      <a:pt x="80630" y="106390"/>
                    </a:lnTo>
                    <a:lnTo>
                      <a:pt x="81172" y="109598"/>
                    </a:lnTo>
                    <a:lnTo>
                      <a:pt x="81804" y="112793"/>
                    </a:lnTo>
                    <a:lnTo>
                      <a:pt x="82527" y="115200"/>
                    </a:lnTo>
                    <a:lnTo>
                      <a:pt x="83160" y="116791"/>
                    </a:lnTo>
                    <a:lnTo>
                      <a:pt x="83971" y="118395"/>
                    </a:lnTo>
                    <a:lnTo>
                      <a:pt x="84785" y="119197"/>
                    </a:lnTo>
                    <a:lnTo>
                      <a:pt x="85597" y="120000"/>
                    </a:lnTo>
                    <a:lnTo>
                      <a:pt x="86501" y="119197"/>
                    </a:lnTo>
                    <a:lnTo>
                      <a:pt x="87222" y="118395"/>
                    </a:lnTo>
                    <a:lnTo>
                      <a:pt x="88035" y="116791"/>
                    </a:lnTo>
                    <a:lnTo>
                      <a:pt x="88757" y="115200"/>
                    </a:lnTo>
                    <a:lnTo>
                      <a:pt x="89389" y="112793"/>
                    </a:lnTo>
                    <a:lnTo>
                      <a:pt x="90021" y="109598"/>
                    </a:lnTo>
                    <a:lnTo>
                      <a:pt x="90563" y="106390"/>
                    </a:lnTo>
                    <a:lnTo>
                      <a:pt x="91105" y="102392"/>
                    </a:lnTo>
                    <a:lnTo>
                      <a:pt x="91556" y="98395"/>
                    </a:lnTo>
                    <a:lnTo>
                      <a:pt x="91918" y="93596"/>
                    </a:lnTo>
                    <a:lnTo>
                      <a:pt x="92279" y="88796"/>
                    </a:lnTo>
                    <a:lnTo>
                      <a:pt x="92549" y="83195"/>
                    </a:lnTo>
                    <a:lnTo>
                      <a:pt x="92821" y="77593"/>
                    </a:lnTo>
                    <a:lnTo>
                      <a:pt x="92911" y="72005"/>
                    </a:lnTo>
                    <a:lnTo>
                      <a:pt x="93091" y="65601"/>
                    </a:lnTo>
                    <a:lnTo>
                      <a:pt x="93091" y="60000"/>
                    </a:lnTo>
                    <a:lnTo>
                      <a:pt x="93091" y="53609"/>
                    </a:lnTo>
                    <a:lnTo>
                      <a:pt x="92911" y="48008"/>
                    </a:lnTo>
                    <a:lnTo>
                      <a:pt x="92821" y="41604"/>
                    </a:lnTo>
                    <a:lnTo>
                      <a:pt x="92549" y="36804"/>
                    </a:lnTo>
                    <a:lnTo>
                      <a:pt x="92279" y="31203"/>
                    </a:lnTo>
                    <a:lnTo>
                      <a:pt x="91918" y="26403"/>
                    </a:lnTo>
                    <a:lnTo>
                      <a:pt x="91556" y="21604"/>
                    </a:lnTo>
                    <a:lnTo>
                      <a:pt x="91105" y="17607"/>
                    </a:lnTo>
                    <a:lnTo>
                      <a:pt x="90563" y="13609"/>
                    </a:lnTo>
                    <a:lnTo>
                      <a:pt x="90021" y="10414"/>
                    </a:lnTo>
                    <a:lnTo>
                      <a:pt x="89389" y="7206"/>
                    </a:lnTo>
                    <a:lnTo>
                      <a:pt x="88757" y="4813"/>
                    </a:lnTo>
                    <a:lnTo>
                      <a:pt x="88035" y="2406"/>
                    </a:lnTo>
                    <a:lnTo>
                      <a:pt x="87222" y="816"/>
                    </a:lnTo>
                    <a:lnTo>
                      <a:pt x="86501" y="13"/>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3" name="Google Shape;25;p2">
                <a:extLst>
                  <a:ext uri="{FF2B5EF4-FFF2-40B4-BE49-F238E27FC236}">
                    <a16:creationId xmlns:a16="http://schemas.microsoft.com/office/drawing/2014/main" id="{2258C6CB-D32C-494B-AE7C-697BC8A75D2D}"/>
                  </a:ext>
                </a:extLst>
              </p:cNvPr>
              <p:cNvSpPr/>
              <p:nvPr/>
            </p:nvSpPr>
            <p:spPr>
              <a:xfrm>
                <a:off x="5111957" y="3466175"/>
                <a:ext cx="75301" cy="205200"/>
              </a:xfrm>
              <a:custGeom>
                <a:avLst/>
                <a:gdLst/>
                <a:ahLst/>
                <a:cxnLst/>
                <a:rect l="l" t="t" r="r" b="b"/>
                <a:pathLst>
                  <a:path w="120000" h="120000" fill="none" extrusionOk="0">
                    <a:moveTo>
                      <a:pt x="0" y="4222"/>
                    </a:moveTo>
                    <a:lnTo>
                      <a:pt x="0" y="4222"/>
                    </a:lnTo>
                    <a:lnTo>
                      <a:pt x="11529" y="5070"/>
                    </a:lnTo>
                    <a:lnTo>
                      <a:pt x="23058" y="7612"/>
                    </a:lnTo>
                    <a:lnTo>
                      <a:pt x="23058" y="7612"/>
                    </a:lnTo>
                    <a:lnTo>
                      <a:pt x="30000" y="10987"/>
                    </a:lnTo>
                    <a:lnTo>
                      <a:pt x="32313" y="12682"/>
                    </a:lnTo>
                    <a:lnTo>
                      <a:pt x="34627" y="14362"/>
                    </a:lnTo>
                    <a:lnTo>
                      <a:pt x="34627" y="119985"/>
                    </a:lnTo>
                    <a:lnTo>
                      <a:pt x="119960" y="119985"/>
                    </a:lnTo>
                    <a:lnTo>
                      <a:pt x="119960"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4" name="Google Shape;26;p2">
                <a:extLst>
                  <a:ext uri="{FF2B5EF4-FFF2-40B4-BE49-F238E27FC236}">
                    <a16:creationId xmlns:a16="http://schemas.microsoft.com/office/drawing/2014/main" id="{CF4D11BF-D62B-4F07-9E8C-EC0B414399E3}"/>
                  </a:ext>
                </a:extLst>
              </p:cNvPr>
              <p:cNvSpPr/>
              <p:nvPr/>
            </p:nvSpPr>
            <p:spPr>
              <a:xfrm>
                <a:off x="5226157" y="3466175"/>
                <a:ext cx="232800" cy="205200"/>
              </a:xfrm>
              <a:custGeom>
                <a:avLst/>
                <a:gdLst/>
                <a:ahLst/>
                <a:cxnLst/>
                <a:rect l="l" t="t" r="r" b="b"/>
                <a:pathLst>
                  <a:path w="120000" h="120000" fill="none" extrusionOk="0">
                    <a:moveTo>
                      <a:pt x="99871" y="88732"/>
                    </a:moveTo>
                    <a:lnTo>
                      <a:pt x="40257" y="0"/>
                    </a:lnTo>
                    <a:lnTo>
                      <a:pt x="12" y="0"/>
                    </a:lnTo>
                    <a:lnTo>
                      <a:pt x="12" y="4222"/>
                    </a:lnTo>
                    <a:lnTo>
                      <a:pt x="12" y="4222"/>
                    </a:lnTo>
                    <a:lnTo>
                      <a:pt x="3737" y="5070"/>
                    </a:lnTo>
                    <a:lnTo>
                      <a:pt x="6713" y="7612"/>
                    </a:lnTo>
                    <a:lnTo>
                      <a:pt x="6713" y="7612"/>
                    </a:lnTo>
                    <a:lnTo>
                      <a:pt x="9703" y="10987"/>
                    </a:lnTo>
                    <a:lnTo>
                      <a:pt x="10451" y="12682"/>
                    </a:lnTo>
                    <a:lnTo>
                      <a:pt x="10451" y="14362"/>
                    </a:lnTo>
                    <a:lnTo>
                      <a:pt x="10451" y="119985"/>
                    </a:lnTo>
                    <a:lnTo>
                      <a:pt x="31314" y="119985"/>
                    </a:lnTo>
                    <a:lnTo>
                      <a:pt x="31314" y="40560"/>
                    </a:lnTo>
                    <a:lnTo>
                      <a:pt x="84226" y="119985"/>
                    </a:lnTo>
                    <a:lnTo>
                      <a:pt x="120000" y="119985"/>
                    </a:lnTo>
                    <a:lnTo>
                      <a:pt x="120000" y="0"/>
                    </a:lnTo>
                    <a:lnTo>
                      <a:pt x="99871" y="0"/>
                    </a:lnTo>
                    <a:lnTo>
                      <a:pt x="99871" y="8873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5" name="Google Shape;27;p2">
                <a:extLst>
                  <a:ext uri="{FF2B5EF4-FFF2-40B4-BE49-F238E27FC236}">
                    <a16:creationId xmlns:a16="http://schemas.microsoft.com/office/drawing/2014/main" id="{70D87961-26EE-4A25-9829-65EFD8F69381}"/>
                  </a:ext>
                </a:extLst>
              </p:cNvPr>
              <p:cNvSpPr/>
              <p:nvPr/>
            </p:nvSpPr>
            <p:spPr>
              <a:xfrm>
                <a:off x="5493632" y="3466175"/>
                <a:ext cx="236999" cy="205200"/>
              </a:xfrm>
              <a:custGeom>
                <a:avLst/>
                <a:gdLst/>
                <a:ahLst/>
                <a:cxnLst/>
                <a:rect l="l" t="t" r="r" b="b"/>
                <a:pathLst>
                  <a:path w="120000" h="120000" fill="none" extrusionOk="0">
                    <a:moveTo>
                      <a:pt x="68045" y="87885"/>
                    </a:moveTo>
                    <a:lnTo>
                      <a:pt x="38051" y="0"/>
                    </a:lnTo>
                    <a:lnTo>
                      <a:pt x="12" y="0"/>
                    </a:lnTo>
                    <a:lnTo>
                      <a:pt x="12" y="4222"/>
                    </a:lnTo>
                    <a:lnTo>
                      <a:pt x="12" y="4222"/>
                    </a:lnTo>
                    <a:lnTo>
                      <a:pt x="3668" y="5917"/>
                    </a:lnTo>
                    <a:lnTo>
                      <a:pt x="7324" y="7612"/>
                    </a:lnTo>
                    <a:lnTo>
                      <a:pt x="9525" y="10140"/>
                    </a:lnTo>
                    <a:lnTo>
                      <a:pt x="11714" y="13529"/>
                    </a:lnTo>
                    <a:lnTo>
                      <a:pt x="47564" y="119985"/>
                    </a:lnTo>
                    <a:lnTo>
                      <a:pt x="76824" y="119985"/>
                    </a:lnTo>
                    <a:lnTo>
                      <a:pt x="119987" y="0"/>
                    </a:lnTo>
                    <a:lnTo>
                      <a:pt x="99506" y="0"/>
                    </a:lnTo>
                    <a:lnTo>
                      <a:pt x="68045" y="8788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6" name="Google Shape;28;p2">
                <a:extLst>
                  <a:ext uri="{FF2B5EF4-FFF2-40B4-BE49-F238E27FC236}">
                    <a16:creationId xmlns:a16="http://schemas.microsoft.com/office/drawing/2014/main" id="{561F48D3-B49B-43AD-92E7-C3465CDB06AF}"/>
                  </a:ext>
                </a:extLst>
              </p:cNvPr>
              <p:cNvSpPr/>
              <p:nvPr/>
            </p:nvSpPr>
            <p:spPr>
              <a:xfrm>
                <a:off x="5759684" y="3466175"/>
                <a:ext cx="163501" cy="205200"/>
              </a:xfrm>
              <a:custGeom>
                <a:avLst/>
                <a:gdLst/>
                <a:ahLst/>
                <a:cxnLst/>
                <a:rect l="l" t="t" r="r" b="b"/>
                <a:pathLst>
                  <a:path w="120000" h="120000" fill="none" extrusionOk="0">
                    <a:moveTo>
                      <a:pt x="0" y="4222"/>
                    </a:moveTo>
                    <a:lnTo>
                      <a:pt x="0" y="4222"/>
                    </a:lnTo>
                    <a:lnTo>
                      <a:pt x="5305" y="5070"/>
                    </a:lnTo>
                    <a:lnTo>
                      <a:pt x="10611" y="7612"/>
                    </a:lnTo>
                    <a:lnTo>
                      <a:pt x="10611" y="7612"/>
                    </a:lnTo>
                    <a:lnTo>
                      <a:pt x="13806" y="10140"/>
                    </a:lnTo>
                    <a:lnTo>
                      <a:pt x="14871" y="12682"/>
                    </a:lnTo>
                    <a:lnTo>
                      <a:pt x="14871" y="14362"/>
                    </a:lnTo>
                    <a:lnTo>
                      <a:pt x="14871" y="119985"/>
                    </a:lnTo>
                    <a:lnTo>
                      <a:pt x="119981" y="119985"/>
                    </a:lnTo>
                    <a:lnTo>
                      <a:pt x="119981" y="102247"/>
                    </a:lnTo>
                    <a:lnTo>
                      <a:pt x="55208" y="102247"/>
                    </a:lnTo>
                    <a:lnTo>
                      <a:pt x="55208" y="65062"/>
                    </a:lnTo>
                    <a:lnTo>
                      <a:pt x="114675" y="65062"/>
                    </a:lnTo>
                    <a:lnTo>
                      <a:pt x="114675" y="48172"/>
                    </a:lnTo>
                    <a:lnTo>
                      <a:pt x="55208" y="48172"/>
                    </a:lnTo>
                    <a:lnTo>
                      <a:pt x="55208" y="17752"/>
                    </a:lnTo>
                    <a:lnTo>
                      <a:pt x="119981" y="17752"/>
                    </a:lnTo>
                    <a:lnTo>
                      <a:pt x="119981"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7" name="Google Shape;29;p2">
                <a:extLst>
                  <a:ext uri="{FF2B5EF4-FFF2-40B4-BE49-F238E27FC236}">
                    <a16:creationId xmlns:a16="http://schemas.microsoft.com/office/drawing/2014/main" id="{41D87E24-152F-404F-A30E-C426259179F8}"/>
                  </a:ext>
                </a:extLst>
              </p:cNvPr>
              <p:cNvSpPr/>
              <p:nvPr/>
            </p:nvSpPr>
            <p:spPr>
              <a:xfrm>
                <a:off x="5963535" y="3463276"/>
                <a:ext cx="159001" cy="212400"/>
              </a:xfrm>
              <a:custGeom>
                <a:avLst/>
                <a:gdLst/>
                <a:ahLst/>
                <a:cxnLst/>
                <a:rect l="l" t="t" r="r" b="b"/>
                <a:pathLst>
                  <a:path w="120000" h="120000" fill="none" extrusionOk="0">
                    <a:moveTo>
                      <a:pt x="83992" y="52251"/>
                    </a:moveTo>
                    <a:lnTo>
                      <a:pt x="83992" y="52251"/>
                    </a:lnTo>
                    <a:lnTo>
                      <a:pt x="61093" y="41637"/>
                    </a:lnTo>
                    <a:lnTo>
                      <a:pt x="61093" y="41637"/>
                    </a:lnTo>
                    <a:lnTo>
                      <a:pt x="52360" y="36739"/>
                    </a:lnTo>
                    <a:lnTo>
                      <a:pt x="46909" y="33479"/>
                    </a:lnTo>
                    <a:lnTo>
                      <a:pt x="43646" y="30204"/>
                    </a:lnTo>
                    <a:lnTo>
                      <a:pt x="42552" y="27762"/>
                    </a:lnTo>
                    <a:lnTo>
                      <a:pt x="42552" y="27762"/>
                    </a:lnTo>
                    <a:lnTo>
                      <a:pt x="43646" y="24502"/>
                    </a:lnTo>
                    <a:lnTo>
                      <a:pt x="46909" y="21227"/>
                    </a:lnTo>
                    <a:lnTo>
                      <a:pt x="46909" y="21227"/>
                    </a:lnTo>
                    <a:lnTo>
                      <a:pt x="51285" y="19604"/>
                    </a:lnTo>
                    <a:lnTo>
                      <a:pt x="56736" y="17967"/>
                    </a:lnTo>
                    <a:lnTo>
                      <a:pt x="63281" y="17148"/>
                    </a:lnTo>
                    <a:lnTo>
                      <a:pt x="70921" y="16330"/>
                    </a:lnTo>
                    <a:lnTo>
                      <a:pt x="70921" y="16330"/>
                    </a:lnTo>
                    <a:lnTo>
                      <a:pt x="80729" y="17148"/>
                    </a:lnTo>
                    <a:lnTo>
                      <a:pt x="89462" y="18786"/>
                    </a:lnTo>
                    <a:lnTo>
                      <a:pt x="89462" y="18786"/>
                    </a:lnTo>
                    <a:lnTo>
                      <a:pt x="96007" y="20409"/>
                    </a:lnTo>
                    <a:lnTo>
                      <a:pt x="101458" y="22865"/>
                    </a:lnTo>
                    <a:lnTo>
                      <a:pt x="104721" y="26125"/>
                    </a:lnTo>
                    <a:lnTo>
                      <a:pt x="108003" y="29400"/>
                    </a:lnTo>
                    <a:lnTo>
                      <a:pt x="112360" y="29400"/>
                    </a:lnTo>
                    <a:lnTo>
                      <a:pt x="112360" y="4911"/>
                    </a:lnTo>
                    <a:lnTo>
                      <a:pt x="112360" y="4911"/>
                    </a:lnTo>
                    <a:lnTo>
                      <a:pt x="102552" y="2455"/>
                    </a:lnTo>
                    <a:lnTo>
                      <a:pt x="91631" y="818"/>
                    </a:lnTo>
                    <a:lnTo>
                      <a:pt x="80729" y="14"/>
                    </a:lnTo>
                    <a:lnTo>
                      <a:pt x="68733" y="14"/>
                    </a:lnTo>
                    <a:lnTo>
                      <a:pt x="68733" y="14"/>
                    </a:lnTo>
                    <a:lnTo>
                      <a:pt x="53454" y="818"/>
                    </a:lnTo>
                    <a:lnTo>
                      <a:pt x="40364" y="2455"/>
                    </a:lnTo>
                    <a:lnTo>
                      <a:pt x="28368" y="4911"/>
                    </a:lnTo>
                    <a:lnTo>
                      <a:pt x="18560" y="8990"/>
                    </a:lnTo>
                    <a:lnTo>
                      <a:pt x="18560" y="8990"/>
                    </a:lnTo>
                    <a:lnTo>
                      <a:pt x="10921" y="13069"/>
                    </a:lnTo>
                    <a:lnTo>
                      <a:pt x="5469" y="18786"/>
                    </a:lnTo>
                    <a:lnTo>
                      <a:pt x="2187" y="24502"/>
                    </a:lnTo>
                    <a:lnTo>
                      <a:pt x="1093" y="31023"/>
                    </a:lnTo>
                    <a:lnTo>
                      <a:pt x="1093" y="31023"/>
                    </a:lnTo>
                    <a:lnTo>
                      <a:pt x="2187" y="36739"/>
                    </a:lnTo>
                    <a:lnTo>
                      <a:pt x="5469" y="42455"/>
                    </a:lnTo>
                    <a:lnTo>
                      <a:pt x="8733" y="47353"/>
                    </a:lnTo>
                    <a:lnTo>
                      <a:pt x="15278" y="52251"/>
                    </a:lnTo>
                    <a:lnTo>
                      <a:pt x="15278" y="52251"/>
                    </a:lnTo>
                    <a:lnTo>
                      <a:pt x="25105" y="58786"/>
                    </a:lnTo>
                    <a:lnTo>
                      <a:pt x="41458" y="66944"/>
                    </a:lnTo>
                    <a:lnTo>
                      <a:pt x="41458" y="66944"/>
                    </a:lnTo>
                    <a:lnTo>
                      <a:pt x="63281" y="76739"/>
                    </a:lnTo>
                    <a:lnTo>
                      <a:pt x="63281" y="76739"/>
                    </a:lnTo>
                    <a:lnTo>
                      <a:pt x="69827" y="80818"/>
                    </a:lnTo>
                    <a:lnTo>
                      <a:pt x="74184" y="84897"/>
                    </a:lnTo>
                    <a:lnTo>
                      <a:pt x="76372" y="88158"/>
                    </a:lnTo>
                    <a:lnTo>
                      <a:pt x="77466" y="92251"/>
                    </a:lnTo>
                    <a:lnTo>
                      <a:pt x="77466" y="92251"/>
                    </a:lnTo>
                    <a:lnTo>
                      <a:pt x="76372" y="94693"/>
                    </a:lnTo>
                    <a:lnTo>
                      <a:pt x="75278" y="97148"/>
                    </a:lnTo>
                    <a:lnTo>
                      <a:pt x="71996" y="99590"/>
                    </a:lnTo>
                    <a:lnTo>
                      <a:pt x="68733" y="101227"/>
                    </a:lnTo>
                    <a:lnTo>
                      <a:pt x="68733" y="101227"/>
                    </a:lnTo>
                    <a:lnTo>
                      <a:pt x="61093" y="102851"/>
                    </a:lnTo>
                    <a:lnTo>
                      <a:pt x="53454" y="102851"/>
                    </a:lnTo>
                    <a:lnTo>
                      <a:pt x="53454" y="102851"/>
                    </a:lnTo>
                    <a:lnTo>
                      <a:pt x="39270" y="102851"/>
                    </a:lnTo>
                    <a:lnTo>
                      <a:pt x="25105" y="101227"/>
                    </a:lnTo>
                    <a:lnTo>
                      <a:pt x="12015" y="97953"/>
                    </a:lnTo>
                    <a:lnTo>
                      <a:pt x="0" y="93874"/>
                    </a:lnTo>
                    <a:lnTo>
                      <a:pt x="0" y="114283"/>
                    </a:lnTo>
                    <a:lnTo>
                      <a:pt x="0" y="114283"/>
                    </a:lnTo>
                    <a:lnTo>
                      <a:pt x="12015" y="116739"/>
                    </a:lnTo>
                    <a:lnTo>
                      <a:pt x="24011" y="118362"/>
                    </a:lnTo>
                    <a:lnTo>
                      <a:pt x="37101" y="119181"/>
                    </a:lnTo>
                    <a:lnTo>
                      <a:pt x="49097" y="120000"/>
                    </a:lnTo>
                    <a:lnTo>
                      <a:pt x="49097" y="120000"/>
                    </a:lnTo>
                    <a:lnTo>
                      <a:pt x="59999" y="119181"/>
                    </a:lnTo>
                    <a:lnTo>
                      <a:pt x="69827" y="118362"/>
                    </a:lnTo>
                    <a:lnTo>
                      <a:pt x="79635" y="117544"/>
                    </a:lnTo>
                    <a:lnTo>
                      <a:pt x="88368" y="115102"/>
                    </a:lnTo>
                    <a:lnTo>
                      <a:pt x="88368" y="115102"/>
                    </a:lnTo>
                    <a:lnTo>
                      <a:pt x="94913" y="112646"/>
                    </a:lnTo>
                    <a:lnTo>
                      <a:pt x="102552" y="110204"/>
                    </a:lnTo>
                    <a:lnTo>
                      <a:pt x="108003" y="106944"/>
                    </a:lnTo>
                    <a:lnTo>
                      <a:pt x="112360" y="103669"/>
                    </a:lnTo>
                    <a:lnTo>
                      <a:pt x="115642" y="99590"/>
                    </a:lnTo>
                    <a:lnTo>
                      <a:pt x="117812" y="95511"/>
                    </a:lnTo>
                    <a:lnTo>
                      <a:pt x="119999" y="90613"/>
                    </a:lnTo>
                    <a:lnTo>
                      <a:pt x="119999" y="85716"/>
                    </a:lnTo>
                    <a:lnTo>
                      <a:pt x="119999" y="85716"/>
                    </a:lnTo>
                    <a:lnTo>
                      <a:pt x="119999" y="81637"/>
                    </a:lnTo>
                    <a:lnTo>
                      <a:pt x="117812" y="77558"/>
                    </a:lnTo>
                    <a:lnTo>
                      <a:pt x="115642" y="73465"/>
                    </a:lnTo>
                    <a:lnTo>
                      <a:pt x="111266" y="69386"/>
                    </a:lnTo>
                    <a:lnTo>
                      <a:pt x="105815" y="64488"/>
                    </a:lnTo>
                    <a:lnTo>
                      <a:pt x="100364" y="60409"/>
                    </a:lnTo>
                    <a:lnTo>
                      <a:pt x="92725" y="56330"/>
                    </a:lnTo>
                    <a:lnTo>
                      <a:pt x="83992"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8" name="Google Shape;30;p2">
                <a:extLst>
                  <a:ext uri="{FF2B5EF4-FFF2-40B4-BE49-F238E27FC236}">
                    <a16:creationId xmlns:a16="http://schemas.microsoft.com/office/drawing/2014/main" id="{F68F9F91-3D8B-4CFE-9297-199C77CDBFFC}"/>
                  </a:ext>
                </a:extLst>
              </p:cNvPr>
              <p:cNvSpPr/>
              <p:nvPr/>
            </p:nvSpPr>
            <p:spPr>
              <a:xfrm>
                <a:off x="6148584" y="3466175"/>
                <a:ext cx="201000" cy="205200"/>
              </a:xfrm>
              <a:custGeom>
                <a:avLst/>
                <a:gdLst/>
                <a:ahLst/>
                <a:cxnLst/>
                <a:rect l="l" t="t" r="r" b="b"/>
                <a:pathLst>
                  <a:path w="120000" h="120000" fill="none" extrusionOk="0">
                    <a:moveTo>
                      <a:pt x="14" y="17752"/>
                    </a:moveTo>
                    <a:lnTo>
                      <a:pt x="44029" y="17752"/>
                    </a:lnTo>
                    <a:lnTo>
                      <a:pt x="44029" y="119985"/>
                    </a:lnTo>
                    <a:lnTo>
                      <a:pt x="75970" y="119985"/>
                    </a:lnTo>
                    <a:lnTo>
                      <a:pt x="75970" y="17752"/>
                    </a:lnTo>
                    <a:lnTo>
                      <a:pt x="120000" y="17752"/>
                    </a:lnTo>
                    <a:lnTo>
                      <a:pt x="120000" y="0"/>
                    </a:lnTo>
                    <a:lnTo>
                      <a:pt x="14" y="0"/>
                    </a:lnTo>
                    <a:lnTo>
                      <a:pt x="14" y="1775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9" name="Google Shape;31;p2">
                <a:extLst>
                  <a:ext uri="{FF2B5EF4-FFF2-40B4-BE49-F238E27FC236}">
                    <a16:creationId xmlns:a16="http://schemas.microsoft.com/office/drawing/2014/main" id="{7792CA71-FC4E-44BE-AC3B-ECBB24CAB781}"/>
                  </a:ext>
                </a:extLst>
              </p:cNvPr>
              <p:cNvSpPr/>
              <p:nvPr/>
            </p:nvSpPr>
            <p:spPr>
              <a:xfrm>
                <a:off x="6625710" y="3466175"/>
                <a:ext cx="219899" cy="205200"/>
              </a:xfrm>
              <a:custGeom>
                <a:avLst/>
                <a:gdLst/>
                <a:ahLst/>
                <a:cxnLst/>
                <a:rect l="l" t="t" r="r" b="b"/>
                <a:pathLst>
                  <a:path w="120000" h="120000" fill="none" extrusionOk="0">
                    <a:moveTo>
                      <a:pt x="89208" y="79425"/>
                    </a:moveTo>
                    <a:lnTo>
                      <a:pt x="89208" y="79425"/>
                    </a:lnTo>
                    <a:lnTo>
                      <a:pt x="85263" y="74355"/>
                    </a:lnTo>
                    <a:lnTo>
                      <a:pt x="85263" y="74355"/>
                    </a:lnTo>
                    <a:lnTo>
                      <a:pt x="81305" y="69299"/>
                    </a:lnTo>
                    <a:lnTo>
                      <a:pt x="77361" y="65910"/>
                    </a:lnTo>
                    <a:lnTo>
                      <a:pt x="77361" y="65910"/>
                    </a:lnTo>
                    <a:lnTo>
                      <a:pt x="85263" y="64229"/>
                    </a:lnTo>
                    <a:lnTo>
                      <a:pt x="91569" y="62535"/>
                    </a:lnTo>
                    <a:lnTo>
                      <a:pt x="97888" y="59159"/>
                    </a:lnTo>
                    <a:lnTo>
                      <a:pt x="101833" y="55770"/>
                    </a:lnTo>
                    <a:lnTo>
                      <a:pt x="105777" y="51547"/>
                    </a:lnTo>
                    <a:lnTo>
                      <a:pt x="108152" y="46477"/>
                    </a:lnTo>
                    <a:lnTo>
                      <a:pt x="109722" y="41407"/>
                    </a:lnTo>
                    <a:lnTo>
                      <a:pt x="110514" y="35490"/>
                    </a:lnTo>
                    <a:lnTo>
                      <a:pt x="110514" y="35490"/>
                    </a:lnTo>
                    <a:lnTo>
                      <a:pt x="109722" y="27044"/>
                    </a:lnTo>
                    <a:lnTo>
                      <a:pt x="107361" y="20280"/>
                    </a:lnTo>
                    <a:lnTo>
                      <a:pt x="103416" y="14362"/>
                    </a:lnTo>
                    <a:lnTo>
                      <a:pt x="98680" y="9292"/>
                    </a:lnTo>
                    <a:lnTo>
                      <a:pt x="91569" y="5070"/>
                    </a:lnTo>
                    <a:lnTo>
                      <a:pt x="83680" y="2542"/>
                    </a:lnTo>
                    <a:lnTo>
                      <a:pt x="74208" y="847"/>
                    </a:lnTo>
                    <a:lnTo>
                      <a:pt x="63152" y="0"/>
                    </a:lnTo>
                    <a:lnTo>
                      <a:pt x="13" y="0"/>
                    </a:lnTo>
                    <a:lnTo>
                      <a:pt x="13" y="4222"/>
                    </a:lnTo>
                    <a:lnTo>
                      <a:pt x="13" y="4222"/>
                    </a:lnTo>
                    <a:lnTo>
                      <a:pt x="3958" y="5070"/>
                    </a:lnTo>
                    <a:lnTo>
                      <a:pt x="7902" y="7612"/>
                    </a:lnTo>
                    <a:lnTo>
                      <a:pt x="7902" y="7612"/>
                    </a:lnTo>
                    <a:lnTo>
                      <a:pt x="10263" y="10140"/>
                    </a:lnTo>
                    <a:lnTo>
                      <a:pt x="11055" y="11834"/>
                    </a:lnTo>
                    <a:lnTo>
                      <a:pt x="11847" y="13529"/>
                    </a:lnTo>
                    <a:lnTo>
                      <a:pt x="11847" y="119985"/>
                    </a:lnTo>
                    <a:lnTo>
                      <a:pt x="41055" y="119985"/>
                    </a:lnTo>
                    <a:lnTo>
                      <a:pt x="41055" y="67605"/>
                    </a:lnTo>
                    <a:lnTo>
                      <a:pt x="41055" y="67605"/>
                    </a:lnTo>
                    <a:lnTo>
                      <a:pt x="47374" y="71827"/>
                    </a:lnTo>
                    <a:lnTo>
                      <a:pt x="53680" y="77745"/>
                    </a:lnTo>
                    <a:lnTo>
                      <a:pt x="53680" y="77745"/>
                    </a:lnTo>
                    <a:lnTo>
                      <a:pt x="63152" y="91260"/>
                    </a:lnTo>
                    <a:lnTo>
                      <a:pt x="85263" y="119985"/>
                    </a:lnTo>
                    <a:lnTo>
                      <a:pt x="119986" y="119985"/>
                    </a:lnTo>
                    <a:lnTo>
                      <a:pt x="93152" y="85342"/>
                    </a:lnTo>
                    <a:lnTo>
                      <a:pt x="89208" y="794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0" name="Google Shape;32;p2">
                <a:extLst>
                  <a:ext uri="{FF2B5EF4-FFF2-40B4-BE49-F238E27FC236}">
                    <a16:creationId xmlns:a16="http://schemas.microsoft.com/office/drawing/2014/main" id="{F220252A-7953-4484-9A85-4EC7CFC91BD0}"/>
                  </a:ext>
                </a:extLst>
              </p:cNvPr>
              <p:cNvSpPr/>
              <p:nvPr/>
            </p:nvSpPr>
            <p:spPr>
              <a:xfrm>
                <a:off x="6700885" y="3493650"/>
                <a:ext cx="73801" cy="72300"/>
              </a:xfrm>
              <a:custGeom>
                <a:avLst/>
                <a:gdLst/>
                <a:ahLst/>
                <a:cxnLst/>
                <a:rect l="l" t="t" r="r" b="b"/>
                <a:pathLst>
                  <a:path w="120000" h="120000" fill="none" extrusionOk="0">
                    <a:moveTo>
                      <a:pt x="28261" y="120000"/>
                    </a:moveTo>
                    <a:lnTo>
                      <a:pt x="28261" y="120000"/>
                    </a:lnTo>
                    <a:lnTo>
                      <a:pt x="40" y="117593"/>
                    </a:lnTo>
                    <a:lnTo>
                      <a:pt x="40" y="0"/>
                    </a:lnTo>
                    <a:lnTo>
                      <a:pt x="30620" y="0"/>
                    </a:lnTo>
                    <a:lnTo>
                      <a:pt x="30620" y="0"/>
                    </a:lnTo>
                    <a:lnTo>
                      <a:pt x="58841" y="0"/>
                    </a:lnTo>
                    <a:lnTo>
                      <a:pt x="79986" y="2406"/>
                    </a:lnTo>
                    <a:lnTo>
                      <a:pt x="79986" y="2406"/>
                    </a:lnTo>
                    <a:lnTo>
                      <a:pt x="96455" y="9585"/>
                    </a:lnTo>
                    <a:lnTo>
                      <a:pt x="103531" y="14398"/>
                    </a:lnTo>
                    <a:lnTo>
                      <a:pt x="110565" y="21618"/>
                    </a:lnTo>
                    <a:lnTo>
                      <a:pt x="112924" y="28796"/>
                    </a:lnTo>
                    <a:lnTo>
                      <a:pt x="117641" y="36016"/>
                    </a:lnTo>
                    <a:lnTo>
                      <a:pt x="119959" y="55186"/>
                    </a:lnTo>
                    <a:lnTo>
                      <a:pt x="119959" y="55186"/>
                    </a:lnTo>
                    <a:lnTo>
                      <a:pt x="117641" y="69585"/>
                    </a:lnTo>
                    <a:lnTo>
                      <a:pt x="112924" y="83983"/>
                    </a:lnTo>
                    <a:lnTo>
                      <a:pt x="105848" y="93609"/>
                    </a:lnTo>
                    <a:lnTo>
                      <a:pt x="96455" y="103195"/>
                    </a:lnTo>
                    <a:lnTo>
                      <a:pt x="84703" y="110373"/>
                    </a:lnTo>
                    <a:lnTo>
                      <a:pt x="68234" y="115186"/>
                    </a:lnTo>
                    <a:lnTo>
                      <a:pt x="49406" y="117593"/>
                    </a:lnTo>
                    <a:lnTo>
                      <a:pt x="28261" y="12000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1" name="Google Shape;33;p2">
                <a:extLst>
                  <a:ext uri="{FF2B5EF4-FFF2-40B4-BE49-F238E27FC236}">
                    <a16:creationId xmlns:a16="http://schemas.microsoft.com/office/drawing/2014/main" id="{C4E5C799-8572-4EE2-8D82-B2A51903A8D4}"/>
                  </a:ext>
                </a:extLst>
              </p:cNvPr>
              <p:cNvSpPr/>
              <p:nvPr/>
            </p:nvSpPr>
            <p:spPr>
              <a:xfrm>
                <a:off x="6874386" y="3463276"/>
                <a:ext cx="159001" cy="212400"/>
              </a:xfrm>
              <a:custGeom>
                <a:avLst/>
                <a:gdLst/>
                <a:ahLst/>
                <a:cxnLst/>
                <a:rect l="l" t="t" r="r" b="b"/>
                <a:pathLst>
                  <a:path w="120000" h="120000" fill="none" extrusionOk="0">
                    <a:moveTo>
                      <a:pt x="83998" y="52251"/>
                    </a:moveTo>
                    <a:lnTo>
                      <a:pt x="83998" y="52251"/>
                    </a:lnTo>
                    <a:lnTo>
                      <a:pt x="60009" y="41637"/>
                    </a:lnTo>
                    <a:lnTo>
                      <a:pt x="60009" y="41637"/>
                    </a:lnTo>
                    <a:lnTo>
                      <a:pt x="52371" y="36739"/>
                    </a:lnTo>
                    <a:lnTo>
                      <a:pt x="46921" y="33479"/>
                    </a:lnTo>
                    <a:lnTo>
                      <a:pt x="43639" y="30204"/>
                    </a:lnTo>
                    <a:lnTo>
                      <a:pt x="42545" y="27762"/>
                    </a:lnTo>
                    <a:lnTo>
                      <a:pt x="42545" y="27762"/>
                    </a:lnTo>
                    <a:lnTo>
                      <a:pt x="43639" y="24502"/>
                    </a:lnTo>
                    <a:lnTo>
                      <a:pt x="46921" y="21227"/>
                    </a:lnTo>
                    <a:lnTo>
                      <a:pt x="46921" y="21227"/>
                    </a:lnTo>
                    <a:lnTo>
                      <a:pt x="51277" y="19604"/>
                    </a:lnTo>
                    <a:lnTo>
                      <a:pt x="56727" y="17967"/>
                    </a:lnTo>
                    <a:lnTo>
                      <a:pt x="63272" y="17148"/>
                    </a:lnTo>
                    <a:lnTo>
                      <a:pt x="70909" y="16330"/>
                    </a:lnTo>
                    <a:lnTo>
                      <a:pt x="70909" y="16330"/>
                    </a:lnTo>
                    <a:lnTo>
                      <a:pt x="80716" y="17148"/>
                    </a:lnTo>
                    <a:lnTo>
                      <a:pt x="89448" y="18786"/>
                    </a:lnTo>
                    <a:lnTo>
                      <a:pt x="89448" y="18786"/>
                    </a:lnTo>
                    <a:lnTo>
                      <a:pt x="95992" y="20409"/>
                    </a:lnTo>
                    <a:lnTo>
                      <a:pt x="101442" y="22865"/>
                    </a:lnTo>
                    <a:lnTo>
                      <a:pt x="104724" y="26125"/>
                    </a:lnTo>
                    <a:lnTo>
                      <a:pt x="106892" y="29400"/>
                    </a:lnTo>
                    <a:lnTo>
                      <a:pt x="112362" y="29400"/>
                    </a:lnTo>
                    <a:lnTo>
                      <a:pt x="112362" y="4911"/>
                    </a:lnTo>
                    <a:lnTo>
                      <a:pt x="112362" y="4911"/>
                    </a:lnTo>
                    <a:lnTo>
                      <a:pt x="101442" y="2455"/>
                    </a:lnTo>
                    <a:lnTo>
                      <a:pt x="91636" y="818"/>
                    </a:lnTo>
                    <a:lnTo>
                      <a:pt x="80716" y="14"/>
                    </a:lnTo>
                    <a:lnTo>
                      <a:pt x="68722" y="14"/>
                    </a:lnTo>
                    <a:lnTo>
                      <a:pt x="68722" y="14"/>
                    </a:lnTo>
                    <a:lnTo>
                      <a:pt x="53465" y="818"/>
                    </a:lnTo>
                    <a:lnTo>
                      <a:pt x="39283" y="2455"/>
                    </a:lnTo>
                    <a:lnTo>
                      <a:pt x="28363" y="4911"/>
                    </a:lnTo>
                    <a:lnTo>
                      <a:pt x="18557" y="8990"/>
                    </a:lnTo>
                    <a:lnTo>
                      <a:pt x="18557" y="8990"/>
                    </a:lnTo>
                    <a:lnTo>
                      <a:pt x="10919" y="13069"/>
                    </a:lnTo>
                    <a:lnTo>
                      <a:pt x="5469" y="18786"/>
                    </a:lnTo>
                    <a:lnTo>
                      <a:pt x="2206" y="24502"/>
                    </a:lnTo>
                    <a:lnTo>
                      <a:pt x="1112" y="31023"/>
                    </a:lnTo>
                    <a:lnTo>
                      <a:pt x="1112" y="31023"/>
                    </a:lnTo>
                    <a:lnTo>
                      <a:pt x="2206" y="36739"/>
                    </a:lnTo>
                    <a:lnTo>
                      <a:pt x="4375" y="42455"/>
                    </a:lnTo>
                    <a:lnTo>
                      <a:pt x="8731" y="47353"/>
                    </a:lnTo>
                    <a:lnTo>
                      <a:pt x="15275" y="52251"/>
                    </a:lnTo>
                    <a:lnTo>
                      <a:pt x="15275" y="52251"/>
                    </a:lnTo>
                    <a:lnTo>
                      <a:pt x="25101" y="58786"/>
                    </a:lnTo>
                    <a:lnTo>
                      <a:pt x="41452" y="66944"/>
                    </a:lnTo>
                    <a:lnTo>
                      <a:pt x="41452" y="66944"/>
                    </a:lnTo>
                    <a:lnTo>
                      <a:pt x="63272" y="76739"/>
                    </a:lnTo>
                    <a:lnTo>
                      <a:pt x="63272" y="76739"/>
                    </a:lnTo>
                    <a:lnTo>
                      <a:pt x="69816" y="80818"/>
                    </a:lnTo>
                    <a:lnTo>
                      <a:pt x="74172" y="84897"/>
                    </a:lnTo>
                    <a:lnTo>
                      <a:pt x="76360" y="88158"/>
                    </a:lnTo>
                    <a:lnTo>
                      <a:pt x="77454" y="92251"/>
                    </a:lnTo>
                    <a:lnTo>
                      <a:pt x="77454" y="92251"/>
                    </a:lnTo>
                    <a:lnTo>
                      <a:pt x="76360" y="94693"/>
                    </a:lnTo>
                    <a:lnTo>
                      <a:pt x="75266" y="97148"/>
                    </a:lnTo>
                    <a:lnTo>
                      <a:pt x="72003" y="99590"/>
                    </a:lnTo>
                    <a:lnTo>
                      <a:pt x="68722" y="101227"/>
                    </a:lnTo>
                    <a:lnTo>
                      <a:pt x="68722" y="101227"/>
                    </a:lnTo>
                    <a:lnTo>
                      <a:pt x="61084" y="102851"/>
                    </a:lnTo>
                    <a:lnTo>
                      <a:pt x="52371" y="102851"/>
                    </a:lnTo>
                    <a:lnTo>
                      <a:pt x="52371" y="102851"/>
                    </a:lnTo>
                    <a:lnTo>
                      <a:pt x="38189" y="102851"/>
                    </a:lnTo>
                    <a:lnTo>
                      <a:pt x="25101" y="101227"/>
                    </a:lnTo>
                    <a:lnTo>
                      <a:pt x="12013" y="97953"/>
                    </a:lnTo>
                    <a:lnTo>
                      <a:pt x="18" y="93874"/>
                    </a:lnTo>
                    <a:lnTo>
                      <a:pt x="18" y="114283"/>
                    </a:lnTo>
                    <a:lnTo>
                      <a:pt x="18" y="114283"/>
                    </a:lnTo>
                    <a:lnTo>
                      <a:pt x="12013" y="116739"/>
                    </a:lnTo>
                    <a:lnTo>
                      <a:pt x="24007" y="118362"/>
                    </a:lnTo>
                    <a:lnTo>
                      <a:pt x="36001" y="119181"/>
                    </a:lnTo>
                    <a:lnTo>
                      <a:pt x="49090" y="120000"/>
                    </a:lnTo>
                    <a:lnTo>
                      <a:pt x="49090" y="120000"/>
                    </a:lnTo>
                    <a:lnTo>
                      <a:pt x="60009" y="119181"/>
                    </a:lnTo>
                    <a:lnTo>
                      <a:pt x="69816" y="118362"/>
                    </a:lnTo>
                    <a:lnTo>
                      <a:pt x="79641" y="117544"/>
                    </a:lnTo>
                    <a:lnTo>
                      <a:pt x="87260" y="115102"/>
                    </a:lnTo>
                    <a:lnTo>
                      <a:pt x="87260" y="115102"/>
                    </a:lnTo>
                    <a:lnTo>
                      <a:pt x="94898" y="112646"/>
                    </a:lnTo>
                    <a:lnTo>
                      <a:pt x="101442" y="110204"/>
                    </a:lnTo>
                    <a:lnTo>
                      <a:pt x="106892" y="106944"/>
                    </a:lnTo>
                    <a:lnTo>
                      <a:pt x="112362" y="103669"/>
                    </a:lnTo>
                    <a:lnTo>
                      <a:pt x="115624" y="99590"/>
                    </a:lnTo>
                    <a:lnTo>
                      <a:pt x="117812" y="95511"/>
                    </a:lnTo>
                    <a:lnTo>
                      <a:pt x="119981" y="90613"/>
                    </a:lnTo>
                    <a:lnTo>
                      <a:pt x="119981" y="85716"/>
                    </a:lnTo>
                    <a:lnTo>
                      <a:pt x="119981" y="85716"/>
                    </a:lnTo>
                    <a:lnTo>
                      <a:pt x="118906" y="81637"/>
                    </a:lnTo>
                    <a:lnTo>
                      <a:pt x="117812" y="77558"/>
                    </a:lnTo>
                    <a:lnTo>
                      <a:pt x="114530" y="73465"/>
                    </a:lnTo>
                    <a:lnTo>
                      <a:pt x="111268" y="69386"/>
                    </a:lnTo>
                    <a:lnTo>
                      <a:pt x="105818" y="64488"/>
                    </a:lnTo>
                    <a:lnTo>
                      <a:pt x="100348" y="60409"/>
                    </a:lnTo>
                    <a:lnTo>
                      <a:pt x="92729" y="56330"/>
                    </a:lnTo>
                    <a:lnTo>
                      <a:pt x="83998"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2" name="Google Shape;34;p2">
                <a:extLst>
                  <a:ext uri="{FF2B5EF4-FFF2-40B4-BE49-F238E27FC236}">
                    <a16:creationId xmlns:a16="http://schemas.microsoft.com/office/drawing/2014/main" id="{A9702707-CB55-432F-ABC4-190C226977C5}"/>
                  </a:ext>
                </a:extLst>
              </p:cNvPr>
              <p:cNvSpPr/>
              <p:nvPr/>
            </p:nvSpPr>
            <p:spPr>
              <a:xfrm>
                <a:off x="6362585" y="3461826"/>
                <a:ext cx="240001" cy="216899"/>
              </a:xfrm>
              <a:custGeom>
                <a:avLst/>
                <a:gdLst/>
                <a:ahLst/>
                <a:cxnLst/>
                <a:rect l="l" t="t" r="r" b="b"/>
                <a:pathLst>
                  <a:path w="120000" h="120000" fill="none" extrusionOk="0">
                    <a:moveTo>
                      <a:pt x="59993" y="13"/>
                    </a:moveTo>
                    <a:lnTo>
                      <a:pt x="59993" y="13"/>
                    </a:lnTo>
                    <a:lnTo>
                      <a:pt x="53494" y="13"/>
                    </a:lnTo>
                    <a:lnTo>
                      <a:pt x="46982" y="816"/>
                    </a:lnTo>
                    <a:lnTo>
                      <a:pt x="40483" y="2406"/>
                    </a:lnTo>
                    <a:lnTo>
                      <a:pt x="35421" y="4813"/>
                    </a:lnTo>
                    <a:lnTo>
                      <a:pt x="29634" y="7206"/>
                    </a:lnTo>
                    <a:lnTo>
                      <a:pt x="24572" y="10414"/>
                    </a:lnTo>
                    <a:lnTo>
                      <a:pt x="20235" y="13609"/>
                    </a:lnTo>
                    <a:lnTo>
                      <a:pt x="16623" y="17607"/>
                    </a:lnTo>
                    <a:lnTo>
                      <a:pt x="13011" y="21604"/>
                    </a:lnTo>
                    <a:lnTo>
                      <a:pt x="9399" y="26403"/>
                    </a:lnTo>
                    <a:lnTo>
                      <a:pt x="6511" y="31203"/>
                    </a:lnTo>
                    <a:lnTo>
                      <a:pt x="4337" y="36804"/>
                    </a:lnTo>
                    <a:lnTo>
                      <a:pt x="2887" y="41604"/>
                    </a:lnTo>
                    <a:lnTo>
                      <a:pt x="1449" y="48008"/>
                    </a:lnTo>
                    <a:lnTo>
                      <a:pt x="724" y="53609"/>
                    </a:lnTo>
                    <a:lnTo>
                      <a:pt x="0" y="60000"/>
                    </a:lnTo>
                    <a:lnTo>
                      <a:pt x="0" y="60000"/>
                    </a:lnTo>
                    <a:lnTo>
                      <a:pt x="724" y="65601"/>
                    </a:lnTo>
                    <a:lnTo>
                      <a:pt x="1449" y="72005"/>
                    </a:lnTo>
                    <a:lnTo>
                      <a:pt x="2887" y="77593"/>
                    </a:lnTo>
                    <a:lnTo>
                      <a:pt x="4337" y="83195"/>
                    </a:lnTo>
                    <a:lnTo>
                      <a:pt x="6511" y="88796"/>
                    </a:lnTo>
                    <a:lnTo>
                      <a:pt x="9399" y="93596"/>
                    </a:lnTo>
                    <a:lnTo>
                      <a:pt x="13011" y="98395"/>
                    </a:lnTo>
                    <a:lnTo>
                      <a:pt x="16623" y="102392"/>
                    </a:lnTo>
                    <a:lnTo>
                      <a:pt x="20235" y="106390"/>
                    </a:lnTo>
                    <a:lnTo>
                      <a:pt x="24572" y="109598"/>
                    </a:lnTo>
                    <a:lnTo>
                      <a:pt x="29634" y="112793"/>
                    </a:lnTo>
                    <a:lnTo>
                      <a:pt x="35421" y="115200"/>
                    </a:lnTo>
                    <a:lnTo>
                      <a:pt x="40483" y="116791"/>
                    </a:lnTo>
                    <a:lnTo>
                      <a:pt x="46982" y="118395"/>
                    </a:lnTo>
                    <a:lnTo>
                      <a:pt x="53494" y="119197"/>
                    </a:lnTo>
                    <a:lnTo>
                      <a:pt x="59993" y="120000"/>
                    </a:lnTo>
                    <a:lnTo>
                      <a:pt x="59993" y="120000"/>
                    </a:lnTo>
                    <a:lnTo>
                      <a:pt x="67230" y="119197"/>
                    </a:lnTo>
                    <a:lnTo>
                      <a:pt x="73004" y="118395"/>
                    </a:lnTo>
                    <a:lnTo>
                      <a:pt x="79516" y="116791"/>
                    </a:lnTo>
                    <a:lnTo>
                      <a:pt x="85291" y="115200"/>
                    </a:lnTo>
                    <a:lnTo>
                      <a:pt x="90353" y="112793"/>
                    </a:lnTo>
                    <a:lnTo>
                      <a:pt x="95415" y="109598"/>
                    </a:lnTo>
                    <a:lnTo>
                      <a:pt x="99752" y="106390"/>
                    </a:lnTo>
                    <a:lnTo>
                      <a:pt x="104089" y="102392"/>
                    </a:lnTo>
                    <a:lnTo>
                      <a:pt x="107701" y="98395"/>
                    </a:lnTo>
                    <a:lnTo>
                      <a:pt x="110600" y="93596"/>
                    </a:lnTo>
                    <a:lnTo>
                      <a:pt x="113488" y="88796"/>
                    </a:lnTo>
                    <a:lnTo>
                      <a:pt x="115650" y="83195"/>
                    </a:lnTo>
                    <a:lnTo>
                      <a:pt x="117825" y="77593"/>
                    </a:lnTo>
                    <a:lnTo>
                      <a:pt x="118550" y="72005"/>
                    </a:lnTo>
                    <a:lnTo>
                      <a:pt x="119987" y="65601"/>
                    </a:lnTo>
                    <a:lnTo>
                      <a:pt x="119987" y="60000"/>
                    </a:lnTo>
                    <a:lnTo>
                      <a:pt x="119987" y="60000"/>
                    </a:lnTo>
                    <a:lnTo>
                      <a:pt x="119987" y="53609"/>
                    </a:lnTo>
                    <a:lnTo>
                      <a:pt x="118550" y="48008"/>
                    </a:lnTo>
                    <a:lnTo>
                      <a:pt x="117825" y="41604"/>
                    </a:lnTo>
                    <a:lnTo>
                      <a:pt x="115650" y="36804"/>
                    </a:lnTo>
                    <a:lnTo>
                      <a:pt x="113488" y="31203"/>
                    </a:lnTo>
                    <a:lnTo>
                      <a:pt x="110600" y="26403"/>
                    </a:lnTo>
                    <a:lnTo>
                      <a:pt x="107701" y="21604"/>
                    </a:lnTo>
                    <a:lnTo>
                      <a:pt x="104089" y="17607"/>
                    </a:lnTo>
                    <a:lnTo>
                      <a:pt x="99752" y="13609"/>
                    </a:lnTo>
                    <a:lnTo>
                      <a:pt x="95415" y="10414"/>
                    </a:lnTo>
                    <a:lnTo>
                      <a:pt x="90353" y="7206"/>
                    </a:lnTo>
                    <a:lnTo>
                      <a:pt x="85291" y="4813"/>
                    </a:lnTo>
                    <a:lnTo>
                      <a:pt x="79516" y="2406"/>
                    </a:lnTo>
                    <a:lnTo>
                      <a:pt x="73004" y="816"/>
                    </a:lnTo>
                    <a:lnTo>
                      <a:pt x="67230" y="13"/>
                    </a:lnTo>
                    <a:lnTo>
                      <a:pt x="59993" y="13"/>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3" name="Google Shape;35;p2">
                <a:extLst>
                  <a:ext uri="{FF2B5EF4-FFF2-40B4-BE49-F238E27FC236}">
                    <a16:creationId xmlns:a16="http://schemas.microsoft.com/office/drawing/2014/main" id="{AAC025AD-E88C-42C2-A1D7-336EEDE4B7E5}"/>
                  </a:ext>
                </a:extLst>
              </p:cNvPr>
              <p:cNvSpPr/>
              <p:nvPr/>
            </p:nvSpPr>
            <p:spPr>
              <a:xfrm>
                <a:off x="6418959" y="3493650"/>
                <a:ext cx="127201" cy="153301"/>
              </a:xfrm>
              <a:custGeom>
                <a:avLst/>
                <a:gdLst/>
                <a:ahLst/>
                <a:cxnLst/>
                <a:rect l="l" t="t" r="r" b="b"/>
                <a:pathLst>
                  <a:path w="120000" h="120000" fill="none" extrusionOk="0">
                    <a:moveTo>
                      <a:pt x="60000" y="119980"/>
                    </a:moveTo>
                    <a:lnTo>
                      <a:pt x="60000" y="119980"/>
                    </a:lnTo>
                    <a:lnTo>
                      <a:pt x="46373" y="118845"/>
                    </a:lnTo>
                    <a:lnTo>
                      <a:pt x="34090" y="116594"/>
                    </a:lnTo>
                    <a:lnTo>
                      <a:pt x="24565" y="112053"/>
                    </a:lnTo>
                    <a:lnTo>
                      <a:pt x="16385" y="105261"/>
                    </a:lnTo>
                    <a:lnTo>
                      <a:pt x="9548" y="97354"/>
                    </a:lnTo>
                    <a:lnTo>
                      <a:pt x="4102" y="87157"/>
                    </a:lnTo>
                    <a:lnTo>
                      <a:pt x="1367" y="74708"/>
                    </a:lnTo>
                    <a:lnTo>
                      <a:pt x="23" y="59990"/>
                    </a:lnTo>
                    <a:lnTo>
                      <a:pt x="23" y="59990"/>
                    </a:lnTo>
                    <a:lnTo>
                      <a:pt x="1367" y="45271"/>
                    </a:lnTo>
                    <a:lnTo>
                      <a:pt x="4102" y="32823"/>
                    </a:lnTo>
                    <a:lnTo>
                      <a:pt x="9548" y="22645"/>
                    </a:lnTo>
                    <a:lnTo>
                      <a:pt x="16385" y="13583"/>
                    </a:lnTo>
                    <a:lnTo>
                      <a:pt x="24565" y="7926"/>
                    </a:lnTo>
                    <a:lnTo>
                      <a:pt x="34090" y="3405"/>
                    </a:lnTo>
                    <a:lnTo>
                      <a:pt x="46373" y="1135"/>
                    </a:lnTo>
                    <a:lnTo>
                      <a:pt x="60000" y="0"/>
                    </a:lnTo>
                    <a:lnTo>
                      <a:pt x="60000" y="0"/>
                    </a:lnTo>
                    <a:lnTo>
                      <a:pt x="73650" y="1135"/>
                    </a:lnTo>
                    <a:lnTo>
                      <a:pt x="85909" y="3405"/>
                    </a:lnTo>
                    <a:lnTo>
                      <a:pt x="96825" y="7926"/>
                    </a:lnTo>
                    <a:lnTo>
                      <a:pt x="105005" y="13583"/>
                    </a:lnTo>
                    <a:lnTo>
                      <a:pt x="111819" y="22645"/>
                    </a:lnTo>
                    <a:lnTo>
                      <a:pt x="115897" y="32823"/>
                    </a:lnTo>
                    <a:lnTo>
                      <a:pt x="120000" y="45271"/>
                    </a:lnTo>
                    <a:lnTo>
                      <a:pt x="120000" y="59990"/>
                    </a:lnTo>
                    <a:lnTo>
                      <a:pt x="120000" y="59990"/>
                    </a:lnTo>
                    <a:lnTo>
                      <a:pt x="120000" y="74708"/>
                    </a:lnTo>
                    <a:lnTo>
                      <a:pt x="115897" y="87157"/>
                    </a:lnTo>
                    <a:lnTo>
                      <a:pt x="111819" y="97354"/>
                    </a:lnTo>
                    <a:lnTo>
                      <a:pt x="105005" y="105261"/>
                    </a:lnTo>
                    <a:lnTo>
                      <a:pt x="96825" y="112053"/>
                    </a:lnTo>
                    <a:lnTo>
                      <a:pt x="85909" y="116594"/>
                    </a:lnTo>
                    <a:lnTo>
                      <a:pt x="73650" y="118845"/>
                    </a:lnTo>
                    <a:lnTo>
                      <a:pt x="60000" y="11998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4" name="Google Shape;36;p2">
                <a:extLst>
                  <a:ext uri="{FF2B5EF4-FFF2-40B4-BE49-F238E27FC236}">
                    <a16:creationId xmlns:a16="http://schemas.microsoft.com/office/drawing/2014/main" id="{19354DBE-A7C5-4721-8AB2-1A2A4B56C207}"/>
                  </a:ext>
                </a:extLst>
              </p:cNvPr>
              <p:cNvSpPr/>
              <p:nvPr/>
            </p:nvSpPr>
            <p:spPr>
              <a:xfrm>
                <a:off x="5123508" y="2991950"/>
                <a:ext cx="1876804" cy="365701"/>
              </a:xfrm>
              <a:custGeom>
                <a:avLst/>
                <a:gdLst/>
                <a:ahLst/>
                <a:cxnLst/>
                <a:rect l="l" t="t" r="r" b="b"/>
                <a:pathLst>
                  <a:path w="120000" h="120000" extrusionOk="0">
                    <a:moveTo>
                      <a:pt x="13128" y="25136"/>
                    </a:moveTo>
                    <a:lnTo>
                      <a:pt x="16733" y="72096"/>
                    </a:lnTo>
                    <a:lnTo>
                      <a:pt x="9060" y="72096"/>
                    </a:lnTo>
                    <a:lnTo>
                      <a:pt x="13128" y="25136"/>
                    </a:lnTo>
                    <a:close/>
                    <a:moveTo>
                      <a:pt x="106316" y="25136"/>
                    </a:moveTo>
                    <a:lnTo>
                      <a:pt x="109922" y="72096"/>
                    </a:lnTo>
                    <a:lnTo>
                      <a:pt x="102248" y="72096"/>
                    </a:lnTo>
                    <a:lnTo>
                      <a:pt x="106316" y="25136"/>
                    </a:lnTo>
                    <a:close/>
                    <a:moveTo>
                      <a:pt x="7489" y="0"/>
                    </a:moveTo>
                    <a:lnTo>
                      <a:pt x="7489" y="3797"/>
                    </a:lnTo>
                    <a:lnTo>
                      <a:pt x="8136" y="4748"/>
                    </a:lnTo>
                    <a:lnTo>
                      <a:pt x="8505" y="5691"/>
                    </a:lnTo>
                    <a:lnTo>
                      <a:pt x="8876" y="6642"/>
                    </a:lnTo>
                    <a:lnTo>
                      <a:pt x="9153" y="8069"/>
                    </a:lnTo>
                    <a:lnTo>
                      <a:pt x="9338" y="9488"/>
                    </a:lnTo>
                    <a:lnTo>
                      <a:pt x="9338" y="11858"/>
                    </a:lnTo>
                    <a:lnTo>
                      <a:pt x="9153" y="14229"/>
                    </a:lnTo>
                    <a:lnTo>
                      <a:pt x="1" y="120000"/>
                    </a:lnTo>
                    <a:lnTo>
                      <a:pt x="4808" y="120000"/>
                    </a:lnTo>
                    <a:lnTo>
                      <a:pt x="7767" y="86801"/>
                    </a:lnTo>
                    <a:lnTo>
                      <a:pt x="17935" y="86801"/>
                    </a:lnTo>
                    <a:lnTo>
                      <a:pt x="20432" y="120000"/>
                    </a:lnTo>
                    <a:lnTo>
                      <a:pt x="26810" y="120000"/>
                    </a:lnTo>
                    <a:lnTo>
                      <a:pt x="17659" y="0"/>
                    </a:lnTo>
                    <a:close/>
                    <a:moveTo>
                      <a:pt x="24777" y="0"/>
                    </a:moveTo>
                    <a:lnTo>
                      <a:pt x="24777" y="3797"/>
                    </a:lnTo>
                    <a:lnTo>
                      <a:pt x="25517" y="4748"/>
                    </a:lnTo>
                    <a:lnTo>
                      <a:pt x="26256" y="6642"/>
                    </a:lnTo>
                    <a:lnTo>
                      <a:pt x="26627" y="7594"/>
                    </a:lnTo>
                    <a:lnTo>
                      <a:pt x="26903" y="9488"/>
                    </a:lnTo>
                    <a:lnTo>
                      <a:pt x="27180" y="11383"/>
                    </a:lnTo>
                    <a:lnTo>
                      <a:pt x="27365" y="13761"/>
                    </a:lnTo>
                    <a:lnTo>
                      <a:pt x="35593" y="120000"/>
                    </a:lnTo>
                    <a:lnTo>
                      <a:pt x="42249" y="120000"/>
                    </a:lnTo>
                    <a:lnTo>
                      <a:pt x="51957" y="0"/>
                    </a:lnTo>
                    <a:lnTo>
                      <a:pt x="47334" y="0"/>
                    </a:lnTo>
                    <a:lnTo>
                      <a:pt x="40216" y="87744"/>
                    </a:lnTo>
                    <a:lnTo>
                      <a:pt x="33374" y="0"/>
                    </a:lnTo>
                    <a:close/>
                    <a:moveTo>
                      <a:pt x="55285" y="0"/>
                    </a:moveTo>
                    <a:lnTo>
                      <a:pt x="55285" y="3797"/>
                    </a:lnTo>
                    <a:lnTo>
                      <a:pt x="55840" y="4748"/>
                    </a:lnTo>
                    <a:lnTo>
                      <a:pt x="56671" y="6167"/>
                    </a:lnTo>
                    <a:lnTo>
                      <a:pt x="57041" y="7594"/>
                    </a:lnTo>
                    <a:lnTo>
                      <a:pt x="57319" y="9488"/>
                    </a:lnTo>
                    <a:lnTo>
                      <a:pt x="57504" y="11383"/>
                    </a:lnTo>
                    <a:lnTo>
                      <a:pt x="57595" y="13761"/>
                    </a:lnTo>
                    <a:lnTo>
                      <a:pt x="57595" y="120000"/>
                    </a:lnTo>
                    <a:lnTo>
                      <a:pt x="63790" y="120000"/>
                    </a:lnTo>
                    <a:lnTo>
                      <a:pt x="63790" y="0"/>
                    </a:lnTo>
                    <a:close/>
                    <a:moveTo>
                      <a:pt x="67396" y="0"/>
                    </a:moveTo>
                    <a:lnTo>
                      <a:pt x="67396" y="3797"/>
                    </a:lnTo>
                    <a:lnTo>
                      <a:pt x="68227" y="4748"/>
                    </a:lnTo>
                    <a:lnTo>
                      <a:pt x="68967" y="6642"/>
                    </a:lnTo>
                    <a:lnTo>
                      <a:pt x="69244" y="7594"/>
                    </a:lnTo>
                    <a:lnTo>
                      <a:pt x="69615" y="9488"/>
                    </a:lnTo>
                    <a:lnTo>
                      <a:pt x="69799" y="11383"/>
                    </a:lnTo>
                    <a:lnTo>
                      <a:pt x="70077" y="13761"/>
                    </a:lnTo>
                    <a:lnTo>
                      <a:pt x="78305" y="120000"/>
                    </a:lnTo>
                    <a:lnTo>
                      <a:pt x="84868" y="120000"/>
                    </a:lnTo>
                    <a:lnTo>
                      <a:pt x="94575" y="0"/>
                    </a:lnTo>
                    <a:lnTo>
                      <a:pt x="90046" y="0"/>
                    </a:lnTo>
                    <a:lnTo>
                      <a:pt x="82835" y="87744"/>
                    </a:lnTo>
                    <a:lnTo>
                      <a:pt x="76086" y="0"/>
                    </a:lnTo>
                    <a:close/>
                    <a:moveTo>
                      <a:pt x="100676" y="0"/>
                    </a:moveTo>
                    <a:lnTo>
                      <a:pt x="100676" y="3797"/>
                    </a:lnTo>
                    <a:lnTo>
                      <a:pt x="101324" y="4748"/>
                    </a:lnTo>
                    <a:lnTo>
                      <a:pt x="101693" y="5691"/>
                    </a:lnTo>
                    <a:lnTo>
                      <a:pt x="102064" y="6642"/>
                    </a:lnTo>
                    <a:lnTo>
                      <a:pt x="102340" y="8069"/>
                    </a:lnTo>
                    <a:lnTo>
                      <a:pt x="102433" y="9488"/>
                    </a:lnTo>
                    <a:lnTo>
                      <a:pt x="102526" y="11858"/>
                    </a:lnTo>
                    <a:lnTo>
                      <a:pt x="102340" y="14229"/>
                    </a:lnTo>
                    <a:lnTo>
                      <a:pt x="93189" y="120000"/>
                    </a:lnTo>
                    <a:lnTo>
                      <a:pt x="97995" y="120000"/>
                    </a:lnTo>
                    <a:lnTo>
                      <a:pt x="100862" y="86801"/>
                    </a:lnTo>
                    <a:lnTo>
                      <a:pt x="111032" y="86801"/>
                    </a:lnTo>
                    <a:lnTo>
                      <a:pt x="113620" y="120000"/>
                    </a:lnTo>
                    <a:lnTo>
                      <a:pt x="119998" y="120000"/>
                    </a:lnTo>
                    <a:lnTo>
                      <a:pt x="110846"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5" name="Google Shape;37;p2">
                <a:extLst>
                  <a:ext uri="{FF2B5EF4-FFF2-40B4-BE49-F238E27FC236}">
                    <a16:creationId xmlns:a16="http://schemas.microsoft.com/office/drawing/2014/main" id="{6B51FD31-4FC8-4B74-8D7A-CD3EF641A0C9}"/>
                  </a:ext>
                </a:extLst>
              </p:cNvPr>
              <p:cNvSpPr/>
              <p:nvPr/>
            </p:nvSpPr>
            <p:spPr>
              <a:xfrm>
                <a:off x="6196309" y="2036275"/>
                <a:ext cx="130200" cy="669299"/>
              </a:xfrm>
              <a:custGeom>
                <a:avLst/>
                <a:gdLst/>
                <a:ahLst/>
                <a:cxnLst/>
                <a:rect l="l" t="t" r="r" b="b"/>
                <a:pathLst>
                  <a:path w="120000" h="120000" extrusionOk="0">
                    <a:moveTo>
                      <a:pt x="60000" y="0"/>
                    </a:moveTo>
                    <a:lnTo>
                      <a:pt x="0" y="120000"/>
                    </a:lnTo>
                    <a:lnTo>
                      <a:pt x="60000" y="118700"/>
                    </a:lnTo>
                    <a:lnTo>
                      <a:pt x="119976" y="117925"/>
                    </a:lnTo>
                    <a:lnTo>
                      <a:pt x="60000" y="0"/>
                    </a:lnTo>
                    <a:close/>
                  </a:path>
                </a:pathLst>
              </a:custGeom>
              <a:solidFill>
                <a:srgbClr val="FFDD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6" name="Google Shape;38;p2">
                <a:extLst>
                  <a:ext uri="{FF2B5EF4-FFF2-40B4-BE49-F238E27FC236}">
                    <a16:creationId xmlns:a16="http://schemas.microsoft.com/office/drawing/2014/main" id="{550097EA-8FC2-414F-896E-16D6E189F445}"/>
                  </a:ext>
                </a:extLst>
              </p:cNvPr>
              <p:cNvSpPr/>
              <p:nvPr/>
            </p:nvSpPr>
            <p:spPr>
              <a:xfrm>
                <a:off x="6196309" y="2036275"/>
                <a:ext cx="130200" cy="669299"/>
              </a:xfrm>
              <a:custGeom>
                <a:avLst/>
                <a:gdLst/>
                <a:ahLst/>
                <a:cxnLst/>
                <a:rect l="l" t="t" r="r" b="b"/>
                <a:pathLst>
                  <a:path w="120000" h="120000" fill="none" extrusionOk="0">
                    <a:moveTo>
                      <a:pt x="119976" y="117925"/>
                    </a:moveTo>
                    <a:lnTo>
                      <a:pt x="60000" y="0"/>
                    </a:lnTo>
                    <a:lnTo>
                      <a:pt x="0" y="120000"/>
                    </a:lnTo>
                    <a:lnTo>
                      <a:pt x="0" y="120000"/>
                    </a:lnTo>
                    <a:lnTo>
                      <a:pt x="60000" y="118700"/>
                    </a:lnTo>
                    <a:lnTo>
                      <a:pt x="119976" y="1179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7" name="Google Shape;39;p2">
                <a:extLst>
                  <a:ext uri="{FF2B5EF4-FFF2-40B4-BE49-F238E27FC236}">
                    <a16:creationId xmlns:a16="http://schemas.microsoft.com/office/drawing/2014/main" id="{156F7792-6486-4EC4-9479-87093F7CB9B3}"/>
                  </a:ext>
                </a:extLst>
              </p:cNvPr>
              <p:cNvSpPr/>
              <p:nvPr/>
            </p:nvSpPr>
            <p:spPr>
              <a:xfrm>
                <a:off x="6261356" y="2036275"/>
                <a:ext cx="221101" cy="657900"/>
              </a:xfrm>
              <a:custGeom>
                <a:avLst/>
                <a:gdLst/>
                <a:ahLst/>
                <a:cxnLst/>
                <a:rect l="l" t="t" r="r" b="b"/>
                <a:pathLst>
                  <a:path w="120000" h="120000" extrusionOk="0">
                    <a:moveTo>
                      <a:pt x="13" y="0"/>
                    </a:moveTo>
                    <a:lnTo>
                      <a:pt x="35294" y="120000"/>
                    </a:lnTo>
                    <a:lnTo>
                      <a:pt x="76854" y="119471"/>
                    </a:lnTo>
                    <a:lnTo>
                      <a:pt x="119986" y="119206"/>
                    </a:lnTo>
                    <a:lnTo>
                      <a:pt x="119986" y="0"/>
                    </a:lnTo>
                    <a:close/>
                  </a:path>
                </a:pathLst>
              </a:custGeom>
              <a:solidFill>
                <a:srgbClr val="5EB62D"/>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8" name="Google Shape;40;p2">
                <a:extLst>
                  <a:ext uri="{FF2B5EF4-FFF2-40B4-BE49-F238E27FC236}">
                    <a16:creationId xmlns:a16="http://schemas.microsoft.com/office/drawing/2014/main" id="{67E847C1-A979-4E89-AA13-C9368F8A252E}"/>
                  </a:ext>
                </a:extLst>
              </p:cNvPr>
              <p:cNvSpPr/>
              <p:nvPr/>
            </p:nvSpPr>
            <p:spPr>
              <a:xfrm>
                <a:off x="6261350" y="2036275"/>
                <a:ext cx="221101" cy="657900"/>
              </a:xfrm>
              <a:custGeom>
                <a:avLst/>
                <a:gdLst/>
                <a:ahLst/>
                <a:cxnLst/>
                <a:rect l="l" t="t" r="r" b="b"/>
                <a:pathLst>
                  <a:path w="120000" h="120000" fill="none" extrusionOk="0">
                    <a:moveTo>
                      <a:pt x="119986" y="119206"/>
                    </a:moveTo>
                    <a:lnTo>
                      <a:pt x="119986" y="0"/>
                    </a:lnTo>
                    <a:lnTo>
                      <a:pt x="13" y="0"/>
                    </a:lnTo>
                    <a:lnTo>
                      <a:pt x="13" y="0"/>
                    </a:lnTo>
                    <a:lnTo>
                      <a:pt x="35294" y="120000"/>
                    </a:lnTo>
                    <a:lnTo>
                      <a:pt x="35294" y="120000"/>
                    </a:lnTo>
                    <a:lnTo>
                      <a:pt x="76854" y="119471"/>
                    </a:lnTo>
                    <a:lnTo>
                      <a:pt x="119986" y="11920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9" name="Google Shape;41;p2">
                <a:extLst>
                  <a:ext uri="{FF2B5EF4-FFF2-40B4-BE49-F238E27FC236}">
                    <a16:creationId xmlns:a16="http://schemas.microsoft.com/office/drawing/2014/main" id="{F41F581A-E824-4428-BDDF-AD18487B3808}"/>
                  </a:ext>
                </a:extLst>
              </p:cNvPr>
              <p:cNvSpPr/>
              <p:nvPr/>
            </p:nvSpPr>
            <p:spPr>
              <a:xfrm>
                <a:off x="5685926" y="2036275"/>
                <a:ext cx="575399" cy="795300"/>
              </a:xfrm>
              <a:custGeom>
                <a:avLst/>
                <a:gdLst/>
                <a:ahLst/>
                <a:cxnLst/>
                <a:rect l="l" t="t" r="r" b="b"/>
                <a:pathLst>
                  <a:path w="120000" h="120000" extrusionOk="0">
                    <a:moveTo>
                      <a:pt x="5" y="0"/>
                    </a:move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lnTo>
                      <a:pt x="120000"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0" name="Google Shape;42;p2">
                <a:extLst>
                  <a:ext uri="{FF2B5EF4-FFF2-40B4-BE49-F238E27FC236}">
                    <a16:creationId xmlns:a16="http://schemas.microsoft.com/office/drawing/2014/main" id="{509D6B94-69BA-40C9-AAE1-56D60B32B727}"/>
                  </a:ext>
                </a:extLst>
              </p:cNvPr>
              <p:cNvSpPr/>
              <p:nvPr/>
            </p:nvSpPr>
            <p:spPr>
              <a:xfrm>
                <a:off x="5685926" y="2036275"/>
                <a:ext cx="575399" cy="795300"/>
              </a:xfrm>
              <a:custGeom>
                <a:avLst/>
                <a:gdLst/>
                <a:ahLst/>
                <a:cxnLst/>
                <a:rect l="l" t="t" r="r" b="b"/>
                <a:pathLst>
                  <a:path w="120000" h="120000" fill="none" extrusionOk="0">
                    <a:moveTo>
                      <a:pt x="106429" y="101016"/>
                    </a:moveTo>
                    <a:lnTo>
                      <a:pt x="120000" y="0"/>
                    </a:lnTo>
                    <a:lnTo>
                      <a:pt x="120000" y="0"/>
                    </a:lnTo>
                    <a:lnTo>
                      <a:pt x="5" y="0"/>
                    </a:lnTo>
                    <a:lnTo>
                      <a:pt x="5" y="119996"/>
                    </a:ln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04118167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494AC0B-3490-4D7D-968F-B85262E1E306}"/>
              </a:ext>
            </a:extLst>
          </p:cNvPr>
          <p:cNvSpPr/>
          <p:nvPr userDrawn="1"/>
        </p:nvSpPr>
        <p:spPr>
          <a:xfrm>
            <a:off x="0" y="0"/>
            <a:ext cx="6096000" cy="685800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7E531C1-639E-4F49-BD67-5DBFB3C87BC7}"/>
              </a:ext>
            </a:extLst>
          </p:cNvPr>
          <p:cNvSpPr>
            <a:spLocks noGrp="1"/>
          </p:cNvSpPr>
          <p:nvPr>
            <p:ph type="ctrTitle"/>
          </p:nvPr>
        </p:nvSpPr>
        <p:spPr>
          <a:xfrm>
            <a:off x="1095930" y="1999047"/>
            <a:ext cx="4572000" cy="2263671"/>
          </a:xfrm>
        </p:spPr>
        <p:txBody>
          <a:bodyPr anchor="b" anchorCtr="0"/>
          <a:lstStyle>
            <a:lvl1pPr marL="0" marR="0" indent="0" algn="l" defTabSz="914400" rtl="0" eaLnBrk="1" fontAlgn="auto" latinLnBrk="0" hangingPunct="1">
              <a:lnSpc>
                <a:spcPct val="90000"/>
              </a:lnSpc>
              <a:spcBef>
                <a:spcPct val="0"/>
              </a:spcBef>
              <a:spcAft>
                <a:spcPts val="0"/>
              </a:spcAft>
              <a:buClrTx/>
              <a:buSzTx/>
              <a:buFontTx/>
              <a:buNone/>
              <a:tabLst/>
              <a:defRPr sz="3800">
                <a:solidFill>
                  <a:schemeClr val="bg1"/>
                </a:solidFill>
              </a:defRPr>
            </a:lvl1pPr>
            <a:lvl2pPr>
              <a:lnSpc>
                <a:spcPct val="90000"/>
              </a:lnSpc>
              <a:defRPr sz="3800" b="1">
                <a:solidFill>
                  <a:schemeClr val="bg1"/>
                </a:solidFill>
                <a:latin typeface="+mj-lt"/>
              </a:defRPr>
            </a:lvl2pPr>
            <a:lvl3pPr marL="0" marR="0" indent="0" algn="l" defTabSz="914400" rtl="0" eaLnBrk="1" fontAlgn="auto" latinLnBrk="0" hangingPunct="1">
              <a:lnSpc>
                <a:spcPct val="90000"/>
              </a:lnSpc>
              <a:spcBef>
                <a:spcPct val="0"/>
              </a:spcBef>
              <a:spcAft>
                <a:spcPts val="0"/>
              </a:spcAft>
              <a:buClrTx/>
              <a:buSzTx/>
              <a:buFontTx/>
              <a:buNone/>
              <a:tabLst/>
              <a:defRPr sz="2800">
                <a:solidFill>
                  <a:schemeClr val="bg1"/>
                </a:solidFill>
                <a:latin typeface="+mn-lt"/>
              </a:defRPr>
            </a:lvl3pPr>
          </a:lstStyle>
          <a:p>
            <a:pPr lvl="0"/>
            <a:r>
              <a:rPr lang="en-US"/>
              <a:t>Click to edit Master title style</a:t>
            </a:r>
            <a:endParaRPr lang="en-GB"/>
          </a:p>
        </p:txBody>
      </p:sp>
      <p:sp>
        <p:nvSpPr>
          <p:cNvPr id="31" name="Google Shape;144;p13">
            <a:extLst>
              <a:ext uri="{FF2B5EF4-FFF2-40B4-BE49-F238E27FC236}">
                <a16:creationId xmlns:a16="http://schemas.microsoft.com/office/drawing/2014/main" id="{96093233-0248-4259-AAC4-862B575CFA53}"/>
              </a:ext>
            </a:extLst>
          </p:cNvPr>
          <p:cNvSpPr/>
          <p:nvPr userDrawn="1"/>
        </p:nvSpPr>
        <p:spPr>
          <a:xfrm>
            <a:off x="1096224" y="4652000"/>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accent3"/>
              </a:solidFill>
            </a:endParaRPr>
          </a:p>
        </p:txBody>
      </p:sp>
      <p:sp>
        <p:nvSpPr>
          <p:cNvPr id="3" name="Subtitle 2">
            <a:extLst>
              <a:ext uri="{FF2B5EF4-FFF2-40B4-BE49-F238E27FC236}">
                <a16:creationId xmlns:a16="http://schemas.microsoft.com/office/drawing/2014/main" id="{0EFA1529-36E5-4F47-BCAD-8926FDFE0452}"/>
              </a:ext>
            </a:extLst>
          </p:cNvPr>
          <p:cNvSpPr>
            <a:spLocks noGrp="1"/>
          </p:cNvSpPr>
          <p:nvPr>
            <p:ph type="subTitle" idx="1"/>
          </p:nvPr>
        </p:nvSpPr>
        <p:spPr>
          <a:xfrm>
            <a:off x="1095931" y="4978800"/>
            <a:ext cx="4572000" cy="1220294"/>
          </a:xfrm>
        </p:spPr>
        <p:txBody>
          <a:bodyPr/>
          <a:lstStyle>
            <a:lvl1pPr marL="0" indent="0" algn="l">
              <a:spcAft>
                <a:spcPts val="1984"/>
              </a:spcAft>
              <a:buNone/>
              <a:defRPr sz="2000">
                <a:solidFill>
                  <a:schemeClr val="bg1"/>
                </a:solidFill>
              </a:defRPr>
            </a:lvl1pPr>
            <a:lvl2pPr marL="0" indent="0" algn="l">
              <a:spcAft>
                <a:spcPts val="0"/>
              </a:spcAft>
              <a:buNone/>
              <a:defRPr sz="1000" b="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a:p>
        </p:txBody>
      </p:sp>
      <p:sp>
        <p:nvSpPr>
          <p:cNvPr id="8" name="Disclaimer">
            <a:extLst>
              <a:ext uri="{FF2B5EF4-FFF2-40B4-BE49-F238E27FC236}">
                <a16:creationId xmlns:a16="http://schemas.microsoft.com/office/drawing/2014/main" id="{EA4B6E3B-DF22-44DD-A0D1-ED7E6979F6D8}"/>
              </a:ext>
            </a:extLst>
          </p:cNvPr>
          <p:cNvSpPr txBox="1"/>
          <p:nvPr userDrawn="1"/>
        </p:nvSpPr>
        <p:spPr>
          <a:xfrm>
            <a:off x="1102632" y="6336849"/>
            <a:ext cx="6733988" cy="441324"/>
          </a:xfrm>
          <a:prstGeom prst="rect">
            <a:avLst/>
          </a:prstGeom>
          <a:noFill/>
        </p:spPr>
        <p:txBody>
          <a:bodyPr wrap="square" lIns="0" tIns="0" rIns="0" bIns="0" rtlCol="0" anchor="ctr">
            <a:noAutofit/>
          </a:bodyPr>
          <a:lstStyle/>
          <a:p>
            <a:r>
              <a:rPr lang="en-GB" sz="1000">
                <a:solidFill>
                  <a:schemeClr val="bg1"/>
                </a:solidFill>
              </a:rPr>
              <a:t>This document is for professional clients, institutional/qualified investors and advisors only. </a:t>
            </a:r>
            <a:br>
              <a:rPr lang="en-GB" sz="1000">
                <a:solidFill>
                  <a:schemeClr val="bg1"/>
                </a:solidFill>
              </a:rPr>
            </a:br>
            <a:r>
              <a:rPr lang="en-GB" sz="1000">
                <a:solidFill>
                  <a:schemeClr val="bg1"/>
                </a:solidFill>
              </a:rPr>
              <a:t>It is not to be distributed to or relied on by retail clients.</a:t>
            </a:r>
          </a:p>
        </p:txBody>
      </p:sp>
      <p:grpSp>
        <p:nvGrpSpPr>
          <p:cNvPr id="9" name="Google Shape;21;p2">
            <a:extLst>
              <a:ext uri="{FF2B5EF4-FFF2-40B4-BE49-F238E27FC236}">
                <a16:creationId xmlns:a16="http://schemas.microsoft.com/office/drawing/2014/main" id="{262A35F6-4D81-4900-BAF4-682A90C0CC13}"/>
              </a:ext>
            </a:extLst>
          </p:cNvPr>
          <p:cNvGrpSpPr/>
          <p:nvPr userDrawn="1"/>
        </p:nvGrpSpPr>
        <p:grpSpPr>
          <a:xfrm>
            <a:off x="1095931" y="-14"/>
            <a:ext cx="958858" cy="1185166"/>
            <a:chOff x="4763500" y="1239650"/>
            <a:chExt cx="2618400" cy="3235799"/>
          </a:xfrm>
        </p:grpSpPr>
        <p:sp>
          <p:nvSpPr>
            <p:cNvPr id="10" name="Google Shape;22;p2">
              <a:extLst>
                <a:ext uri="{FF2B5EF4-FFF2-40B4-BE49-F238E27FC236}">
                  <a16:creationId xmlns:a16="http://schemas.microsoft.com/office/drawing/2014/main" id="{70B6CBA2-927C-4B98-A515-AB196C67E0C8}"/>
                </a:ext>
              </a:extLst>
            </p:cNvPr>
            <p:cNvSpPr/>
            <p:nvPr/>
          </p:nvSpPr>
          <p:spPr>
            <a:xfrm>
              <a:off x="4763500" y="1239650"/>
              <a:ext cx="2618400" cy="3235799"/>
            </a:xfrm>
            <a:custGeom>
              <a:avLst/>
              <a:gdLst/>
              <a:ahLst/>
              <a:cxnLst/>
              <a:rect l="l" t="t" r="r" b="b"/>
              <a:pathLst>
                <a:path w="120000" h="120000" extrusionOk="0">
                  <a:moveTo>
                    <a:pt x="0" y="0"/>
                  </a:moveTo>
                  <a:lnTo>
                    <a:pt x="0" y="120000"/>
                  </a:lnTo>
                  <a:lnTo>
                    <a:pt x="120000" y="120000"/>
                  </a:lnTo>
                  <a:lnTo>
                    <a:pt x="120000" y="0"/>
                  </a:lnTo>
                  <a:close/>
                </a:path>
              </a:pathLst>
            </a:custGeom>
            <a:solidFill>
              <a:srgbClr val="FFD9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nvGrpSpPr>
            <p:cNvPr id="11" name="Google Shape;23;p2">
              <a:extLst>
                <a:ext uri="{FF2B5EF4-FFF2-40B4-BE49-F238E27FC236}">
                  <a16:creationId xmlns:a16="http://schemas.microsoft.com/office/drawing/2014/main" id="{15BD1364-0E1E-41F6-9FE8-16EA2CA743DA}"/>
                </a:ext>
              </a:extLst>
            </p:cNvPr>
            <p:cNvGrpSpPr/>
            <p:nvPr userDrawn="1"/>
          </p:nvGrpSpPr>
          <p:grpSpPr>
            <a:xfrm>
              <a:off x="5111949" y="2036274"/>
              <a:ext cx="1921499" cy="1642450"/>
              <a:chOff x="5111957" y="2036275"/>
              <a:chExt cx="1921504" cy="1642450"/>
            </a:xfrm>
          </p:grpSpPr>
          <p:sp>
            <p:nvSpPr>
              <p:cNvPr id="12" name="Google Shape;24;p2">
                <a:extLst>
                  <a:ext uri="{FF2B5EF4-FFF2-40B4-BE49-F238E27FC236}">
                    <a16:creationId xmlns:a16="http://schemas.microsoft.com/office/drawing/2014/main" id="{F45E3B3C-76EA-4D93-8E74-0A4011447DEB}"/>
                  </a:ext>
                </a:extLst>
              </p:cNvPr>
              <p:cNvSpPr/>
              <p:nvPr/>
            </p:nvSpPr>
            <p:spPr>
              <a:xfrm>
                <a:off x="5111957" y="3461826"/>
                <a:ext cx="1921504" cy="216899"/>
              </a:xfrm>
              <a:custGeom>
                <a:avLst/>
                <a:gdLst/>
                <a:ahLst/>
                <a:cxnLst/>
                <a:rect l="l" t="t" r="r" b="b"/>
                <a:pathLst>
                  <a:path w="120000" h="120000" extrusionOk="0">
                    <a:moveTo>
                      <a:pt x="101489" y="17607"/>
                    </a:moveTo>
                    <a:lnTo>
                      <a:pt x="102301" y="18409"/>
                    </a:lnTo>
                    <a:lnTo>
                      <a:pt x="102933" y="20802"/>
                    </a:lnTo>
                    <a:lnTo>
                      <a:pt x="103205" y="22406"/>
                    </a:lnTo>
                    <a:lnTo>
                      <a:pt x="103475" y="24813"/>
                    </a:lnTo>
                    <a:lnTo>
                      <a:pt x="103565" y="27206"/>
                    </a:lnTo>
                    <a:lnTo>
                      <a:pt x="103747" y="29612"/>
                    </a:lnTo>
                    <a:lnTo>
                      <a:pt x="103836" y="36002"/>
                    </a:lnTo>
                    <a:lnTo>
                      <a:pt x="103747" y="40802"/>
                    </a:lnTo>
                    <a:lnTo>
                      <a:pt x="103565" y="45601"/>
                    </a:lnTo>
                    <a:lnTo>
                      <a:pt x="103294" y="48810"/>
                    </a:lnTo>
                    <a:lnTo>
                      <a:pt x="102933" y="52005"/>
                    </a:lnTo>
                    <a:lnTo>
                      <a:pt x="102482" y="54398"/>
                    </a:lnTo>
                    <a:lnTo>
                      <a:pt x="101850" y="56002"/>
                    </a:lnTo>
                    <a:lnTo>
                      <a:pt x="101127" y="56804"/>
                    </a:lnTo>
                    <a:lnTo>
                      <a:pt x="100315" y="57607"/>
                    </a:lnTo>
                    <a:lnTo>
                      <a:pt x="99231" y="56804"/>
                    </a:lnTo>
                    <a:lnTo>
                      <a:pt x="99231" y="17607"/>
                    </a:lnTo>
                    <a:close/>
                    <a:moveTo>
                      <a:pt x="85597" y="17607"/>
                    </a:moveTo>
                    <a:lnTo>
                      <a:pt x="86501" y="18409"/>
                    </a:lnTo>
                    <a:lnTo>
                      <a:pt x="87313" y="20013"/>
                    </a:lnTo>
                    <a:lnTo>
                      <a:pt x="88035" y="23208"/>
                    </a:lnTo>
                    <a:lnTo>
                      <a:pt x="88577" y="27206"/>
                    </a:lnTo>
                    <a:lnTo>
                      <a:pt x="89028" y="33609"/>
                    </a:lnTo>
                    <a:lnTo>
                      <a:pt x="89298" y="40802"/>
                    </a:lnTo>
                    <a:lnTo>
                      <a:pt x="89570" y="49598"/>
                    </a:lnTo>
                    <a:lnTo>
                      <a:pt x="89570" y="60000"/>
                    </a:lnTo>
                    <a:lnTo>
                      <a:pt x="89570" y="70401"/>
                    </a:lnTo>
                    <a:lnTo>
                      <a:pt x="89298" y="79197"/>
                    </a:lnTo>
                    <a:lnTo>
                      <a:pt x="89028" y="86403"/>
                    </a:lnTo>
                    <a:lnTo>
                      <a:pt x="88577" y="91991"/>
                    </a:lnTo>
                    <a:lnTo>
                      <a:pt x="88035" y="96791"/>
                    </a:lnTo>
                    <a:lnTo>
                      <a:pt x="87313" y="100000"/>
                    </a:lnTo>
                    <a:lnTo>
                      <a:pt x="86501" y="101590"/>
                    </a:lnTo>
                    <a:lnTo>
                      <a:pt x="85597" y="102392"/>
                    </a:lnTo>
                    <a:lnTo>
                      <a:pt x="84694" y="101590"/>
                    </a:lnTo>
                    <a:lnTo>
                      <a:pt x="83881" y="100000"/>
                    </a:lnTo>
                    <a:lnTo>
                      <a:pt x="83250" y="96791"/>
                    </a:lnTo>
                    <a:lnTo>
                      <a:pt x="82708" y="91991"/>
                    </a:lnTo>
                    <a:lnTo>
                      <a:pt x="82256" y="86403"/>
                    </a:lnTo>
                    <a:lnTo>
                      <a:pt x="81895" y="79197"/>
                    </a:lnTo>
                    <a:lnTo>
                      <a:pt x="81714" y="70401"/>
                    </a:lnTo>
                    <a:lnTo>
                      <a:pt x="81625" y="60000"/>
                    </a:lnTo>
                    <a:lnTo>
                      <a:pt x="81714" y="49598"/>
                    </a:lnTo>
                    <a:lnTo>
                      <a:pt x="81895" y="40802"/>
                    </a:lnTo>
                    <a:lnTo>
                      <a:pt x="82256" y="33609"/>
                    </a:lnTo>
                    <a:lnTo>
                      <a:pt x="82708" y="27206"/>
                    </a:lnTo>
                    <a:lnTo>
                      <a:pt x="83250" y="23208"/>
                    </a:lnTo>
                    <a:lnTo>
                      <a:pt x="83881" y="20013"/>
                    </a:lnTo>
                    <a:lnTo>
                      <a:pt x="84694" y="18409"/>
                    </a:lnTo>
                    <a:lnTo>
                      <a:pt x="85597" y="17607"/>
                    </a:lnTo>
                    <a:close/>
                    <a:moveTo>
                      <a:pt x="0" y="2406"/>
                    </a:moveTo>
                    <a:lnTo>
                      <a:pt x="0" y="6403"/>
                    </a:lnTo>
                    <a:lnTo>
                      <a:pt x="451" y="7206"/>
                    </a:lnTo>
                    <a:lnTo>
                      <a:pt x="902" y="9612"/>
                    </a:lnTo>
                    <a:lnTo>
                      <a:pt x="1174" y="12807"/>
                    </a:lnTo>
                    <a:lnTo>
                      <a:pt x="1264" y="14412"/>
                    </a:lnTo>
                    <a:lnTo>
                      <a:pt x="1355" y="16002"/>
                    </a:lnTo>
                    <a:lnTo>
                      <a:pt x="1355" y="115988"/>
                    </a:lnTo>
                    <a:lnTo>
                      <a:pt x="4694" y="115988"/>
                    </a:lnTo>
                    <a:lnTo>
                      <a:pt x="4694" y="2406"/>
                    </a:lnTo>
                    <a:close/>
                    <a:moveTo>
                      <a:pt x="7133" y="2406"/>
                    </a:moveTo>
                    <a:lnTo>
                      <a:pt x="7133" y="6403"/>
                    </a:lnTo>
                    <a:lnTo>
                      <a:pt x="7584" y="7206"/>
                    </a:lnTo>
                    <a:lnTo>
                      <a:pt x="7945" y="9612"/>
                    </a:lnTo>
                    <a:lnTo>
                      <a:pt x="8307" y="12807"/>
                    </a:lnTo>
                    <a:lnTo>
                      <a:pt x="8398" y="14412"/>
                    </a:lnTo>
                    <a:lnTo>
                      <a:pt x="8398" y="16002"/>
                    </a:lnTo>
                    <a:lnTo>
                      <a:pt x="8398" y="115988"/>
                    </a:lnTo>
                    <a:lnTo>
                      <a:pt x="10925" y="115988"/>
                    </a:lnTo>
                    <a:lnTo>
                      <a:pt x="10925" y="40802"/>
                    </a:lnTo>
                    <a:lnTo>
                      <a:pt x="17336" y="115988"/>
                    </a:lnTo>
                    <a:lnTo>
                      <a:pt x="21670" y="115988"/>
                    </a:lnTo>
                    <a:lnTo>
                      <a:pt x="21670" y="2406"/>
                    </a:lnTo>
                    <a:lnTo>
                      <a:pt x="19231" y="2406"/>
                    </a:lnTo>
                    <a:lnTo>
                      <a:pt x="19231" y="86403"/>
                    </a:lnTo>
                    <a:lnTo>
                      <a:pt x="12009" y="2406"/>
                    </a:lnTo>
                    <a:close/>
                    <a:moveTo>
                      <a:pt x="23837" y="2406"/>
                    </a:moveTo>
                    <a:lnTo>
                      <a:pt x="23837" y="6403"/>
                    </a:lnTo>
                    <a:lnTo>
                      <a:pt x="24288" y="8008"/>
                    </a:lnTo>
                    <a:lnTo>
                      <a:pt x="24740" y="9612"/>
                    </a:lnTo>
                    <a:lnTo>
                      <a:pt x="25011" y="12005"/>
                    </a:lnTo>
                    <a:lnTo>
                      <a:pt x="25281" y="15214"/>
                    </a:lnTo>
                    <a:lnTo>
                      <a:pt x="29706" y="115988"/>
                    </a:lnTo>
                    <a:lnTo>
                      <a:pt x="33317" y="115988"/>
                    </a:lnTo>
                    <a:lnTo>
                      <a:pt x="38644" y="2406"/>
                    </a:lnTo>
                    <a:lnTo>
                      <a:pt x="36117" y="2406"/>
                    </a:lnTo>
                    <a:lnTo>
                      <a:pt x="32234" y="85601"/>
                    </a:lnTo>
                    <a:lnTo>
                      <a:pt x="28532" y="2406"/>
                    </a:lnTo>
                    <a:close/>
                    <a:moveTo>
                      <a:pt x="40451" y="2406"/>
                    </a:moveTo>
                    <a:lnTo>
                      <a:pt x="40451" y="6403"/>
                    </a:lnTo>
                    <a:lnTo>
                      <a:pt x="40902" y="7206"/>
                    </a:lnTo>
                    <a:lnTo>
                      <a:pt x="41353" y="9612"/>
                    </a:lnTo>
                    <a:lnTo>
                      <a:pt x="41625" y="12005"/>
                    </a:lnTo>
                    <a:lnTo>
                      <a:pt x="41715" y="14412"/>
                    </a:lnTo>
                    <a:lnTo>
                      <a:pt x="41715" y="16002"/>
                    </a:lnTo>
                    <a:lnTo>
                      <a:pt x="41715" y="115988"/>
                    </a:lnTo>
                    <a:lnTo>
                      <a:pt x="50654" y="115988"/>
                    </a:lnTo>
                    <a:lnTo>
                      <a:pt x="50654" y="99197"/>
                    </a:lnTo>
                    <a:lnTo>
                      <a:pt x="45145" y="99197"/>
                    </a:lnTo>
                    <a:lnTo>
                      <a:pt x="45145" y="63997"/>
                    </a:lnTo>
                    <a:lnTo>
                      <a:pt x="50202" y="63997"/>
                    </a:lnTo>
                    <a:lnTo>
                      <a:pt x="50202" y="48008"/>
                    </a:lnTo>
                    <a:lnTo>
                      <a:pt x="45145" y="48008"/>
                    </a:lnTo>
                    <a:lnTo>
                      <a:pt x="45145" y="19211"/>
                    </a:lnTo>
                    <a:lnTo>
                      <a:pt x="50654" y="19211"/>
                    </a:lnTo>
                    <a:lnTo>
                      <a:pt x="50654" y="2406"/>
                    </a:lnTo>
                    <a:close/>
                    <a:moveTo>
                      <a:pt x="64740" y="2406"/>
                    </a:moveTo>
                    <a:lnTo>
                      <a:pt x="64740" y="19211"/>
                    </a:lnTo>
                    <a:lnTo>
                      <a:pt x="69344" y="19211"/>
                    </a:lnTo>
                    <a:lnTo>
                      <a:pt x="69344" y="115988"/>
                    </a:lnTo>
                    <a:lnTo>
                      <a:pt x="72685" y="115988"/>
                    </a:lnTo>
                    <a:lnTo>
                      <a:pt x="72685" y="19211"/>
                    </a:lnTo>
                    <a:lnTo>
                      <a:pt x="77291" y="19211"/>
                    </a:lnTo>
                    <a:lnTo>
                      <a:pt x="77291" y="2406"/>
                    </a:lnTo>
                    <a:close/>
                    <a:moveTo>
                      <a:pt x="94537" y="2406"/>
                    </a:moveTo>
                    <a:lnTo>
                      <a:pt x="94537" y="6403"/>
                    </a:lnTo>
                    <a:lnTo>
                      <a:pt x="94988" y="7206"/>
                    </a:lnTo>
                    <a:lnTo>
                      <a:pt x="95439" y="9612"/>
                    </a:lnTo>
                    <a:lnTo>
                      <a:pt x="95709" y="12005"/>
                    </a:lnTo>
                    <a:lnTo>
                      <a:pt x="95800" y="13609"/>
                    </a:lnTo>
                    <a:lnTo>
                      <a:pt x="95890" y="15214"/>
                    </a:lnTo>
                    <a:lnTo>
                      <a:pt x="95890" y="115988"/>
                    </a:lnTo>
                    <a:lnTo>
                      <a:pt x="99231" y="115988"/>
                    </a:lnTo>
                    <a:lnTo>
                      <a:pt x="99231" y="66403"/>
                    </a:lnTo>
                    <a:lnTo>
                      <a:pt x="99954" y="70401"/>
                    </a:lnTo>
                    <a:lnTo>
                      <a:pt x="100676" y="76002"/>
                    </a:lnTo>
                    <a:lnTo>
                      <a:pt x="101759" y="88796"/>
                    </a:lnTo>
                    <a:lnTo>
                      <a:pt x="104288" y="115988"/>
                    </a:lnTo>
                    <a:lnTo>
                      <a:pt x="108260" y="115988"/>
                    </a:lnTo>
                    <a:lnTo>
                      <a:pt x="105191" y="83195"/>
                    </a:lnTo>
                    <a:lnTo>
                      <a:pt x="104740" y="77593"/>
                    </a:lnTo>
                    <a:lnTo>
                      <a:pt x="104288" y="72793"/>
                    </a:lnTo>
                    <a:lnTo>
                      <a:pt x="103836" y="68008"/>
                    </a:lnTo>
                    <a:lnTo>
                      <a:pt x="103384" y="64799"/>
                    </a:lnTo>
                    <a:lnTo>
                      <a:pt x="104288" y="63208"/>
                    </a:lnTo>
                    <a:lnTo>
                      <a:pt x="105010" y="61604"/>
                    </a:lnTo>
                    <a:lnTo>
                      <a:pt x="105733" y="58409"/>
                    </a:lnTo>
                    <a:lnTo>
                      <a:pt x="106184" y="55200"/>
                    </a:lnTo>
                    <a:lnTo>
                      <a:pt x="106635" y="51203"/>
                    </a:lnTo>
                    <a:lnTo>
                      <a:pt x="106907" y="46403"/>
                    </a:lnTo>
                    <a:lnTo>
                      <a:pt x="107086" y="41604"/>
                    </a:lnTo>
                    <a:lnTo>
                      <a:pt x="107177" y="36002"/>
                    </a:lnTo>
                    <a:lnTo>
                      <a:pt x="107086" y="28008"/>
                    </a:lnTo>
                    <a:lnTo>
                      <a:pt x="106816" y="21604"/>
                    </a:lnTo>
                    <a:lnTo>
                      <a:pt x="106365" y="16002"/>
                    </a:lnTo>
                    <a:lnTo>
                      <a:pt x="105823" y="11203"/>
                    </a:lnTo>
                    <a:lnTo>
                      <a:pt x="105010" y="7206"/>
                    </a:lnTo>
                    <a:lnTo>
                      <a:pt x="104107" y="4813"/>
                    </a:lnTo>
                    <a:lnTo>
                      <a:pt x="103024" y="3208"/>
                    </a:lnTo>
                    <a:lnTo>
                      <a:pt x="101759" y="2406"/>
                    </a:lnTo>
                    <a:close/>
                    <a:moveTo>
                      <a:pt x="58871" y="816"/>
                    </a:moveTo>
                    <a:lnTo>
                      <a:pt x="57606" y="1604"/>
                    </a:lnTo>
                    <a:lnTo>
                      <a:pt x="56523" y="3208"/>
                    </a:lnTo>
                    <a:lnTo>
                      <a:pt x="55530" y="5615"/>
                    </a:lnTo>
                    <a:lnTo>
                      <a:pt x="54718" y="9612"/>
                    </a:lnTo>
                    <a:lnTo>
                      <a:pt x="54085" y="13609"/>
                    </a:lnTo>
                    <a:lnTo>
                      <a:pt x="53634" y="19211"/>
                    </a:lnTo>
                    <a:lnTo>
                      <a:pt x="53362" y="24813"/>
                    </a:lnTo>
                    <a:lnTo>
                      <a:pt x="53272" y="31203"/>
                    </a:lnTo>
                    <a:lnTo>
                      <a:pt x="53362" y="36804"/>
                    </a:lnTo>
                    <a:lnTo>
                      <a:pt x="53634" y="42406"/>
                    </a:lnTo>
                    <a:lnTo>
                      <a:pt x="53904" y="47206"/>
                    </a:lnTo>
                    <a:lnTo>
                      <a:pt x="54446" y="52005"/>
                    </a:lnTo>
                    <a:lnTo>
                      <a:pt x="55259" y="58409"/>
                    </a:lnTo>
                    <a:lnTo>
                      <a:pt x="56613" y="66403"/>
                    </a:lnTo>
                    <a:lnTo>
                      <a:pt x="58419" y="76002"/>
                    </a:lnTo>
                    <a:lnTo>
                      <a:pt x="58961" y="80000"/>
                    </a:lnTo>
                    <a:lnTo>
                      <a:pt x="59322" y="83997"/>
                    </a:lnTo>
                    <a:lnTo>
                      <a:pt x="59503" y="87192"/>
                    </a:lnTo>
                    <a:lnTo>
                      <a:pt x="59594" y="91203"/>
                    </a:lnTo>
                    <a:lnTo>
                      <a:pt x="59503" y="93596"/>
                    </a:lnTo>
                    <a:lnTo>
                      <a:pt x="59412" y="96002"/>
                    </a:lnTo>
                    <a:lnTo>
                      <a:pt x="59141" y="98395"/>
                    </a:lnTo>
                    <a:lnTo>
                      <a:pt x="58871" y="100000"/>
                    </a:lnTo>
                    <a:lnTo>
                      <a:pt x="58238" y="101590"/>
                    </a:lnTo>
                    <a:lnTo>
                      <a:pt x="56432" y="101590"/>
                    </a:lnTo>
                    <a:lnTo>
                      <a:pt x="55259" y="100000"/>
                    </a:lnTo>
                    <a:lnTo>
                      <a:pt x="54176" y="96791"/>
                    </a:lnTo>
                    <a:lnTo>
                      <a:pt x="53181" y="92793"/>
                    </a:lnTo>
                    <a:lnTo>
                      <a:pt x="53181" y="112793"/>
                    </a:lnTo>
                    <a:lnTo>
                      <a:pt x="54176" y="115200"/>
                    </a:lnTo>
                    <a:lnTo>
                      <a:pt x="55169" y="116791"/>
                    </a:lnTo>
                    <a:lnTo>
                      <a:pt x="56252" y="117593"/>
                    </a:lnTo>
                    <a:lnTo>
                      <a:pt x="57245" y="118395"/>
                    </a:lnTo>
                    <a:lnTo>
                      <a:pt x="58148" y="117593"/>
                    </a:lnTo>
                    <a:lnTo>
                      <a:pt x="58961" y="116791"/>
                    </a:lnTo>
                    <a:lnTo>
                      <a:pt x="59773" y="115988"/>
                    </a:lnTo>
                    <a:lnTo>
                      <a:pt x="60496" y="113596"/>
                    </a:lnTo>
                    <a:lnTo>
                      <a:pt x="61038" y="111189"/>
                    </a:lnTo>
                    <a:lnTo>
                      <a:pt x="61670" y="108796"/>
                    </a:lnTo>
                    <a:lnTo>
                      <a:pt x="62121" y="105601"/>
                    </a:lnTo>
                    <a:lnTo>
                      <a:pt x="62482" y="102392"/>
                    </a:lnTo>
                    <a:lnTo>
                      <a:pt x="62754" y="98395"/>
                    </a:lnTo>
                    <a:lnTo>
                      <a:pt x="62933" y="94398"/>
                    </a:lnTo>
                    <a:lnTo>
                      <a:pt x="63114" y="89598"/>
                    </a:lnTo>
                    <a:lnTo>
                      <a:pt x="63114" y="84799"/>
                    </a:lnTo>
                    <a:lnTo>
                      <a:pt x="63114" y="80802"/>
                    </a:lnTo>
                    <a:lnTo>
                      <a:pt x="62933" y="76804"/>
                    </a:lnTo>
                    <a:lnTo>
                      <a:pt x="62754" y="72793"/>
                    </a:lnTo>
                    <a:lnTo>
                      <a:pt x="62391" y="68796"/>
                    </a:lnTo>
                    <a:lnTo>
                      <a:pt x="61940" y="63997"/>
                    </a:lnTo>
                    <a:lnTo>
                      <a:pt x="61489" y="60000"/>
                    </a:lnTo>
                    <a:lnTo>
                      <a:pt x="60857" y="56002"/>
                    </a:lnTo>
                    <a:lnTo>
                      <a:pt x="60134" y="52005"/>
                    </a:lnTo>
                    <a:lnTo>
                      <a:pt x="58238" y="41604"/>
                    </a:lnTo>
                    <a:lnTo>
                      <a:pt x="57516" y="36804"/>
                    </a:lnTo>
                    <a:lnTo>
                      <a:pt x="57064" y="33609"/>
                    </a:lnTo>
                    <a:lnTo>
                      <a:pt x="56794" y="30401"/>
                    </a:lnTo>
                    <a:lnTo>
                      <a:pt x="56704" y="28008"/>
                    </a:lnTo>
                    <a:lnTo>
                      <a:pt x="56794" y="24813"/>
                    </a:lnTo>
                    <a:lnTo>
                      <a:pt x="57064" y="21604"/>
                    </a:lnTo>
                    <a:lnTo>
                      <a:pt x="57427" y="20013"/>
                    </a:lnTo>
                    <a:lnTo>
                      <a:pt x="57878" y="18409"/>
                    </a:lnTo>
                    <a:lnTo>
                      <a:pt x="58419" y="17607"/>
                    </a:lnTo>
                    <a:lnTo>
                      <a:pt x="59052" y="16804"/>
                    </a:lnTo>
                    <a:lnTo>
                      <a:pt x="59864" y="17607"/>
                    </a:lnTo>
                    <a:lnTo>
                      <a:pt x="60587" y="19211"/>
                    </a:lnTo>
                    <a:lnTo>
                      <a:pt x="61128" y="20802"/>
                    </a:lnTo>
                    <a:lnTo>
                      <a:pt x="61580" y="23208"/>
                    </a:lnTo>
                    <a:lnTo>
                      <a:pt x="61850" y="26403"/>
                    </a:lnTo>
                    <a:lnTo>
                      <a:pt x="62121" y="29612"/>
                    </a:lnTo>
                    <a:lnTo>
                      <a:pt x="62482" y="29612"/>
                    </a:lnTo>
                    <a:lnTo>
                      <a:pt x="62482" y="5615"/>
                    </a:lnTo>
                    <a:lnTo>
                      <a:pt x="61670" y="3208"/>
                    </a:lnTo>
                    <a:lnTo>
                      <a:pt x="60766" y="1604"/>
                    </a:lnTo>
                    <a:lnTo>
                      <a:pt x="59864" y="816"/>
                    </a:lnTo>
                    <a:close/>
                    <a:moveTo>
                      <a:pt x="115754" y="816"/>
                    </a:moveTo>
                    <a:lnTo>
                      <a:pt x="114491" y="1604"/>
                    </a:lnTo>
                    <a:lnTo>
                      <a:pt x="113317" y="3208"/>
                    </a:lnTo>
                    <a:lnTo>
                      <a:pt x="112413" y="5615"/>
                    </a:lnTo>
                    <a:lnTo>
                      <a:pt x="111601" y="9612"/>
                    </a:lnTo>
                    <a:lnTo>
                      <a:pt x="110969" y="13609"/>
                    </a:lnTo>
                    <a:lnTo>
                      <a:pt x="110518" y="19211"/>
                    </a:lnTo>
                    <a:lnTo>
                      <a:pt x="110248" y="24813"/>
                    </a:lnTo>
                    <a:lnTo>
                      <a:pt x="110157" y="31203"/>
                    </a:lnTo>
                    <a:lnTo>
                      <a:pt x="110248" y="36804"/>
                    </a:lnTo>
                    <a:lnTo>
                      <a:pt x="110427" y="42406"/>
                    </a:lnTo>
                    <a:lnTo>
                      <a:pt x="110788" y="47206"/>
                    </a:lnTo>
                    <a:lnTo>
                      <a:pt x="111330" y="52005"/>
                    </a:lnTo>
                    <a:lnTo>
                      <a:pt x="112143" y="58409"/>
                    </a:lnTo>
                    <a:lnTo>
                      <a:pt x="113497" y="66403"/>
                    </a:lnTo>
                    <a:lnTo>
                      <a:pt x="115303" y="76002"/>
                    </a:lnTo>
                    <a:lnTo>
                      <a:pt x="115845" y="80000"/>
                    </a:lnTo>
                    <a:lnTo>
                      <a:pt x="116206" y="83997"/>
                    </a:lnTo>
                    <a:lnTo>
                      <a:pt x="116387" y="87192"/>
                    </a:lnTo>
                    <a:lnTo>
                      <a:pt x="116477" y="91203"/>
                    </a:lnTo>
                    <a:lnTo>
                      <a:pt x="116387" y="93596"/>
                    </a:lnTo>
                    <a:lnTo>
                      <a:pt x="116296" y="96002"/>
                    </a:lnTo>
                    <a:lnTo>
                      <a:pt x="116026" y="98395"/>
                    </a:lnTo>
                    <a:lnTo>
                      <a:pt x="115754" y="100000"/>
                    </a:lnTo>
                    <a:lnTo>
                      <a:pt x="115122" y="101590"/>
                    </a:lnTo>
                    <a:lnTo>
                      <a:pt x="113227" y="101590"/>
                    </a:lnTo>
                    <a:lnTo>
                      <a:pt x="112143" y="100000"/>
                    </a:lnTo>
                    <a:lnTo>
                      <a:pt x="111060" y="96791"/>
                    </a:lnTo>
                    <a:lnTo>
                      <a:pt x="110067" y="92793"/>
                    </a:lnTo>
                    <a:lnTo>
                      <a:pt x="110067" y="112793"/>
                    </a:lnTo>
                    <a:lnTo>
                      <a:pt x="111060" y="115200"/>
                    </a:lnTo>
                    <a:lnTo>
                      <a:pt x="112053" y="116791"/>
                    </a:lnTo>
                    <a:lnTo>
                      <a:pt x="113046" y="117593"/>
                    </a:lnTo>
                    <a:lnTo>
                      <a:pt x="114129" y="118395"/>
                    </a:lnTo>
                    <a:lnTo>
                      <a:pt x="115033" y="117593"/>
                    </a:lnTo>
                    <a:lnTo>
                      <a:pt x="115845" y="116791"/>
                    </a:lnTo>
                    <a:lnTo>
                      <a:pt x="116658" y="115988"/>
                    </a:lnTo>
                    <a:lnTo>
                      <a:pt x="117289" y="113596"/>
                    </a:lnTo>
                    <a:lnTo>
                      <a:pt x="117921" y="111189"/>
                    </a:lnTo>
                    <a:lnTo>
                      <a:pt x="118463" y="108796"/>
                    </a:lnTo>
                    <a:lnTo>
                      <a:pt x="118914" y="105601"/>
                    </a:lnTo>
                    <a:lnTo>
                      <a:pt x="119367" y="102392"/>
                    </a:lnTo>
                    <a:lnTo>
                      <a:pt x="119637" y="98395"/>
                    </a:lnTo>
                    <a:lnTo>
                      <a:pt x="119818" y="94398"/>
                    </a:lnTo>
                    <a:lnTo>
                      <a:pt x="119998" y="89598"/>
                    </a:lnTo>
                    <a:lnTo>
                      <a:pt x="119998" y="84799"/>
                    </a:lnTo>
                    <a:lnTo>
                      <a:pt x="119909" y="80802"/>
                    </a:lnTo>
                    <a:lnTo>
                      <a:pt x="119818" y="76804"/>
                    </a:lnTo>
                    <a:lnTo>
                      <a:pt x="119547" y="72793"/>
                    </a:lnTo>
                    <a:lnTo>
                      <a:pt x="119277" y="68796"/>
                    </a:lnTo>
                    <a:lnTo>
                      <a:pt x="118825" y="63997"/>
                    </a:lnTo>
                    <a:lnTo>
                      <a:pt x="118373" y="60000"/>
                    </a:lnTo>
                    <a:lnTo>
                      <a:pt x="117742" y="56002"/>
                    </a:lnTo>
                    <a:lnTo>
                      <a:pt x="117019" y="52005"/>
                    </a:lnTo>
                    <a:lnTo>
                      <a:pt x="115033" y="41604"/>
                    </a:lnTo>
                    <a:lnTo>
                      <a:pt x="114401" y="36804"/>
                    </a:lnTo>
                    <a:lnTo>
                      <a:pt x="113950" y="33609"/>
                    </a:lnTo>
                    <a:lnTo>
                      <a:pt x="113678" y="30401"/>
                    </a:lnTo>
                    <a:lnTo>
                      <a:pt x="113587" y="28008"/>
                    </a:lnTo>
                    <a:lnTo>
                      <a:pt x="113678" y="24813"/>
                    </a:lnTo>
                    <a:lnTo>
                      <a:pt x="113950" y="21604"/>
                    </a:lnTo>
                    <a:lnTo>
                      <a:pt x="114310" y="20013"/>
                    </a:lnTo>
                    <a:lnTo>
                      <a:pt x="114761" y="18409"/>
                    </a:lnTo>
                    <a:lnTo>
                      <a:pt x="115303" y="17607"/>
                    </a:lnTo>
                    <a:lnTo>
                      <a:pt x="115935" y="16804"/>
                    </a:lnTo>
                    <a:lnTo>
                      <a:pt x="116747" y="17607"/>
                    </a:lnTo>
                    <a:lnTo>
                      <a:pt x="117470" y="19211"/>
                    </a:lnTo>
                    <a:lnTo>
                      <a:pt x="118012" y="20802"/>
                    </a:lnTo>
                    <a:lnTo>
                      <a:pt x="118463" y="23208"/>
                    </a:lnTo>
                    <a:lnTo>
                      <a:pt x="118735" y="26403"/>
                    </a:lnTo>
                    <a:lnTo>
                      <a:pt x="118914" y="29612"/>
                    </a:lnTo>
                    <a:lnTo>
                      <a:pt x="119367" y="29612"/>
                    </a:lnTo>
                    <a:lnTo>
                      <a:pt x="119367" y="5615"/>
                    </a:lnTo>
                    <a:lnTo>
                      <a:pt x="118463" y="3208"/>
                    </a:lnTo>
                    <a:lnTo>
                      <a:pt x="117651" y="1604"/>
                    </a:lnTo>
                    <a:lnTo>
                      <a:pt x="116747" y="816"/>
                    </a:lnTo>
                    <a:close/>
                    <a:moveTo>
                      <a:pt x="84785" y="13"/>
                    </a:moveTo>
                    <a:lnTo>
                      <a:pt x="83971" y="816"/>
                    </a:lnTo>
                    <a:lnTo>
                      <a:pt x="83160" y="2406"/>
                    </a:lnTo>
                    <a:lnTo>
                      <a:pt x="82527" y="4813"/>
                    </a:lnTo>
                    <a:lnTo>
                      <a:pt x="81804" y="7206"/>
                    </a:lnTo>
                    <a:lnTo>
                      <a:pt x="81172" y="10414"/>
                    </a:lnTo>
                    <a:lnTo>
                      <a:pt x="80630" y="13609"/>
                    </a:lnTo>
                    <a:lnTo>
                      <a:pt x="80179" y="17607"/>
                    </a:lnTo>
                    <a:lnTo>
                      <a:pt x="79728" y="21604"/>
                    </a:lnTo>
                    <a:lnTo>
                      <a:pt x="79277" y="26403"/>
                    </a:lnTo>
                    <a:lnTo>
                      <a:pt x="78916" y="31203"/>
                    </a:lnTo>
                    <a:lnTo>
                      <a:pt x="78644" y="36804"/>
                    </a:lnTo>
                    <a:lnTo>
                      <a:pt x="78463" y="41604"/>
                    </a:lnTo>
                    <a:lnTo>
                      <a:pt x="78284" y="48008"/>
                    </a:lnTo>
                    <a:lnTo>
                      <a:pt x="78193" y="53609"/>
                    </a:lnTo>
                    <a:lnTo>
                      <a:pt x="78103" y="60000"/>
                    </a:lnTo>
                    <a:lnTo>
                      <a:pt x="78193" y="65601"/>
                    </a:lnTo>
                    <a:lnTo>
                      <a:pt x="78284" y="72005"/>
                    </a:lnTo>
                    <a:lnTo>
                      <a:pt x="78463" y="77593"/>
                    </a:lnTo>
                    <a:lnTo>
                      <a:pt x="78644" y="83195"/>
                    </a:lnTo>
                    <a:lnTo>
                      <a:pt x="78916" y="88796"/>
                    </a:lnTo>
                    <a:lnTo>
                      <a:pt x="79277" y="93596"/>
                    </a:lnTo>
                    <a:lnTo>
                      <a:pt x="79728" y="98395"/>
                    </a:lnTo>
                    <a:lnTo>
                      <a:pt x="80179" y="102392"/>
                    </a:lnTo>
                    <a:lnTo>
                      <a:pt x="80630" y="106390"/>
                    </a:lnTo>
                    <a:lnTo>
                      <a:pt x="81172" y="109598"/>
                    </a:lnTo>
                    <a:lnTo>
                      <a:pt x="81804" y="112793"/>
                    </a:lnTo>
                    <a:lnTo>
                      <a:pt x="82527" y="115200"/>
                    </a:lnTo>
                    <a:lnTo>
                      <a:pt x="83160" y="116791"/>
                    </a:lnTo>
                    <a:lnTo>
                      <a:pt x="83971" y="118395"/>
                    </a:lnTo>
                    <a:lnTo>
                      <a:pt x="84785" y="119197"/>
                    </a:lnTo>
                    <a:lnTo>
                      <a:pt x="85597" y="120000"/>
                    </a:lnTo>
                    <a:lnTo>
                      <a:pt x="86501" y="119197"/>
                    </a:lnTo>
                    <a:lnTo>
                      <a:pt x="87222" y="118395"/>
                    </a:lnTo>
                    <a:lnTo>
                      <a:pt x="88035" y="116791"/>
                    </a:lnTo>
                    <a:lnTo>
                      <a:pt x="88757" y="115200"/>
                    </a:lnTo>
                    <a:lnTo>
                      <a:pt x="89389" y="112793"/>
                    </a:lnTo>
                    <a:lnTo>
                      <a:pt x="90021" y="109598"/>
                    </a:lnTo>
                    <a:lnTo>
                      <a:pt x="90563" y="106390"/>
                    </a:lnTo>
                    <a:lnTo>
                      <a:pt x="91105" y="102392"/>
                    </a:lnTo>
                    <a:lnTo>
                      <a:pt x="91556" y="98395"/>
                    </a:lnTo>
                    <a:lnTo>
                      <a:pt x="91918" y="93596"/>
                    </a:lnTo>
                    <a:lnTo>
                      <a:pt x="92279" y="88796"/>
                    </a:lnTo>
                    <a:lnTo>
                      <a:pt x="92549" y="83195"/>
                    </a:lnTo>
                    <a:lnTo>
                      <a:pt x="92821" y="77593"/>
                    </a:lnTo>
                    <a:lnTo>
                      <a:pt x="92911" y="72005"/>
                    </a:lnTo>
                    <a:lnTo>
                      <a:pt x="93091" y="65601"/>
                    </a:lnTo>
                    <a:lnTo>
                      <a:pt x="93091" y="60000"/>
                    </a:lnTo>
                    <a:lnTo>
                      <a:pt x="93091" y="53609"/>
                    </a:lnTo>
                    <a:lnTo>
                      <a:pt x="92911" y="48008"/>
                    </a:lnTo>
                    <a:lnTo>
                      <a:pt x="92821" y="41604"/>
                    </a:lnTo>
                    <a:lnTo>
                      <a:pt x="92549" y="36804"/>
                    </a:lnTo>
                    <a:lnTo>
                      <a:pt x="92279" y="31203"/>
                    </a:lnTo>
                    <a:lnTo>
                      <a:pt x="91918" y="26403"/>
                    </a:lnTo>
                    <a:lnTo>
                      <a:pt x="91556" y="21604"/>
                    </a:lnTo>
                    <a:lnTo>
                      <a:pt x="91105" y="17607"/>
                    </a:lnTo>
                    <a:lnTo>
                      <a:pt x="90563" y="13609"/>
                    </a:lnTo>
                    <a:lnTo>
                      <a:pt x="90021" y="10414"/>
                    </a:lnTo>
                    <a:lnTo>
                      <a:pt x="89389" y="7206"/>
                    </a:lnTo>
                    <a:lnTo>
                      <a:pt x="88757" y="4813"/>
                    </a:lnTo>
                    <a:lnTo>
                      <a:pt x="88035" y="2406"/>
                    </a:lnTo>
                    <a:lnTo>
                      <a:pt x="87222" y="816"/>
                    </a:lnTo>
                    <a:lnTo>
                      <a:pt x="86501" y="13"/>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3" name="Google Shape;25;p2">
                <a:extLst>
                  <a:ext uri="{FF2B5EF4-FFF2-40B4-BE49-F238E27FC236}">
                    <a16:creationId xmlns:a16="http://schemas.microsoft.com/office/drawing/2014/main" id="{2258C6CB-D32C-494B-AE7C-697BC8A75D2D}"/>
                  </a:ext>
                </a:extLst>
              </p:cNvPr>
              <p:cNvSpPr/>
              <p:nvPr/>
            </p:nvSpPr>
            <p:spPr>
              <a:xfrm>
                <a:off x="5111957" y="3466175"/>
                <a:ext cx="75301" cy="205200"/>
              </a:xfrm>
              <a:custGeom>
                <a:avLst/>
                <a:gdLst/>
                <a:ahLst/>
                <a:cxnLst/>
                <a:rect l="l" t="t" r="r" b="b"/>
                <a:pathLst>
                  <a:path w="120000" h="120000" fill="none" extrusionOk="0">
                    <a:moveTo>
                      <a:pt x="0" y="4222"/>
                    </a:moveTo>
                    <a:lnTo>
                      <a:pt x="0" y="4222"/>
                    </a:lnTo>
                    <a:lnTo>
                      <a:pt x="11529" y="5070"/>
                    </a:lnTo>
                    <a:lnTo>
                      <a:pt x="23058" y="7612"/>
                    </a:lnTo>
                    <a:lnTo>
                      <a:pt x="23058" y="7612"/>
                    </a:lnTo>
                    <a:lnTo>
                      <a:pt x="30000" y="10987"/>
                    </a:lnTo>
                    <a:lnTo>
                      <a:pt x="32313" y="12682"/>
                    </a:lnTo>
                    <a:lnTo>
                      <a:pt x="34627" y="14362"/>
                    </a:lnTo>
                    <a:lnTo>
                      <a:pt x="34627" y="119985"/>
                    </a:lnTo>
                    <a:lnTo>
                      <a:pt x="119960" y="119985"/>
                    </a:lnTo>
                    <a:lnTo>
                      <a:pt x="119960"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4" name="Google Shape;26;p2">
                <a:extLst>
                  <a:ext uri="{FF2B5EF4-FFF2-40B4-BE49-F238E27FC236}">
                    <a16:creationId xmlns:a16="http://schemas.microsoft.com/office/drawing/2014/main" id="{CF4D11BF-D62B-4F07-9E8C-EC0B414399E3}"/>
                  </a:ext>
                </a:extLst>
              </p:cNvPr>
              <p:cNvSpPr/>
              <p:nvPr/>
            </p:nvSpPr>
            <p:spPr>
              <a:xfrm>
                <a:off x="5226157" y="3466175"/>
                <a:ext cx="232800" cy="205200"/>
              </a:xfrm>
              <a:custGeom>
                <a:avLst/>
                <a:gdLst/>
                <a:ahLst/>
                <a:cxnLst/>
                <a:rect l="l" t="t" r="r" b="b"/>
                <a:pathLst>
                  <a:path w="120000" h="120000" fill="none" extrusionOk="0">
                    <a:moveTo>
                      <a:pt x="99871" y="88732"/>
                    </a:moveTo>
                    <a:lnTo>
                      <a:pt x="40257" y="0"/>
                    </a:lnTo>
                    <a:lnTo>
                      <a:pt x="12" y="0"/>
                    </a:lnTo>
                    <a:lnTo>
                      <a:pt x="12" y="4222"/>
                    </a:lnTo>
                    <a:lnTo>
                      <a:pt x="12" y="4222"/>
                    </a:lnTo>
                    <a:lnTo>
                      <a:pt x="3737" y="5070"/>
                    </a:lnTo>
                    <a:lnTo>
                      <a:pt x="6713" y="7612"/>
                    </a:lnTo>
                    <a:lnTo>
                      <a:pt x="6713" y="7612"/>
                    </a:lnTo>
                    <a:lnTo>
                      <a:pt x="9703" y="10987"/>
                    </a:lnTo>
                    <a:lnTo>
                      <a:pt x="10451" y="12682"/>
                    </a:lnTo>
                    <a:lnTo>
                      <a:pt x="10451" y="14362"/>
                    </a:lnTo>
                    <a:lnTo>
                      <a:pt x="10451" y="119985"/>
                    </a:lnTo>
                    <a:lnTo>
                      <a:pt x="31314" y="119985"/>
                    </a:lnTo>
                    <a:lnTo>
                      <a:pt x="31314" y="40560"/>
                    </a:lnTo>
                    <a:lnTo>
                      <a:pt x="84226" y="119985"/>
                    </a:lnTo>
                    <a:lnTo>
                      <a:pt x="120000" y="119985"/>
                    </a:lnTo>
                    <a:lnTo>
                      <a:pt x="120000" y="0"/>
                    </a:lnTo>
                    <a:lnTo>
                      <a:pt x="99871" y="0"/>
                    </a:lnTo>
                    <a:lnTo>
                      <a:pt x="99871" y="8873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5" name="Google Shape;27;p2">
                <a:extLst>
                  <a:ext uri="{FF2B5EF4-FFF2-40B4-BE49-F238E27FC236}">
                    <a16:creationId xmlns:a16="http://schemas.microsoft.com/office/drawing/2014/main" id="{70D87961-26EE-4A25-9829-65EFD8F69381}"/>
                  </a:ext>
                </a:extLst>
              </p:cNvPr>
              <p:cNvSpPr/>
              <p:nvPr/>
            </p:nvSpPr>
            <p:spPr>
              <a:xfrm>
                <a:off x="5493632" y="3466175"/>
                <a:ext cx="236999" cy="205200"/>
              </a:xfrm>
              <a:custGeom>
                <a:avLst/>
                <a:gdLst/>
                <a:ahLst/>
                <a:cxnLst/>
                <a:rect l="l" t="t" r="r" b="b"/>
                <a:pathLst>
                  <a:path w="120000" h="120000" fill="none" extrusionOk="0">
                    <a:moveTo>
                      <a:pt x="68045" y="87885"/>
                    </a:moveTo>
                    <a:lnTo>
                      <a:pt x="38051" y="0"/>
                    </a:lnTo>
                    <a:lnTo>
                      <a:pt x="12" y="0"/>
                    </a:lnTo>
                    <a:lnTo>
                      <a:pt x="12" y="4222"/>
                    </a:lnTo>
                    <a:lnTo>
                      <a:pt x="12" y="4222"/>
                    </a:lnTo>
                    <a:lnTo>
                      <a:pt x="3668" y="5917"/>
                    </a:lnTo>
                    <a:lnTo>
                      <a:pt x="7324" y="7612"/>
                    </a:lnTo>
                    <a:lnTo>
                      <a:pt x="9525" y="10140"/>
                    </a:lnTo>
                    <a:lnTo>
                      <a:pt x="11714" y="13529"/>
                    </a:lnTo>
                    <a:lnTo>
                      <a:pt x="47564" y="119985"/>
                    </a:lnTo>
                    <a:lnTo>
                      <a:pt x="76824" y="119985"/>
                    </a:lnTo>
                    <a:lnTo>
                      <a:pt x="119987" y="0"/>
                    </a:lnTo>
                    <a:lnTo>
                      <a:pt x="99506" y="0"/>
                    </a:lnTo>
                    <a:lnTo>
                      <a:pt x="68045" y="8788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6" name="Google Shape;28;p2">
                <a:extLst>
                  <a:ext uri="{FF2B5EF4-FFF2-40B4-BE49-F238E27FC236}">
                    <a16:creationId xmlns:a16="http://schemas.microsoft.com/office/drawing/2014/main" id="{561F48D3-B49B-43AD-92E7-C3465CDB06AF}"/>
                  </a:ext>
                </a:extLst>
              </p:cNvPr>
              <p:cNvSpPr/>
              <p:nvPr/>
            </p:nvSpPr>
            <p:spPr>
              <a:xfrm>
                <a:off x="5759684" y="3466175"/>
                <a:ext cx="163501" cy="205200"/>
              </a:xfrm>
              <a:custGeom>
                <a:avLst/>
                <a:gdLst/>
                <a:ahLst/>
                <a:cxnLst/>
                <a:rect l="l" t="t" r="r" b="b"/>
                <a:pathLst>
                  <a:path w="120000" h="120000" fill="none" extrusionOk="0">
                    <a:moveTo>
                      <a:pt x="0" y="4222"/>
                    </a:moveTo>
                    <a:lnTo>
                      <a:pt x="0" y="4222"/>
                    </a:lnTo>
                    <a:lnTo>
                      <a:pt x="5305" y="5070"/>
                    </a:lnTo>
                    <a:lnTo>
                      <a:pt x="10611" y="7612"/>
                    </a:lnTo>
                    <a:lnTo>
                      <a:pt x="10611" y="7612"/>
                    </a:lnTo>
                    <a:lnTo>
                      <a:pt x="13806" y="10140"/>
                    </a:lnTo>
                    <a:lnTo>
                      <a:pt x="14871" y="12682"/>
                    </a:lnTo>
                    <a:lnTo>
                      <a:pt x="14871" y="14362"/>
                    </a:lnTo>
                    <a:lnTo>
                      <a:pt x="14871" y="119985"/>
                    </a:lnTo>
                    <a:lnTo>
                      <a:pt x="119981" y="119985"/>
                    </a:lnTo>
                    <a:lnTo>
                      <a:pt x="119981" y="102247"/>
                    </a:lnTo>
                    <a:lnTo>
                      <a:pt x="55208" y="102247"/>
                    </a:lnTo>
                    <a:lnTo>
                      <a:pt x="55208" y="65062"/>
                    </a:lnTo>
                    <a:lnTo>
                      <a:pt x="114675" y="65062"/>
                    </a:lnTo>
                    <a:lnTo>
                      <a:pt x="114675" y="48172"/>
                    </a:lnTo>
                    <a:lnTo>
                      <a:pt x="55208" y="48172"/>
                    </a:lnTo>
                    <a:lnTo>
                      <a:pt x="55208" y="17752"/>
                    </a:lnTo>
                    <a:lnTo>
                      <a:pt x="119981" y="17752"/>
                    </a:lnTo>
                    <a:lnTo>
                      <a:pt x="119981"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7" name="Google Shape;29;p2">
                <a:extLst>
                  <a:ext uri="{FF2B5EF4-FFF2-40B4-BE49-F238E27FC236}">
                    <a16:creationId xmlns:a16="http://schemas.microsoft.com/office/drawing/2014/main" id="{41D87E24-152F-404F-A30E-C426259179F8}"/>
                  </a:ext>
                </a:extLst>
              </p:cNvPr>
              <p:cNvSpPr/>
              <p:nvPr/>
            </p:nvSpPr>
            <p:spPr>
              <a:xfrm>
                <a:off x="5963535" y="3463276"/>
                <a:ext cx="159001" cy="212400"/>
              </a:xfrm>
              <a:custGeom>
                <a:avLst/>
                <a:gdLst/>
                <a:ahLst/>
                <a:cxnLst/>
                <a:rect l="l" t="t" r="r" b="b"/>
                <a:pathLst>
                  <a:path w="120000" h="120000" fill="none" extrusionOk="0">
                    <a:moveTo>
                      <a:pt x="83992" y="52251"/>
                    </a:moveTo>
                    <a:lnTo>
                      <a:pt x="83992" y="52251"/>
                    </a:lnTo>
                    <a:lnTo>
                      <a:pt x="61093" y="41637"/>
                    </a:lnTo>
                    <a:lnTo>
                      <a:pt x="61093" y="41637"/>
                    </a:lnTo>
                    <a:lnTo>
                      <a:pt x="52360" y="36739"/>
                    </a:lnTo>
                    <a:lnTo>
                      <a:pt x="46909" y="33479"/>
                    </a:lnTo>
                    <a:lnTo>
                      <a:pt x="43646" y="30204"/>
                    </a:lnTo>
                    <a:lnTo>
                      <a:pt x="42552" y="27762"/>
                    </a:lnTo>
                    <a:lnTo>
                      <a:pt x="42552" y="27762"/>
                    </a:lnTo>
                    <a:lnTo>
                      <a:pt x="43646" y="24502"/>
                    </a:lnTo>
                    <a:lnTo>
                      <a:pt x="46909" y="21227"/>
                    </a:lnTo>
                    <a:lnTo>
                      <a:pt x="46909" y="21227"/>
                    </a:lnTo>
                    <a:lnTo>
                      <a:pt x="51285" y="19604"/>
                    </a:lnTo>
                    <a:lnTo>
                      <a:pt x="56736" y="17967"/>
                    </a:lnTo>
                    <a:lnTo>
                      <a:pt x="63281" y="17148"/>
                    </a:lnTo>
                    <a:lnTo>
                      <a:pt x="70921" y="16330"/>
                    </a:lnTo>
                    <a:lnTo>
                      <a:pt x="70921" y="16330"/>
                    </a:lnTo>
                    <a:lnTo>
                      <a:pt x="80729" y="17148"/>
                    </a:lnTo>
                    <a:lnTo>
                      <a:pt x="89462" y="18786"/>
                    </a:lnTo>
                    <a:lnTo>
                      <a:pt x="89462" y="18786"/>
                    </a:lnTo>
                    <a:lnTo>
                      <a:pt x="96007" y="20409"/>
                    </a:lnTo>
                    <a:lnTo>
                      <a:pt x="101458" y="22865"/>
                    </a:lnTo>
                    <a:lnTo>
                      <a:pt x="104721" y="26125"/>
                    </a:lnTo>
                    <a:lnTo>
                      <a:pt x="108003" y="29400"/>
                    </a:lnTo>
                    <a:lnTo>
                      <a:pt x="112360" y="29400"/>
                    </a:lnTo>
                    <a:lnTo>
                      <a:pt x="112360" y="4911"/>
                    </a:lnTo>
                    <a:lnTo>
                      <a:pt x="112360" y="4911"/>
                    </a:lnTo>
                    <a:lnTo>
                      <a:pt x="102552" y="2455"/>
                    </a:lnTo>
                    <a:lnTo>
                      <a:pt x="91631" y="818"/>
                    </a:lnTo>
                    <a:lnTo>
                      <a:pt x="80729" y="14"/>
                    </a:lnTo>
                    <a:lnTo>
                      <a:pt x="68733" y="14"/>
                    </a:lnTo>
                    <a:lnTo>
                      <a:pt x="68733" y="14"/>
                    </a:lnTo>
                    <a:lnTo>
                      <a:pt x="53454" y="818"/>
                    </a:lnTo>
                    <a:lnTo>
                      <a:pt x="40364" y="2455"/>
                    </a:lnTo>
                    <a:lnTo>
                      <a:pt x="28368" y="4911"/>
                    </a:lnTo>
                    <a:lnTo>
                      <a:pt x="18560" y="8990"/>
                    </a:lnTo>
                    <a:lnTo>
                      <a:pt x="18560" y="8990"/>
                    </a:lnTo>
                    <a:lnTo>
                      <a:pt x="10921" y="13069"/>
                    </a:lnTo>
                    <a:lnTo>
                      <a:pt x="5469" y="18786"/>
                    </a:lnTo>
                    <a:lnTo>
                      <a:pt x="2187" y="24502"/>
                    </a:lnTo>
                    <a:lnTo>
                      <a:pt x="1093" y="31023"/>
                    </a:lnTo>
                    <a:lnTo>
                      <a:pt x="1093" y="31023"/>
                    </a:lnTo>
                    <a:lnTo>
                      <a:pt x="2187" y="36739"/>
                    </a:lnTo>
                    <a:lnTo>
                      <a:pt x="5469" y="42455"/>
                    </a:lnTo>
                    <a:lnTo>
                      <a:pt x="8733" y="47353"/>
                    </a:lnTo>
                    <a:lnTo>
                      <a:pt x="15278" y="52251"/>
                    </a:lnTo>
                    <a:lnTo>
                      <a:pt x="15278" y="52251"/>
                    </a:lnTo>
                    <a:lnTo>
                      <a:pt x="25105" y="58786"/>
                    </a:lnTo>
                    <a:lnTo>
                      <a:pt x="41458" y="66944"/>
                    </a:lnTo>
                    <a:lnTo>
                      <a:pt x="41458" y="66944"/>
                    </a:lnTo>
                    <a:lnTo>
                      <a:pt x="63281" y="76739"/>
                    </a:lnTo>
                    <a:lnTo>
                      <a:pt x="63281" y="76739"/>
                    </a:lnTo>
                    <a:lnTo>
                      <a:pt x="69827" y="80818"/>
                    </a:lnTo>
                    <a:lnTo>
                      <a:pt x="74184" y="84897"/>
                    </a:lnTo>
                    <a:lnTo>
                      <a:pt x="76372" y="88158"/>
                    </a:lnTo>
                    <a:lnTo>
                      <a:pt x="77466" y="92251"/>
                    </a:lnTo>
                    <a:lnTo>
                      <a:pt x="77466" y="92251"/>
                    </a:lnTo>
                    <a:lnTo>
                      <a:pt x="76372" y="94693"/>
                    </a:lnTo>
                    <a:lnTo>
                      <a:pt x="75278" y="97148"/>
                    </a:lnTo>
                    <a:lnTo>
                      <a:pt x="71996" y="99590"/>
                    </a:lnTo>
                    <a:lnTo>
                      <a:pt x="68733" y="101227"/>
                    </a:lnTo>
                    <a:lnTo>
                      <a:pt x="68733" y="101227"/>
                    </a:lnTo>
                    <a:lnTo>
                      <a:pt x="61093" y="102851"/>
                    </a:lnTo>
                    <a:lnTo>
                      <a:pt x="53454" y="102851"/>
                    </a:lnTo>
                    <a:lnTo>
                      <a:pt x="53454" y="102851"/>
                    </a:lnTo>
                    <a:lnTo>
                      <a:pt x="39270" y="102851"/>
                    </a:lnTo>
                    <a:lnTo>
                      <a:pt x="25105" y="101227"/>
                    </a:lnTo>
                    <a:lnTo>
                      <a:pt x="12015" y="97953"/>
                    </a:lnTo>
                    <a:lnTo>
                      <a:pt x="0" y="93874"/>
                    </a:lnTo>
                    <a:lnTo>
                      <a:pt x="0" y="114283"/>
                    </a:lnTo>
                    <a:lnTo>
                      <a:pt x="0" y="114283"/>
                    </a:lnTo>
                    <a:lnTo>
                      <a:pt x="12015" y="116739"/>
                    </a:lnTo>
                    <a:lnTo>
                      <a:pt x="24011" y="118362"/>
                    </a:lnTo>
                    <a:lnTo>
                      <a:pt x="37101" y="119181"/>
                    </a:lnTo>
                    <a:lnTo>
                      <a:pt x="49097" y="120000"/>
                    </a:lnTo>
                    <a:lnTo>
                      <a:pt x="49097" y="120000"/>
                    </a:lnTo>
                    <a:lnTo>
                      <a:pt x="59999" y="119181"/>
                    </a:lnTo>
                    <a:lnTo>
                      <a:pt x="69827" y="118362"/>
                    </a:lnTo>
                    <a:lnTo>
                      <a:pt x="79635" y="117544"/>
                    </a:lnTo>
                    <a:lnTo>
                      <a:pt x="88368" y="115102"/>
                    </a:lnTo>
                    <a:lnTo>
                      <a:pt x="88368" y="115102"/>
                    </a:lnTo>
                    <a:lnTo>
                      <a:pt x="94913" y="112646"/>
                    </a:lnTo>
                    <a:lnTo>
                      <a:pt x="102552" y="110204"/>
                    </a:lnTo>
                    <a:lnTo>
                      <a:pt x="108003" y="106944"/>
                    </a:lnTo>
                    <a:lnTo>
                      <a:pt x="112360" y="103669"/>
                    </a:lnTo>
                    <a:lnTo>
                      <a:pt x="115642" y="99590"/>
                    </a:lnTo>
                    <a:lnTo>
                      <a:pt x="117812" y="95511"/>
                    </a:lnTo>
                    <a:lnTo>
                      <a:pt x="119999" y="90613"/>
                    </a:lnTo>
                    <a:lnTo>
                      <a:pt x="119999" y="85716"/>
                    </a:lnTo>
                    <a:lnTo>
                      <a:pt x="119999" y="85716"/>
                    </a:lnTo>
                    <a:lnTo>
                      <a:pt x="119999" y="81637"/>
                    </a:lnTo>
                    <a:lnTo>
                      <a:pt x="117812" y="77558"/>
                    </a:lnTo>
                    <a:lnTo>
                      <a:pt x="115642" y="73465"/>
                    </a:lnTo>
                    <a:lnTo>
                      <a:pt x="111266" y="69386"/>
                    </a:lnTo>
                    <a:lnTo>
                      <a:pt x="105815" y="64488"/>
                    </a:lnTo>
                    <a:lnTo>
                      <a:pt x="100364" y="60409"/>
                    </a:lnTo>
                    <a:lnTo>
                      <a:pt x="92725" y="56330"/>
                    </a:lnTo>
                    <a:lnTo>
                      <a:pt x="83992"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8" name="Google Shape;30;p2">
                <a:extLst>
                  <a:ext uri="{FF2B5EF4-FFF2-40B4-BE49-F238E27FC236}">
                    <a16:creationId xmlns:a16="http://schemas.microsoft.com/office/drawing/2014/main" id="{F68F9F91-3D8B-4CFE-9297-199C77CDBFFC}"/>
                  </a:ext>
                </a:extLst>
              </p:cNvPr>
              <p:cNvSpPr/>
              <p:nvPr/>
            </p:nvSpPr>
            <p:spPr>
              <a:xfrm>
                <a:off x="6148584" y="3466175"/>
                <a:ext cx="201000" cy="205200"/>
              </a:xfrm>
              <a:custGeom>
                <a:avLst/>
                <a:gdLst/>
                <a:ahLst/>
                <a:cxnLst/>
                <a:rect l="l" t="t" r="r" b="b"/>
                <a:pathLst>
                  <a:path w="120000" h="120000" fill="none" extrusionOk="0">
                    <a:moveTo>
                      <a:pt x="14" y="17752"/>
                    </a:moveTo>
                    <a:lnTo>
                      <a:pt x="44029" y="17752"/>
                    </a:lnTo>
                    <a:lnTo>
                      <a:pt x="44029" y="119985"/>
                    </a:lnTo>
                    <a:lnTo>
                      <a:pt x="75970" y="119985"/>
                    </a:lnTo>
                    <a:lnTo>
                      <a:pt x="75970" y="17752"/>
                    </a:lnTo>
                    <a:lnTo>
                      <a:pt x="120000" y="17752"/>
                    </a:lnTo>
                    <a:lnTo>
                      <a:pt x="120000" y="0"/>
                    </a:lnTo>
                    <a:lnTo>
                      <a:pt x="14" y="0"/>
                    </a:lnTo>
                    <a:lnTo>
                      <a:pt x="14" y="1775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9" name="Google Shape;31;p2">
                <a:extLst>
                  <a:ext uri="{FF2B5EF4-FFF2-40B4-BE49-F238E27FC236}">
                    <a16:creationId xmlns:a16="http://schemas.microsoft.com/office/drawing/2014/main" id="{7792CA71-FC4E-44BE-AC3B-ECBB24CAB781}"/>
                  </a:ext>
                </a:extLst>
              </p:cNvPr>
              <p:cNvSpPr/>
              <p:nvPr/>
            </p:nvSpPr>
            <p:spPr>
              <a:xfrm>
                <a:off x="6625710" y="3466175"/>
                <a:ext cx="219899" cy="205200"/>
              </a:xfrm>
              <a:custGeom>
                <a:avLst/>
                <a:gdLst/>
                <a:ahLst/>
                <a:cxnLst/>
                <a:rect l="l" t="t" r="r" b="b"/>
                <a:pathLst>
                  <a:path w="120000" h="120000" fill="none" extrusionOk="0">
                    <a:moveTo>
                      <a:pt x="89208" y="79425"/>
                    </a:moveTo>
                    <a:lnTo>
                      <a:pt x="89208" y="79425"/>
                    </a:lnTo>
                    <a:lnTo>
                      <a:pt x="85263" y="74355"/>
                    </a:lnTo>
                    <a:lnTo>
                      <a:pt x="85263" y="74355"/>
                    </a:lnTo>
                    <a:lnTo>
                      <a:pt x="81305" y="69299"/>
                    </a:lnTo>
                    <a:lnTo>
                      <a:pt x="77361" y="65910"/>
                    </a:lnTo>
                    <a:lnTo>
                      <a:pt x="77361" y="65910"/>
                    </a:lnTo>
                    <a:lnTo>
                      <a:pt x="85263" y="64229"/>
                    </a:lnTo>
                    <a:lnTo>
                      <a:pt x="91569" y="62535"/>
                    </a:lnTo>
                    <a:lnTo>
                      <a:pt x="97888" y="59159"/>
                    </a:lnTo>
                    <a:lnTo>
                      <a:pt x="101833" y="55770"/>
                    </a:lnTo>
                    <a:lnTo>
                      <a:pt x="105777" y="51547"/>
                    </a:lnTo>
                    <a:lnTo>
                      <a:pt x="108152" y="46477"/>
                    </a:lnTo>
                    <a:lnTo>
                      <a:pt x="109722" y="41407"/>
                    </a:lnTo>
                    <a:lnTo>
                      <a:pt x="110514" y="35490"/>
                    </a:lnTo>
                    <a:lnTo>
                      <a:pt x="110514" y="35490"/>
                    </a:lnTo>
                    <a:lnTo>
                      <a:pt x="109722" y="27044"/>
                    </a:lnTo>
                    <a:lnTo>
                      <a:pt x="107361" y="20280"/>
                    </a:lnTo>
                    <a:lnTo>
                      <a:pt x="103416" y="14362"/>
                    </a:lnTo>
                    <a:lnTo>
                      <a:pt x="98680" y="9292"/>
                    </a:lnTo>
                    <a:lnTo>
                      <a:pt x="91569" y="5070"/>
                    </a:lnTo>
                    <a:lnTo>
                      <a:pt x="83680" y="2542"/>
                    </a:lnTo>
                    <a:lnTo>
                      <a:pt x="74208" y="847"/>
                    </a:lnTo>
                    <a:lnTo>
                      <a:pt x="63152" y="0"/>
                    </a:lnTo>
                    <a:lnTo>
                      <a:pt x="13" y="0"/>
                    </a:lnTo>
                    <a:lnTo>
                      <a:pt x="13" y="4222"/>
                    </a:lnTo>
                    <a:lnTo>
                      <a:pt x="13" y="4222"/>
                    </a:lnTo>
                    <a:lnTo>
                      <a:pt x="3958" y="5070"/>
                    </a:lnTo>
                    <a:lnTo>
                      <a:pt x="7902" y="7612"/>
                    </a:lnTo>
                    <a:lnTo>
                      <a:pt x="7902" y="7612"/>
                    </a:lnTo>
                    <a:lnTo>
                      <a:pt x="10263" y="10140"/>
                    </a:lnTo>
                    <a:lnTo>
                      <a:pt x="11055" y="11834"/>
                    </a:lnTo>
                    <a:lnTo>
                      <a:pt x="11847" y="13529"/>
                    </a:lnTo>
                    <a:lnTo>
                      <a:pt x="11847" y="119985"/>
                    </a:lnTo>
                    <a:lnTo>
                      <a:pt x="41055" y="119985"/>
                    </a:lnTo>
                    <a:lnTo>
                      <a:pt x="41055" y="67605"/>
                    </a:lnTo>
                    <a:lnTo>
                      <a:pt x="41055" y="67605"/>
                    </a:lnTo>
                    <a:lnTo>
                      <a:pt x="47374" y="71827"/>
                    </a:lnTo>
                    <a:lnTo>
                      <a:pt x="53680" y="77745"/>
                    </a:lnTo>
                    <a:lnTo>
                      <a:pt x="53680" y="77745"/>
                    </a:lnTo>
                    <a:lnTo>
                      <a:pt x="63152" y="91260"/>
                    </a:lnTo>
                    <a:lnTo>
                      <a:pt x="85263" y="119985"/>
                    </a:lnTo>
                    <a:lnTo>
                      <a:pt x="119986" y="119985"/>
                    </a:lnTo>
                    <a:lnTo>
                      <a:pt x="93152" y="85342"/>
                    </a:lnTo>
                    <a:lnTo>
                      <a:pt x="89208" y="794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0" name="Google Shape;32;p2">
                <a:extLst>
                  <a:ext uri="{FF2B5EF4-FFF2-40B4-BE49-F238E27FC236}">
                    <a16:creationId xmlns:a16="http://schemas.microsoft.com/office/drawing/2014/main" id="{F220252A-7953-4484-9A85-4EC7CFC91BD0}"/>
                  </a:ext>
                </a:extLst>
              </p:cNvPr>
              <p:cNvSpPr/>
              <p:nvPr/>
            </p:nvSpPr>
            <p:spPr>
              <a:xfrm>
                <a:off x="6700885" y="3493650"/>
                <a:ext cx="73801" cy="72300"/>
              </a:xfrm>
              <a:custGeom>
                <a:avLst/>
                <a:gdLst/>
                <a:ahLst/>
                <a:cxnLst/>
                <a:rect l="l" t="t" r="r" b="b"/>
                <a:pathLst>
                  <a:path w="120000" h="120000" fill="none" extrusionOk="0">
                    <a:moveTo>
                      <a:pt x="28261" y="120000"/>
                    </a:moveTo>
                    <a:lnTo>
                      <a:pt x="28261" y="120000"/>
                    </a:lnTo>
                    <a:lnTo>
                      <a:pt x="40" y="117593"/>
                    </a:lnTo>
                    <a:lnTo>
                      <a:pt x="40" y="0"/>
                    </a:lnTo>
                    <a:lnTo>
                      <a:pt x="30620" y="0"/>
                    </a:lnTo>
                    <a:lnTo>
                      <a:pt x="30620" y="0"/>
                    </a:lnTo>
                    <a:lnTo>
                      <a:pt x="58841" y="0"/>
                    </a:lnTo>
                    <a:lnTo>
                      <a:pt x="79986" y="2406"/>
                    </a:lnTo>
                    <a:lnTo>
                      <a:pt x="79986" y="2406"/>
                    </a:lnTo>
                    <a:lnTo>
                      <a:pt x="96455" y="9585"/>
                    </a:lnTo>
                    <a:lnTo>
                      <a:pt x="103531" y="14398"/>
                    </a:lnTo>
                    <a:lnTo>
                      <a:pt x="110565" y="21618"/>
                    </a:lnTo>
                    <a:lnTo>
                      <a:pt x="112924" y="28796"/>
                    </a:lnTo>
                    <a:lnTo>
                      <a:pt x="117641" y="36016"/>
                    </a:lnTo>
                    <a:lnTo>
                      <a:pt x="119959" y="55186"/>
                    </a:lnTo>
                    <a:lnTo>
                      <a:pt x="119959" y="55186"/>
                    </a:lnTo>
                    <a:lnTo>
                      <a:pt x="117641" y="69585"/>
                    </a:lnTo>
                    <a:lnTo>
                      <a:pt x="112924" y="83983"/>
                    </a:lnTo>
                    <a:lnTo>
                      <a:pt x="105848" y="93609"/>
                    </a:lnTo>
                    <a:lnTo>
                      <a:pt x="96455" y="103195"/>
                    </a:lnTo>
                    <a:lnTo>
                      <a:pt x="84703" y="110373"/>
                    </a:lnTo>
                    <a:lnTo>
                      <a:pt x="68234" y="115186"/>
                    </a:lnTo>
                    <a:lnTo>
                      <a:pt x="49406" y="117593"/>
                    </a:lnTo>
                    <a:lnTo>
                      <a:pt x="28261" y="12000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1" name="Google Shape;33;p2">
                <a:extLst>
                  <a:ext uri="{FF2B5EF4-FFF2-40B4-BE49-F238E27FC236}">
                    <a16:creationId xmlns:a16="http://schemas.microsoft.com/office/drawing/2014/main" id="{C4E5C799-8572-4EE2-8D82-B2A51903A8D4}"/>
                  </a:ext>
                </a:extLst>
              </p:cNvPr>
              <p:cNvSpPr/>
              <p:nvPr/>
            </p:nvSpPr>
            <p:spPr>
              <a:xfrm>
                <a:off x="6874386" y="3463276"/>
                <a:ext cx="159001" cy="212400"/>
              </a:xfrm>
              <a:custGeom>
                <a:avLst/>
                <a:gdLst/>
                <a:ahLst/>
                <a:cxnLst/>
                <a:rect l="l" t="t" r="r" b="b"/>
                <a:pathLst>
                  <a:path w="120000" h="120000" fill="none" extrusionOk="0">
                    <a:moveTo>
                      <a:pt x="83998" y="52251"/>
                    </a:moveTo>
                    <a:lnTo>
                      <a:pt x="83998" y="52251"/>
                    </a:lnTo>
                    <a:lnTo>
                      <a:pt x="60009" y="41637"/>
                    </a:lnTo>
                    <a:lnTo>
                      <a:pt x="60009" y="41637"/>
                    </a:lnTo>
                    <a:lnTo>
                      <a:pt x="52371" y="36739"/>
                    </a:lnTo>
                    <a:lnTo>
                      <a:pt x="46921" y="33479"/>
                    </a:lnTo>
                    <a:lnTo>
                      <a:pt x="43639" y="30204"/>
                    </a:lnTo>
                    <a:lnTo>
                      <a:pt x="42545" y="27762"/>
                    </a:lnTo>
                    <a:lnTo>
                      <a:pt x="42545" y="27762"/>
                    </a:lnTo>
                    <a:lnTo>
                      <a:pt x="43639" y="24502"/>
                    </a:lnTo>
                    <a:lnTo>
                      <a:pt x="46921" y="21227"/>
                    </a:lnTo>
                    <a:lnTo>
                      <a:pt x="46921" y="21227"/>
                    </a:lnTo>
                    <a:lnTo>
                      <a:pt x="51277" y="19604"/>
                    </a:lnTo>
                    <a:lnTo>
                      <a:pt x="56727" y="17967"/>
                    </a:lnTo>
                    <a:lnTo>
                      <a:pt x="63272" y="17148"/>
                    </a:lnTo>
                    <a:lnTo>
                      <a:pt x="70909" y="16330"/>
                    </a:lnTo>
                    <a:lnTo>
                      <a:pt x="70909" y="16330"/>
                    </a:lnTo>
                    <a:lnTo>
                      <a:pt x="80716" y="17148"/>
                    </a:lnTo>
                    <a:lnTo>
                      <a:pt x="89448" y="18786"/>
                    </a:lnTo>
                    <a:lnTo>
                      <a:pt x="89448" y="18786"/>
                    </a:lnTo>
                    <a:lnTo>
                      <a:pt x="95992" y="20409"/>
                    </a:lnTo>
                    <a:lnTo>
                      <a:pt x="101442" y="22865"/>
                    </a:lnTo>
                    <a:lnTo>
                      <a:pt x="104724" y="26125"/>
                    </a:lnTo>
                    <a:lnTo>
                      <a:pt x="106892" y="29400"/>
                    </a:lnTo>
                    <a:lnTo>
                      <a:pt x="112362" y="29400"/>
                    </a:lnTo>
                    <a:lnTo>
                      <a:pt x="112362" y="4911"/>
                    </a:lnTo>
                    <a:lnTo>
                      <a:pt x="112362" y="4911"/>
                    </a:lnTo>
                    <a:lnTo>
                      <a:pt x="101442" y="2455"/>
                    </a:lnTo>
                    <a:lnTo>
                      <a:pt x="91636" y="818"/>
                    </a:lnTo>
                    <a:lnTo>
                      <a:pt x="80716" y="14"/>
                    </a:lnTo>
                    <a:lnTo>
                      <a:pt x="68722" y="14"/>
                    </a:lnTo>
                    <a:lnTo>
                      <a:pt x="68722" y="14"/>
                    </a:lnTo>
                    <a:lnTo>
                      <a:pt x="53465" y="818"/>
                    </a:lnTo>
                    <a:lnTo>
                      <a:pt x="39283" y="2455"/>
                    </a:lnTo>
                    <a:lnTo>
                      <a:pt x="28363" y="4911"/>
                    </a:lnTo>
                    <a:lnTo>
                      <a:pt x="18557" y="8990"/>
                    </a:lnTo>
                    <a:lnTo>
                      <a:pt x="18557" y="8990"/>
                    </a:lnTo>
                    <a:lnTo>
                      <a:pt x="10919" y="13069"/>
                    </a:lnTo>
                    <a:lnTo>
                      <a:pt x="5469" y="18786"/>
                    </a:lnTo>
                    <a:lnTo>
                      <a:pt x="2206" y="24502"/>
                    </a:lnTo>
                    <a:lnTo>
                      <a:pt x="1112" y="31023"/>
                    </a:lnTo>
                    <a:lnTo>
                      <a:pt x="1112" y="31023"/>
                    </a:lnTo>
                    <a:lnTo>
                      <a:pt x="2206" y="36739"/>
                    </a:lnTo>
                    <a:lnTo>
                      <a:pt x="4375" y="42455"/>
                    </a:lnTo>
                    <a:lnTo>
                      <a:pt x="8731" y="47353"/>
                    </a:lnTo>
                    <a:lnTo>
                      <a:pt x="15275" y="52251"/>
                    </a:lnTo>
                    <a:lnTo>
                      <a:pt x="15275" y="52251"/>
                    </a:lnTo>
                    <a:lnTo>
                      <a:pt x="25101" y="58786"/>
                    </a:lnTo>
                    <a:lnTo>
                      <a:pt x="41452" y="66944"/>
                    </a:lnTo>
                    <a:lnTo>
                      <a:pt x="41452" y="66944"/>
                    </a:lnTo>
                    <a:lnTo>
                      <a:pt x="63272" y="76739"/>
                    </a:lnTo>
                    <a:lnTo>
                      <a:pt x="63272" y="76739"/>
                    </a:lnTo>
                    <a:lnTo>
                      <a:pt x="69816" y="80818"/>
                    </a:lnTo>
                    <a:lnTo>
                      <a:pt x="74172" y="84897"/>
                    </a:lnTo>
                    <a:lnTo>
                      <a:pt x="76360" y="88158"/>
                    </a:lnTo>
                    <a:lnTo>
                      <a:pt x="77454" y="92251"/>
                    </a:lnTo>
                    <a:lnTo>
                      <a:pt x="77454" y="92251"/>
                    </a:lnTo>
                    <a:lnTo>
                      <a:pt x="76360" y="94693"/>
                    </a:lnTo>
                    <a:lnTo>
                      <a:pt x="75266" y="97148"/>
                    </a:lnTo>
                    <a:lnTo>
                      <a:pt x="72003" y="99590"/>
                    </a:lnTo>
                    <a:lnTo>
                      <a:pt x="68722" y="101227"/>
                    </a:lnTo>
                    <a:lnTo>
                      <a:pt x="68722" y="101227"/>
                    </a:lnTo>
                    <a:lnTo>
                      <a:pt x="61084" y="102851"/>
                    </a:lnTo>
                    <a:lnTo>
                      <a:pt x="52371" y="102851"/>
                    </a:lnTo>
                    <a:lnTo>
                      <a:pt x="52371" y="102851"/>
                    </a:lnTo>
                    <a:lnTo>
                      <a:pt x="38189" y="102851"/>
                    </a:lnTo>
                    <a:lnTo>
                      <a:pt x="25101" y="101227"/>
                    </a:lnTo>
                    <a:lnTo>
                      <a:pt x="12013" y="97953"/>
                    </a:lnTo>
                    <a:lnTo>
                      <a:pt x="18" y="93874"/>
                    </a:lnTo>
                    <a:lnTo>
                      <a:pt x="18" y="114283"/>
                    </a:lnTo>
                    <a:lnTo>
                      <a:pt x="18" y="114283"/>
                    </a:lnTo>
                    <a:lnTo>
                      <a:pt x="12013" y="116739"/>
                    </a:lnTo>
                    <a:lnTo>
                      <a:pt x="24007" y="118362"/>
                    </a:lnTo>
                    <a:lnTo>
                      <a:pt x="36001" y="119181"/>
                    </a:lnTo>
                    <a:lnTo>
                      <a:pt x="49090" y="120000"/>
                    </a:lnTo>
                    <a:lnTo>
                      <a:pt x="49090" y="120000"/>
                    </a:lnTo>
                    <a:lnTo>
                      <a:pt x="60009" y="119181"/>
                    </a:lnTo>
                    <a:lnTo>
                      <a:pt x="69816" y="118362"/>
                    </a:lnTo>
                    <a:lnTo>
                      <a:pt x="79641" y="117544"/>
                    </a:lnTo>
                    <a:lnTo>
                      <a:pt x="87260" y="115102"/>
                    </a:lnTo>
                    <a:lnTo>
                      <a:pt x="87260" y="115102"/>
                    </a:lnTo>
                    <a:lnTo>
                      <a:pt x="94898" y="112646"/>
                    </a:lnTo>
                    <a:lnTo>
                      <a:pt x="101442" y="110204"/>
                    </a:lnTo>
                    <a:lnTo>
                      <a:pt x="106892" y="106944"/>
                    </a:lnTo>
                    <a:lnTo>
                      <a:pt x="112362" y="103669"/>
                    </a:lnTo>
                    <a:lnTo>
                      <a:pt x="115624" y="99590"/>
                    </a:lnTo>
                    <a:lnTo>
                      <a:pt x="117812" y="95511"/>
                    </a:lnTo>
                    <a:lnTo>
                      <a:pt x="119981" y="90613"/>
                    </a:lnTo>
                    <a:lnTo>
                      <a:pt x="119981" y="85716"/>
                    </a:lnTo>
                    <a:lnTo>
                      <a:pt x="119981" y="85716"/>
                    </a:lnTo>
                    <a:lnTo>
                      <a:pt x="118906" y="81637"/>
                    </a:lnTo>
                    <a:lnTo>
                      <a:pt x="117812" y="77558"/>
                    </a:lnTo>
                    <a:lnTo>
                      <a:pt x="114530" y="73465"/>
                    </a:lnTo>
                    <a:lnTo>
                      <a:pt x="111268" y="69386"/>
                    </a:lnTo>
                    <a:lnTo>
                      <a:pt x="105818" y="64488"/>
                    </a:lnTo>
                    <a:lnTo>
                      <a:pt x="100348" y="60409"/>
                    </a:lnTo>
                    <a:lnTo>
                      <a:pt x="92729" y="56330"/>
                    </a:lnTo>
                    <a:lnTo>
                      <a:pt x="83998"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2" name="Google Shape;34;p2">
                <a:extLst>
                  <a:ext uri="{FF2B5EF4-FFF2-40B4-BE49-F238E27FC236}">
                    <a16:creationId xmlns:a16="http://schemas.microsoft.com/office/drawing/2014/main" id="{A9702707-CB55-432F-ABC4-190C226977C5}"/>
                  </a:ext>
                </a:extLst>
              </p:cNvPr>
              <p:cNvSpPr/>
              <p:nvPr/>
            </p:nvSpPr>
            <p:spPr>
              <a:xfrm>
                <a:off x="6362585" y="3461826"/>
                <a:ext cx="240001" cy="216899"/>
              </a:xfrm>
              <a:custGeom>
                <a:avLst/>
                <a:gdLst/>
                <a:ahLst/>
                <a:cxnLst/>
                <a:rect l="l" t="t" r="r" b="b"/>
                <a:pathLst>
                  <a:path w="120000" h="120000" fill="none" extrusionOk="0">
                    <a:moveTo>
                      <a:pt x="59993" y="13"/>
                    </a:moveTo>
                    <a:lnTo>
                      <a:pt x="59993" y="13"/>
                    </a:lnTo>
                    <a:lnTo>
                      <a:pt x="53494" y="13"/>
                    </a:lnTo>
                    <a:lnTo>
                      <a:pt x="46982" y="816"/>
                    </a:lnTo>
                    <a:lnTo>
                      <a:pt x="40483" y="2406"/>
                    </a:lnTo>
                    <a:lnTo>
                      <a:pt x="35421" y="4813"/>
                    </a:lnTo>
                    <a:lnTo>
                      <a:pt x="29634" y="7206"/>
                    </a:lnTo>
                    <a:lnTo>
                      <a:pt x="24572" y="10414"/>
                    </a:lnTo>
                    <a:lnTo>
                      <a:pt x="20235" y="13609"/>
                    </a:lnTo>
                    <a:lnTo>
                      <a:pt x="16623" y="17607"/>
                    </a:lnTo>
                    <a:lnTo>
                      <a:pt x="13011" y="21604"/>
                    </a:lnTo>
                    <a:lnTo>
                      <a:pt x="9399" y="26403"/>
                    </a:lnTo>
                    <a:lnTo>
                      <a:pt x="6511" y="31203"/>
                    </a:lnTo>
                    <a:lnTo>
                      <a:pt x="4337" y="36804"/>
                    </a:lnTo>
                    <a:lnTo>
                      <a:pt x="2887" y="41604"/>
                    </a:lnTo>
                    <a:lnTo>
                      <a:pt x="1449" y="48008"/>
                    </a:lnTo>
                    <a:lnTo>
                      <a:pt x="724" y="53609"/>
                    </a:lnTo>
                    <a:lnTo>
                      <a:pt x="0" y="60000"/>
                    </a:lnTo>
                    <a:lnTo>
                      <a:pt x="0" y="60000"/>
                    </a:lnTo>
                    <a:lnTo>
                      <a:pt x="724" y="65601"/>
                    </a:lnTo>
                    <a:lnTo>
                      <a:pt x="1449" y="72005"/>
                    </a:lnTo>
                    <a:lnTo>
                      <a:pt x="2887" y="77593"/>
                    </a:lnTo>
                    <a:lnTo>
                      <a:pt x="4337" y="83195"/>
                    </a:lnTo>
                    <a:lnTo>
                      <a:pt x="6511" y="88796"/>
                    </a:lnTo>
                    <a:lnTo>
                      <a:pt x="9399" y="93596"/>
                    </a:lnTo>
                    <a:lnTo>
                      <a:pt x="13011" y="98395"/>
                    </a:lnTo>
                    <a:lnTo>
                      <a:pt x="16623" y="102392"/>
                    </a:lnTo>
                    <a:lnTo>
                      <a:pt x="20235" y="106390"/>
                    </a:lnTo>
                    <a:lnTo>
                      <a:pt x="24572" y="109598"/>
                    </a:lnTo>
                    <a:lnTo>
                      <a:pt x="29634" y="112793"/>
                    </a:lnTo>
                    <a:lnTo>
                      <a:pt x="35421" y="115200"/>
                    </a:lnTo>
                    <a:lnTo>
                      <a:pt x="40483" y="116791"/>
                    </a:lnTo>
                    <a:lnTo>
                      <a:pt x="46982" y="118395"/>
                    </a:lnTo>
                    <a:lnTo>
                      <a:pt x="53494" y="119197"/>
                    </a:lnTo>
                    <a:lnTo>
                      <a:pt x="59993" y="120000"/>
                    </a:lnTo>
                    <a:lnTo>
                      <a:pt x="59993" y="120000"/>
                    </a:lnTo>
                    <a:lnTo>
                      <a:pt x="67230" y="119197"/>
                    </a:lnTo>
                    <a:lnTo>
                      <a:pt x="73004" y="118395"/>
                    </a:lnTo>
                    <a:lnTo>
                      <a:pt x="79516" y="116791"/>
                    </a:lnTo>
                    <a:lnTo>
                      <a:pt x="85291" y="115200"/>
                    </a:lnTo>
                    <a:lnTo>
                      <a:pt x="90353" y="112793"/>
                    </a:lnTo>
                    <a:lnTo>
                      <a:pt x="95415" y="109598"/>
                    </a:lnTo>
                    <a:lnTo>
                      <a:pt x="99752" y="106390"/>
                    </a:lnTo>
                    <a:lnTo>
                      <a:pt x="104089" y="102392"/>
                    </a:lnTo>
                    <a:lnTo>
                      <a:pt x="107701" y="98395"/>
                    </a:lnTo>
                    <a:lnTo>
                      <a:pt x="110600" y="93596"/>
                    </a:lnTo>
                    <a:lnTo>
                      <a:pt x="113488" y="88796"/>
                    </a:lnTo>
                    <a:lnTo>
                      <a:pt x="115650" y="83195"/>
                    </a:lnTo>
                    <a:lnTo>
                      <a:pt x="117825" y="77593"/>
                    </a:lnTo>
                    <a:lnTo>
                      <a:pt x="118550" y="72005"/>
                    </a:lnTo>
                    <a:lnTo>
                      <a:pt x="119987" y="65601"/>
                    </a:lnTo>
                    <a:lnTo>
                      <a:pt x="119987" y="60000"/>
                    </a:lnTo>
                    <a:lnTo>
                      <a:pt x="119987" y="60000"/>
                    </a:lnTo>
                    <a:lnTo>
                      <a:pt x="119987" y="53609"/>
                    </a:lnTo>
                    <a:lnTo>
                      <a:pt x="118550" y="48008"/>
                    </a:lnTo>
                    <a:lnTo>
                      <a:pt x="117825" y="41604"/>
                    </a:lnTo>
                    <a:lnTo>
                      <a:pt x="115650" y="36804"/>
                    </a:lnTo>
                    <a:lnTo>
                      <a:pt x="113488" y="31203"/>
                    </a:lnTo>
                    <a:lnTo>
                      <a:pt x="110600" y="26403"/>
                    </a:lnTo>
                    <a:lnTo>
                      <a:pt x="107701" y="21604"/>
                    </a:lnTo>
                    <a:lnTo>
                      <a:pt x="104089" y="17607"/>
                    </a:lnTo>
                    <a:lnTo>
                      <a:pt x="99752" y="13609"/>
                    </a:lnTo>
                    <a:lnTo>
                      <a:pt x="95415" y="10414"/>
                    </a:lnTo>
                    <a:lnTo>
                      <a:pt x="90353" y="7206"/>
                    </a:lnTo>
                    <a:lnTo>
                      <a:pt x="85291" y="4813"/>
                    </a:lnTo>
                    <a:lnTo>
                      <a:pt x="79516" y="2406"/>
                    </a:lnTo>
                    <a:lnTo>
                      <a:pt x="73004" y="816"/>
                    </a:lnTo>
                    <a:lnTo>
                      <a:pt x="67230" y="13"/>
                    </a:lnTo>
                    <a:lnTo>
                      <a:pt x="59993" y="13"/>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3" name="Google Shape;35;p2">
                <a:extLst>
                  <a:ext uri="{FF2B5EF4-FFF2-40B4-BE49-F238E27FC236}">
                    <a16:creationId xmlns:a16="http://schemas.microsoft.com/office/drawing/2014/main" id="{AAC025AD-E88C-42C2-A1D7-336EEDE4B7E5}"/>
                  </a:ext>
                </a:extLst>
              </p:cNvPr>
              <p:cNvSpPr/>
              <p:nvPr/>
            </p:nvSpPr>
            <p:spPr>
              <a:xfrm>
                <a:off x="6418959" y="3493650"/>
                <a:ext cx="127201" cy="153301"/>
              </a:xfrm>
              <a:custGeom>
                <a:avLst/>
                <a:gdLst/>
                <a:ahLst/>
                <a:cxnLst/>
                <a:rect l="l" t="t" r="r" b="b"/>
                <a:pathLst>
                  <a:path w="120000" h="120000" fill="none" extrusionOk="0">
                    <a:moveTo>
                      <a:pt x="60000" y="119980"/>
                    </a:moveTo>
                    <a:lnTo>
                      <a:pt x="60000" y="119980"/>
                    </a:lnTo>
                    <a:lnTo>
                      <a:pt x="46373" y="118845"/>
                    </a:lnTo>
                    <a:lnTo>
                      <a:pt x="34090" y="116594"/>
                    </a:lnTo>
                    <a:lnTo>
                      <a:pt x="24565" y="112053"/>
                    </a:lnTo>
                    <a:lnTo>
                      <a:pt x="16385" y="105261"/>
                    </a:lnTo>
                    <a:lnTo>
                      <a:pt x="9548" y="97354"/>
                    </a:lnTo>
                    <a:lnTo>
                      <a:pt x="4102" y="87157"/>
                    </a:lnTo>
                    <a:lnTo>
                      <a:pt x="1367" y="74708"/>
                    </a:lnTo>
                    <a:lnTo>
                      <a:pt x="23" y="59990"/>
                    </a:lnTo>
                    <a:lnTo>
                      <a:pt x="23" y="59990"/>
                    </a:lnTo>
                    <a:lnTo>
                      <a:pt x="1367" y="45271"/>
                    </a:lnTo>
                    <a:lnTo>
                      <a:pt x="4102" y="32823"/>
                    </a:lnTo>
                    <a:lnTo>
                      <a:pt x="9548" y="22645"/>
                    </a:lnTo>
                    <a:lnTo>
                      <a:pt x="16385" y="13583"/>
                    </a:lnTo>
                    <a:lnTo>
                      <a:pt x="24565" y="7926"/>
                    </a:lnTo>
                    <a:lnTo>
                      <a:pt x="34090" y="3405"/>
                    </a:lnTo>
                    <a:lnTo>
                      <a:pt x="46373" y="1135"/>
                    </a:lnTo>
                    <a:lnTo>
                      <a:pt x="60000" y="0"/>
                    </a:lnTo>
                    <a:lnTo>
                      <a:pt x="60000" y="0"/>
                    </a:lnTo>
                    <a:lnTo>
                      <a:pt x="73650" y="1135"/>
                    </a:lnTo>
                    <a:lnTo>
                      <a:pt x="85909" y="3405"/>
                    </a:lnTo>
                    <a:lnTo>
                      <a:pt x="96825" y="7926"/>
                    </a:lnTo>
                    <a:lnTo>
                      <a:pt x="105005" y="13583"/>
                    </a:lnTo>
                    <a:lnTo>
                      <a:pt x="111819" y="22645"/>
                    </a:lnTo>
                    <a:lnTo>
                      <a:pt x="115897" y="32823"/>
                    </a:lnTo>
                    <a:lnTo>
                      <a:pt x="120000" y="45271"/>
                    </a:lnTo>
                    <a:lnTo>
                      <a:pt x="120000" y="59990"/>
                    </a:lnTo>
                    <a:lnTo>
                      <a:pt x="120000" y="59990"/>
                    </a:lnTo>
                    <a:lnTo>
                      <a:pt x="120000" y="74708"/>
                    </a:lnTo>
                    <a:lnTo>
                      <a:pt x="115897" y="87157"/>
                    </a:lnTo>
                    <a:lnTo>
                      <a:pt x="111819" y="97354"/>
                    </a:lnTo>
                    <a:lnTo>
                      <a:pt x="105005" y="105261"/>
                    </a:lnTo>
                    <a:lnTo>
                      <a:pt x="96825" y="112053"/>
                    </a:lnTo>
                    <a:lnTo>
                      <a:pt x="85909" y="116594"/>
                    </a:lnTo>
                    <a:lnTo>
                      <a:pt x="73650" y="118845"/>
                    </a:lnTo>
                    <a:lnTo>
                      <a:pt x="60000" y="11998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4" name="Google Shape;36;p2">
                <a:extLst>
                  <a:ext uri="{FF2B5EF4-FFF2-40B4-BE49-F238E27FC236}">
                    <a16:creationId xmlns:a16="http://schemas.microsoft.com/office/drawing/2014/main" id="{19354DBE-A7C5-4721-8AB2-1A2A4B56C207}"/>
                  </a:ext>
                </a:extLst>
              </p:cNvPr>
              <p:cNvSpPr/>
              <p:nvPr/>
            </p:nvSpPr>
            <p:spPr>
              <a:xfrm>
                <a:off x="5123508" y="2991950"/>
                <a:ext cx="1876804" cy="365701"/>
              </a:xfrm>
              <a:custGeom>
                <a:avLst/>
                <a:gdLst/>
                <a:ahLst/>
                <a:cxnLst/>
                <a:rect l="l" t="t" r="r" b="b"/>
                <a:pathLst>
                  <a:path w="120000" h="120000" extrusionOk="0">
                    <a:moveTo>
                      <a:pt x="13128" y="25136"/>
                    </a:moveTo>
                    <a:lnTo>
                      <a:pt x="16733" y="72096"/>
                    </a:lnTo>
                    <a:lnTo>
                      <a:pt x="9060" y="72096"/>
                    </a:lnTo>
                    <a:lnTo>
                      <a:pt x="13128" y="25136"/>
                    </a:lnTo>
                    <a:close/>
                    <a:moveTo>
                      <a:pt x="106316" y="25136"/>
                    </a:moveTo>
                    <a:lnTo>
                      <a:pt x="109922" y="72096"/>
                    </a:lnTo>
                    <a:lnTo>
                      <a:pt x="102248" y="72096"/>
                    </a:lnTo>
                    <a:lnTo>
                      <a:pt x="106316" y="25136"/>
                    </a:lnTo>
                    <a:close/>
                    <a:moveTo>
                      <a:pt x="7489" y="0"/>
                    </a:moveTo>
                    <a:lnTo>
                      <a:pt x="7489" y="3797"/>
                    </a:lnTo>
                    <a:lnTo>
                      <a:pt x="8136" y="4748"/>
                    </a:lnTo>
                    <a:lnTo>
                      <a:pt x="8505" y="5691"/>
                    </a:lnTo>
                    <a:lnTo>
                      <a:pt x="8876" y="6642"/>
                    </a:lnTo>
                    <a:lnTo>
                      <a:pt x="9153" y="8069"/>
                    </a:lnTo>
                    <a:lnTo>
                      <a:pt x="9338" y="9488"/>
                    </a:lnTo>
                    <a:lnTo>
                      <a:pt x="9338" y="11858"/>
                    </a:lnTo>
                    <a:lnTo>
                      <a:pt x="9153" y="14229"/>
                    </a:lnTo>
                    <a:lnTo>
                      <a:pt x="1" y="120000"/>
                    </a:lnTo>
                    <a:lnTo>
                      <a:pt x="4808" y="120000"/>
                    </a:lnTo>
                    <a:lnTo>
                      <a:pt x="7767" y="86801"/>
                    </a:lnTo>
                    <a:lnTo>
                      <a:pt x="17935" y="86801"/>
                    </a:lnTo>
                    <a:lnTo>
                      <a:pt x="20432" y="120000"/>
                    </a:lnTo>
                    <a:lnTo>
                      <a:pt x="26810" y="120000"/>
                    </a:lnTo>
                    <a:lnTo>
                      <a:pt x="17659" y="0"/>
                    </a:lnTo>
                    <a:close/>
                    <a:moveTo>
                      <a:pt x="24777" y="0"/>
                    </a:moveTo>
                    <a:lnTo>
                      <a:pt x="24777" y="3797"/>
                    </a:lnTo>
                    <a:lnTo>
                      <a:pt x="25517" y="4748"/>
                    </a:lnTo>
                    <a:lnTo>
                      <a:pt x="26256" y="6642"/>
                    </a:lnTo>
                    <a:lnTo>
                      <a:pt x="26627" y="7594"/>
                    </a:lnTo>
                    <a:lnTo>
                      <a:pt x="26903" y="9488"/>
                    </a:lnTo>
                    <a:lnTo>
                      <a:pt x="27180" y="11383"/>
                    </a:lnTo>
                    <a:lnTo>
                      <a:pt x="27365" y="13761"/>
                    </a:lnTo>
                    <a:lnTo>
                      <a:pt x="35593" y="120000"/>
                    </a:lnTo>
                    <a:lnTo>
                      <a:pt x="42249" y="120000"/>
                    </a:lnTo>
                    <a:lnTo>
                      <a:pt x="51957" y="0"/>
                    </a:lnTo>
                    <a:lnTo>
                      <a:pt x="47334" y="0"/>
                    </a:lnTo>
                    <a:lnTo>
                      <a:pt x="40216" y="87744"/>
                    </a:lnTo>
                    <a:lnTo>
                      <a:pt x="33374" y="0"/>
                    </a:lnTo>
                    <a:close/>
                    <a:moveTo>
                      <a:pt x="55285" y="0"/>
                    </a:moveTo>
                    <a:lnTo>
                      <a:pt x="55285" y="3797"/>
                    </a:lnTo>
                    <a:lnTo>
                      <a:pt x="55840" y="4748"/>
                    </a:lnTo>
                    <a:lnTo>
                      <a:pt x="56671" y="6167"/>
                    </a:lnTo>
                    <a:lnTo>
                      <a:pt x="57041" y="7594"/>
                    </a:lnTo>
                    <a:lnTo>
                      <a:pt x="57319" y="9488"/>
                    </a:lnTo>
                    <a:lnTo>
                      <a:pt x="57504" y="11383"/>
                    </a:lnTo>
                    <a:lnTo>
                      <a:pt x="57595" y="13761"/>
                    </a:lnTo>
                    <a:lnTo>
                      <a:pt x="57595" y="120000"/>
                    </a:lnTo>
                    <a:lnTo>
                      <a:pt x="63790" y="120000"/>
                    </a:lnTo>
                    <a:lnTo>
                      <a:pt x="63790" y="0"/>
                    </a:lnTo>
                    <a:close/>
                    <a:moveTo>
                      <a:pt x="67396" y="0"/>
                    </a:moveTo>
                    <a:lnTo>
                      <a:pt x="67396" y="3797"/>
                    </a:lnTo>
                    <a:lnTo>
                      <a:pt x="68227" y="4748"/>
                    </a:lnTo>
                    <a:lnTo>
                      <a:pt x="68967" y="6642"/>
                    </a:lnTo>
                    <a:lnTo>
                      <a:pt x="69244" y="7594"/>
                    </a:lnTo>
                    <a:lnTo>
                      <a:pt x="69615" y="9488"/>
                    </a:lnTo>
                    <a:lnTo>
                      <a:pt x="69799" y="11383"/>
                    </a:lnTo>
                    <a:lnTo>
                      <a:pt x="70077" y="13761"/>
                    </a:lnTo>
                    <a:lnTo>
                      <a:pt x="78305" y="120000"/>
                    </a:lnTo>
                    <a:lnTo>
                      <a:pt x="84868" y="120000"/>
                    </a:lnTo>
                    <a:lnTo>
                      <a:pt x="94575" y="0"/>
                    </a:lnTo>
                    <a:lnTo>
                      <a:pt x="90046" y="0"/>
                    </a:lnTo>
                    <a:lnTo>
                      <a:pt x="82835" y="87744"/>
                    </a:lnTo>
                    <a:lnTo>
                      <a:pt x="76086" y="0"/>
                    </a:lnTo>
                    <a:close/>
                    <a:moveTo>
                      <a:pt x="100676" y="0"/>
                    </a:moveTo>
                    <a:lnTo>
                      <a:pt x="100676" y="3797"/>
                    </a:lnTo>
                    <a:lnTo>
                      <a:pt x="101324" y="4748"/>
                    </a:lnTo>
                    <a:lnTo>
                      <a:pt x="101693" y="5691"/>
                    </a:lnTo>
                    <a:lnTo>
                      <a:pt x="102064" y="6642"/>
                    </a:lnTo>
                    <a:lnTo>
                      <a:pt x="102340" y="8069"/>
                    </a:lnTo>
                    <a:lnTo>
                      <a:pt x="102433" y="9488"/>
                    </a:lnTo>
                    <a:lnTo>
                      <a:pt x="102526" y="11858"/>
                    </a:lnTo>
                    <a:lnTo>
                      <a:pt x="102340" y="14229"/>
                    </a:lnTo>
                    <a:lnTo>
                      <a:pt x="93189" y="120000"/>
                    </a:lnTo>
                    <a:lnTo>
                      <a:pt x="97995" y="120000"/>
                    </a:lnTo>
                    <a:lnTo>
                      <a:pt x="100862" y="86801"/>
                    </a:lnTo>
                    <a:lnTo>
                      <a:pt x="111032" y="86801"/>
                    </a:lnTo>
                    <a:lnTo>
                      <a:pt x="113620" y="120000"/>
                    </a:lnTo>
                    <a:lnTo>
                      <a:pt x="119998" y="120000"/>
                    </a:lnTo>
                    <a:lnTo>
                      <a:pt x="110846"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5" name="Google Shape;37;p2">
                <a:extLst>
                  <a:ext uri="{FF2B5EF4-FFF2-40B4-BE49-F238E27FC236}">
                    <a16:creationId xmlns:a16="http://schemas.microsoft.com/office/drawing/2014/main" id="{6B51FD31-4FC8-4B74-8D7A-CD3EF641A0C9}"/>
                  </a:ext>
                </a:extLst>
              </p:cNvPr>
              <p:cNvSpPr/>
              <p:nvPr/>
            </p:nvSpPr>
            <p:spPr>
              <a:xfrm>
                <a:off x="6196309" y="2036275"/>
                <a:ext cx="130200" cy="669299"/>
              </a:xfrm>
              <a:custGeom>
                <a:avLst/>
                <a:gdLst/>
                <a:ahLst/>
                <a:cxnLst/>
                <a:rect l="l" t="t" r="r" b="b"/>
                <a:pathLst>
                  <a:path w="120000" h="120000" extrusionOk="0">
                    <a:moveTo>
                      <a:pt x="60000" y="0"/>
                    </a:moveTo>
                    <a:lnTo>
                      <a:pt x="0" y="120000"/>
                    </a:lnTo>
                    <a:lnTo>
                      <a:pt x="60000" y="118700"/>
                    </a:lnTo>
                    <a:lnTo>
                      <a:pt x="119976" y="117925"/>
                    </a:lnTo>
                    <a:lnTo>
                      <a:pt x="60000" y="0"/>
                    </a:lnTo>
                    <a:close/>
                  </a:path>
                </a:pathLst>
              </a:custGeom>
              <a:solidFill>
                <a:srgbClr val="FFDD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6" name="Google Shape;38;p2">
                <a:extLst>
                  <a:ext uri="{FF2B5EF4-FFF2-40B4-BE49-F238E27FC236}">
                    <a16:creationId xmlns:a16="http://schemas.microsoft.com/office/drawing/2014/main" id="{550097EA-8FC2-414F-896E-16D6E189F445}"/>
                  </a:ext>
                </a:extLst>
              </p:cNvPr>
              <p:cNvSpPr/>
              <p:nvPr/>
            </p:nvSpPr>
            <p:spPr>
              <a:xfrm>
                <a:off x="6196309" y="2036275"/>
                <a:ext cx="130200" cy="669299"/>
              </a:xfrm>
              <a:custGeom>
                <a:avLst/>
                <a:gdLst/>
                <a:ahLst/>
                <a:cxnLst/>
                <a:rect l="l" t="t" r="r" b="b"/>
                <a:pathLst>
                  <a:path w="120000" h="120000" fill="none" extrusionOk="0">
                    <a:moveTo>
                      <a:pt x="119976" y="117925"/>
                    </a:moveTo>
                    <a:lnTo>
                      <a:pt x="60000" y="0"/>
                    </a:lnTo>
                    <a:lnTo>
                      <a:pt x="0" y="120000"/>
                    </a:lnTo>
                    <a:lnTo>
                      <a:pt x="0" y="120000"/>
                    </a:lnTo>
                    <a:lnTo>
                      <a:pt x="60000" y="118700"/>
                    </a:lnTo>
                    <a:lnTo>
                      <a:pt x="119976" y="1179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7" name="Google Shape;39;p2">
                <a:extLst>
                  <a:ext uri="{FF2B5EF4-FFF2-40B4-BE49-F238E27FC236}">
                    <a16:creationId xmlns:a16="http://schemas.microsoft.com/office/drawing/2014/main" id="{156F7792-6486-4EC4-9479-87093F7CB9B3}"/>
                  </a:ext>
                </a:extLst>
              </p:cNvPr>
              <p:cNvSpPr/>
              <p:nvPr/>
            </p:nvSpPr>
            <p:spPr>
              <a:xfrm>
                <a:off x="6261356" y="2036275"/>
                <a:ext cx="221101" cy="657900"/>
              </a:xfrm>
              <a:custGeom>
                <a:avLst/>
                <a:gdLst/>
                <a:ahLst/>
                <a:cxnLst/>
                <a:rect l="l" t="t" r="r" b="b"/>
                <a:pathLst>
                  <a:path w="120000" h="120000" extrusionOk="0">
                    <a:moveTo>
                      <a:pt x="13" y="0"/>
                    </a:moveTo>
                    <a:lnTo>
                      <a:pt x="35294" y="120000"/>
                    </a:lnTo>
                    <a:lnTo>
                      <a:pt x="76854" y="119471"/>
                    </a:lnTo>
                    <a:lnTo>
                      <a:pt x="119986" y="119206"/>
                    </a:lnTo>
                    <a:lnTo>
                      <a:pt x="119986" y="0"/>
                    </a:lnTo>
                    <a:close/>
                  </a:path>
                </a:pathLst>
              </a:custGeom>
              <a:solidFill>
                <a:srgbClr val="5EB62D"/>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8" name="Google Shape;40;p2">
                <a:extLst>
                  <a:ext uri="{FF2B5EF4-FFF2-40B4-BE49-F238E27FC236}">
                    <a16:creationId xmlns:a16="http://schemas.microsoft.com/office/drawing/2014/main" id="{67E847C1-A979-4E89-AA13-C9368F8A252E}"/>
                  </a:ext>
                </a:extLst>
              </p:cNvPr>
              <p:cNvSpPr/>
              <p:nvPr/>
            </p:nvSpPr>
            <p:spPr>
              <a:xfrm>
                <a:off x="6261350" y="2036275"/>
                <a:ext cx="221101" cy="657900"/>
              </a:xfrm>
              <a:custGeom>
                <a:avLst/>
                <a:gdLst/>
                <a:ahLst/>
                <a:cxnLst/>
                <a:rect l="l" t="t" r="r" b="b"/>
                <a:pathLst>
                  <a:path w="120000" h="120000" fill="none" extrusionOk="0">
                    <a:moveTo>
                      <a:pt x="119986" y="119206"/>
                    </a:moveTo>
                    <a:lnTo>
                      <a:pt x="119986" y="0"/>
                    </a:lnTo>
                    <a:lnTo>
                      <a:pt x="13" y="0"/>
                    </a:lnTo>
                    <a:lnTo>
                      <a:pt x="13" y="0"/>
                    </a:lnTo>
                    <a:lnTo>
                      <a:pt x="35294" y="120000"/>
                    </a:lnTo>
                    <a:lnTo>
                      <a:pt x="35294" y="120000"/>
                    </a:lnTo>
                    <a:lnTo>
                      <a:pt x="76854" y="119471"/>
                    </a:lnTo>
                    <a:lnTo>
                      <a:pt x="119986" y="11920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9" name="Google Shape;41;p2">
                <a:extLst>
                  <a:ext uri="{FF2B5EF4-FFF2-40B4-BE49-F238E27FC236}">
                    <a16:creationId xmlns:a16="http://schemas.microsoft.com/office/drawing/2014/main" id="{F41F581A-E824-4428-BDDF-AD18487B3808}"/>
                  </a:ext>
                </a:extLst>
              </p:cNvPr>
              <p:cNvSpPr/>
              <p:nvPr/>
            </p:nvSpPr>
            <p:spPr>
              <a:xfrm>
                <a:off x="5685926" y="2036275"/>
                <a:ext cx="575399" cy="795300"/>
              </a:xfrm>
              <a:custGeom>
                <a:avLst/>
                <a:gdLst/>
                <a:ahLst/>
                <a:cxnLst/>
                <a:rect l="l" t="t" r="r" b="b"/>
                <a:pathLst>
                  <a:path w="120000" h="120000" extrusionOk="0">
                    <a:moveTo>
                      <a:pt x="5" y="0"/>
                    </a:move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lnTo>
                      <a:pt x="120000"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0" name="Google Shape;42;p2">
                <a:extLst>
                  <a:ext uri="{FF2B5EF4-FFF2-40B4-BE49-F238E27FC236}">
                    <a16:creationId xmlns:a16="http://schemas.microsoft.com/office/drawing/2014/main" id="{509D6B94-69BA-40C9-AAE1-56D60B32B727}"/>
                  </a:ext>
                </a:extLst>
              </p:cNvPr>
              <p:cNvSpPr/>
              <p:nvPr/>
            </p:nvSpPr>
            <p:spPr>
              <a:xfrm>
                <a:off x="5685926" y="2036275"/>
                <a:ext cx="575399" cy="795300"/>
              </a:xfrm>
              <a:custGeom>
                <a:avLst/>
                <a:gdLst/>
                <a:ahLst/>
                <a:cxnLst/>
                <a:rect l="l" t="t" r="r" b="b"/>
                <a:pathLst>
                  <a:path w="120000" h="120000" fill="none" extrusionOk="0">
                    <a:moveTo>
                      <a:pt x="106429" y="101016"/>
                    </a:moveTo>
                    <a:lnTo>
                      <a:pt x="120000" y="0"/>
                    </a:lnTo>
                    <a:lnTo>
                      <a:pt x="120000" y="0"/>
                    </a:lnTo>
                    <a:lnTo>
                      <a:pt x="5" y="0"/>
                    </a:lnTo>
                    <a:lnTo>
                      <a:pt x="5" y="119996"/>
                    </a:ln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309539353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Title Slide Ful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531C1-639E-4F49-BD67-5DBFB3C87BC7}"/>
              </a:ext>
            </a:extLst>
          </p:cNvPr>
          <p:cNvSpPr>
            <a:spLocks noGrp="1"/>
          </p:cNvSpPr>
          <p:nvPr>
            <p:ph type="ctrTitle"/>
          </p:nvPr>
        </p:nvSpPr>
        <p:spPr>
          <a:xfrm>
            <a:off x="1095931" y="1999047"/>
            <a:ext cx="4572000" cy="2263671"/>
          </a:xfrm>
        </p:spPr>
        <p:txBody>
          <a:bodyPr anchor="b" anchorCtr="0"/>
          <a:lstStyle>
            <a:lvl1pPr algn="l">
              <a:defRPr sz="3800">
                <a:solidFill>
                  <a:schemeClr val="bg1"/>
                </a:solidFill>
              </a:defRPr>
            </a:lvl1pPr>
            <a:lvl2pPr>
              <a:lnSpc>
                <a:spcPct val="90000"/>
              </a:lnSpc>
              <a:defRPr sz="3800" b="1">
                <a:solidFill>
                  <a:schemeClr val="bg1"/>
                </a:solidFill>
                <a:latin typeface="+mj-lt"/>
              </a:defRPr>
            </a:lvl2pPr>
            <a:lvl3pPr>
              <a:defRPr sz="2800">
                <a:solidFill>
                  <a:schemeClr val="bg1"/>
                </a:solidFill>
                <a:latin typeface="+mj-lt"/>
              </a:defRPr>
            </a:lvl3pPr>
          </a:lstStyle>
          <a:p>
            <a:pPr lvl="0"/>
            <a:r>
              <a:rPr lang="en-US"/>
              <a:t>Click to edit Master title style</a:t>
            </a:r>
            <a:endParaRPr lang="en-GB"/>
          </a:p>
        </p:txBody>
      </p:sp>
      <p:sp>
        <p:nvSpPr>
          <p:cNvPr id="31" name="Google Shape;144;p13">
            <a:extLst>
              <a:ext uri="{FF2B5EF4-FFF2-40B4-BE49-F238E27FC236}">
                <a16:creationId xmlns:a16="http://schemas.microsoft.com/office/drawing/2014/main" id="{96093233-0248-4259-AAC4-862B575CFA53}"/>
              </a:ext>
            </a:extLst>
          </p:cNvPr>
          <p:cNvSpPr/>
          <p:nvPr userDrawn="1"/>
        </p:nvSpPr>
        <p:spPr>
          <a:xfrm>
            <a:off x="1096224" y="4652000"/>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accent3"/>
              </a:solidFill>
            </a:endParaRPr>
          </a:p>
        </p:txBody>
      </p:sp>
      <p:sp>
        <p:nvSpPr>
          <p:cNvPr id="3" name="Subtitle 2">
            <a:extLst>
              <a:ext uri="{FF2B5EF4-FFF2-40B4-BE49-F238E27FC236}">
                <a16:creationId xmlns:a16="http://schemas.microsoft.com/office/drawing/2014/main" id="{0EFA1529-36E5-4F47-BCAD-8926FDFE0452}"/>
              </a:ext>
            </a:extLst>
          </p:cNvPr>
          <p:cNvSpPr>
            <a:spLocks noGrp="1"/>
          </p:cNvSpPr>
          <p:nvPr>
            <p:ph type="subTitle" idx="1"/>
          </p:nvPr>
        </p:nvSpPr>
        <p:spPr>
          <a:xfrm>
            <a:off x="1095931" y="4978800"/>
            <a:ext cx="4572000" cy="1220294"/>
          </a:xfrm>
        </p:spPr>
        <p:txBody>
          <a:bodyPr/>
          <a:lstStyle>
            <a:lvl1pPr marL="0" indent="0" algn="l">
              <a:spcAft>
                <a:spcPts val="1984"/>
              </a:spcAft>
              <a:buNone/>
              <a:defRPr sz="2000">
                <a:solidFill>
                  <a:schemeClr val="bg1"/>
                </a:solidFill>
              </a:defRPr>
            </a:lvl1pPr>
            <a:lvl2pPr marL="0" indent="0" algn="l">
              <a:spcAft>
                <a:spcPts val="0"/>
              </a:spcAft>
              <a:buNone/>
              <a:defRPr sz="1000" b="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edit Master subtitle style</a:t>
            </a:r>
            <a:endParaRPr lang="en-GB"/>
          </a:p>
        </p:txBody>
      </p:sp>
      <p:sp>
        <p:nvSpPr>
          <p:cNvPr id="32" name="Disclaimer">
            <a:extLst>
              <a:ext uri="{FF2B5EF4-FFF2-40B4-BE49-F238E27FC236}">
                <a16:creationId xmlns:a16="http://schemas.microsoft.com/office/drawing/2014/main" id="{0B96C473-E7B3-2E42-ABB9-B2198B419008}"/>
              </a:ext>
            </a:extLst>
          </p:cNvPr>
          <p:cNvSpPr txBox="1"/>
          <p:nvPr userDrawn="1"/>
        </p:nvSpPr>
        <p:spPr>
          <a:xfrm>
            <a:off x="1102632" y="6336849"/>
            <a:ext cx="6733988" cy="441324"/>
          </a:xfrm>
          <a:prstGeom prst="rect">
            <a:avLst/>
          </a:prstGeom>
          <a:noFill/>
        </p:spPr>
        <p:txBody>
          <a:bodyPr wrap="square" lIns="0" tIns="0" rIns="0" bIns="0" rtlCol="0" anchor="ctr">
            <a:noAutofit/>
          </a:bodyPr>
          <a:lstStyle/>
          <a:p>
            <a:r>
              <a:rPr lang="en-GB" sz="1000">
                <a:solidFill>
                  <a:schemeClr val="bg1"/>
                </a:solidFill>
              </a:rPr>
              <a:t>This document is for professional clients, institutional/qualified investors and advisors only. </a:t>
            </a:r>
            <a:br>
              <a:rPr lang="en-GB" sz="1000">
                <a:solidFill>
                  <a:schemeClr val="bg1"/>
                </a:solidFill>
              </a:rPr>
            </a:br>
            <a:r>
              <a:rPr lang="en-GB" sz="1000">
                <a:solidFill>
                  <a:schemeClr val="bg1"/>
                </a:solidFill>
              </a:rPr>
              <a:t>It is not to be distributed to or relied on by retail clients.</a:t>
            </a:r>
          </a:p>
        </p:txBody>
      </p:sp>
      <p:grpSp>
        <p:nvGrpSpPr>
          <p:cNvPr id="9" name="Google Shape;21;p2">
            <a:extLst>
              <a:ext uri="{FF2B5EF4-FFF2-40B4-BE49-F238E27FC236}">
                <a16:creationId xmlns:a16="http://schemas.microsoft.com/office/drawing/2014/main" id="{262A35F6-4D81-4900-BAF4-682A90C0CC13}"/>
              </a:ext>
            </a:extLst>
          </p:cNvPr>
          <p:cNvGrpSpPr/>
          <p:nvPr userDrawn="1"/>
        </p:nvGrpSpPr>
        <p:grpSpPr>
          <a:xfrm>
            <a:off x="1095931" y="-14"/>
            <a:ext cx="958858" cy="1185166"/>
            <a:chOff x="4763500" y="1239650"/>
            <a:chExt cx="2618400" cy="3235799"/>
          </a:xfrm>
        </p:grpSpPr>
        <p:sp>
          <p:nvSpPr>
            <p:cNvPr id="10" name="Google Shape;22;p2">
              <a:extLst>
                <a:ext uri="{FF2B5EF4-FFF2-40B4-BE49-F238E27FC236}">
                  <a16:creationId xmlns:a16="http://schemas.microsoft.com/office/drawing/2014/main" id="{70B6CBA2-927C-4B98-A515-AB196C67E0C8}"/>
                </a:ext>
              </a:extLst>
            </p:cNvPr>
            <p:cNvSpPr/>
            <p:nvPr/>
          </p:nvSpPr>
          <p:spPr>
            <a:xfrm>
              <a:off x="4763500" y="1239650"/>
              <a:ext cx="2618400" cy="3235799"/>
            </a:xfrm>
            <a:custGeom>
              <a:avLst/>
              <a:gdLst/>
              <a:ahLst/>
              <a:cxnLst/>
              <a:rect l="l" t="t" r="r" b="b"/>
              <a:pathLst>
                <a:path w="120000" h="120000" extrusionOk="0">
                  <a:moveTo>
                    <a:pt x="0" y="0"/>
                  </a:moveTo>
                  <a:lnTo>
                    <a:pt x="0" y="120000"/>
                  </a:lnTo>
                  <a:lnTo>
                    <a:pt x="120000" y="120000"/>
                  </a:lnTo>
                  <a:lnTo>
                    <a:pt x="120000" y="0"/>
                  </a:lnTo>
                  <a:close/>
                </a:path>
              </a:pathLst>
            </a:custGeom>
            <a:solidFill>
              <a:srgbClr val="FFD9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nvGrpSpPr>
            <p:cNvPr id="11" name="Google Shape;23;p2">
              <a:extLst>
                <a:ext uri="{FF2B5EF4-FFF2-40B4-BE49-F238E27FC236}">
                  <a16:creationId xmlns:a16="http://schemas.microsoft.com/office/drawing/2014/main" id="{15BD1364-0E1E-41F6-9FE8-16EA2CA743DA}"/>
                </a:ext>
              </a:extLst>
            </p:cNvPr>
            <p:cNvGrpSpPr/>
            <p:nvPr userDrawn="1"/>
          </p:nvGrpSpPr>
          <p:grpSpPr>
            <a:xfrm>
              <a:off x="5111949" y="2036274"/>
              <a:ext cx="1921499" cy="1642450"/>
              <a:chOff x="5111957" y="2036275"/>
              <a:chExt cx="1921504" cy="1642450"/>
            </a:xfrm>
          </p:grpSpPr>
          <p:sp>
            <p:nvSpPr>
              <p:cNvPr id="12" name="Google Shape;24;p2">
                <a:extLst>
                  <a:ext uri="{FF2B5EF4-FFF2-40B4-BE49-F238E27FC236}">
                    <a16:creationId xmlns:a16="http://schemas.microsoft.com/office/drawing/2014/main" id="{F45E3B3C-76EA-4D93-8E74-0A4011447DEB}"/>
                  </a:ext>
                </a:extLst>
              </p:cNvPr>
              <p:cNvSpPr/>
              <p:nvPr/>
            </p:nvSpPr>
            <p:spPr>
              <a:xfrm>
                <a:off x="5111957" y="3461826"/>
                <a:ext cx="1921504" cy="216899"/>
              </a:xfrm>
              <a:custGeom>
                <a:avLst/>
                <a:gdLst/>
                <a:ahLst/>
                <a:cxnLst/>
                <a:rect l="l" t="t" r="r" b="b"/>
                <a:pathLst>
                  <a:path w="120000" h="120000" extrusionOk="0">
                    <a:moveTo>
                      <a:pt x="101489" y="17607"/>
                    </a:moveTo>
                    <a:lnTo>
                      <a:pt x="102301" y="18409"/>
                    </a:lnTo>
                    <a:lnTo>
                      <a:pt x="102933" y="20802"/>
                    </a:lnTo>
                    <a:lnTo>
                      <a:pt x="103205" y="22406"/>
                    </a:lnTo>
                    <a:lnTo>
                      <a:pt x="103475" y="24813"/>
                    </a:lnTo>
                    <a:lnTo>
                      <a:pt x="103565" y="27206"/>
                    </a:lnTo>
                    <a:lnTo>
                      <a:pt x="103747" y="29612"/>
                    </a:lnTo>
                    <a:lnTo>
                      <a:pt x="103836" y="36002"/>
                    </a:lnTo>
                    <a:lnTo>
                      <a:pt x="103747" y="40802"/>
                    </a:lnTo>
                    <a:lnTo>
                      <a:pt x="103565" y="45601"/>
                    </a:lnTo>
                    <a:lnTo>
                      <a:pt x="103294" y="48810"/>
                    </a:lnTo>
                    <a:lnTo>
                      <a:pt x="102933" y="52005"/>
                    </a:lnTo>
                    <a:lnTo>
                      <a:pt x="102482" y="54398"/>
                    </a:lnTo>
                    <a:lnTo>
                      <a:pt x="101850" y="56002"/>
                    </a:lnTo>
                    <a:lnTo>
                      <a:pt x="101127" y="56804"/>
                    </a:lnTo>
                    <a:lnTo>
                      <a:pt x="100315" y="57607"/>
                    </a:lnTo>
                    <a:lnTo>
                      <a:pt x="99231" y="56804"/>
                    </a:lnTo>
                    <a:lnTo>
                      <a:pt x="99231" y="17607"/>
                    </a:lnTo>
                    <a:close/>
                    <a:moveTo>
                      <a:pt x="85597" y="17607"/>
                    </a:moveTo>
                    <a:lnTo>
                      <a:pt x="86501" y="18409"/>
                    </a:lnTo>
                    <a:lnTo>
                      <a:pt x="87313" y="20013"/>
                    </a:lnTo>
                    <a:lnTo>
                      <a:pt x="88035" y="23208"/>
                    </a:lnTo>
                    <a:lnTo>
                      <a:pt x="88577" y="27206"/>
                    </a:lnTo>
                    <a:lnTo>
                      <a:pt x="89028" y="33609"/>
                    </a:lnTo>
                    <a:lnTo>
                      <a:pt x="89298" y="40802"/>
                    </a:lnTo>
                    <a:lnTo>
                      <a:pt x="89570" y="49598"/>
                    </a:lnTo>
                    <a:lnTo>
                      <a:pt x="89570" y="60000"/>
                    </a:lnTo>
                    <a:lnTo>
                      <a:pt x="89570" y="70401"/>
                    </a:lnTo>
                    <a:lnTo>
                      <a:pt x="89298" y="79197"/>
                    </a:lnTo>
                    <a:lnTo>
                      <a:pt x="89028" y="86403"/>
                    </a:lnTo>
                    <a:lnTo>
                      <a:pt x="88577" y="91991"/>
                    </a:lnTo>
                    <a:lnTo>
                      <a:pt x="88035" y="96791"/>
                    </a:lnTo>
                    <a:lnTo>
                      <a:pt x="87313" y="100000"/>
                    </a:lnTo>
                    <a:lnTo>
                      <a:pt x="86501" y="101590"/>
                    </a:lnTo>
                    <a:lnTo>
                      <a:pt x="85597" y="102392"/>
                    </a:lnTo>
                    <a:lnTo>
                      <a:pt x="84694" y="101590"/>
                    </a:lnTo>
                    <a:lnTo>
                      <a:pt x="83881" y="100000"/>
                    </a:lnTo>
                    <a:lnTo>
                      <a:pt x="83250" y="96791"/>
                    </a:lnTo>
                    <a:lnTo>
                      <a:pt x="82708" y="91991"/>
                    </a:lnTo>
                    <a:lnTo>
                      <a:pt x="82256" y="86403"/>
                    </a:lnTo>
                    <a:lnTo>
                      <a:pt x="81895" y="79197"/>
                    </a:lnTo>
                    <a:lnTo>
                      <a:pt x="81714" y="70401"/>
                    </a:lnTo>
                    <a:lnTo>
                      <a:pt x="81625" y="60000"/>
                    </a:lnTo>
                    <a:lnTo>
                      <a:pt x="81714" y="49598"/>
                    </a:lnTo>
                    <a:lnTo>
                      <a:pt x="81895" y="40802"/>
                    </a:lnTo>
                    <a:lnTo>
                      <a:pt x="82256" y="33609"/>
                    </a:lnTo>
                    <a:lnTo>
                      <a:pt x="82708" y="27206"/>
                    </a:lnTo>
                    <a:lnTo>
                      <a:pt x="83250" y="23208"/>
                    </a:lnTo>
                    <a:lnTo>
                      <a:pt x="83881" y="20013"/>
                    </a:lnTo>
                    <a:lnTo>
                      <a:pt x="84694" y="18409"/>
                    </a:lnTo>
                    <a:lnTo>
                      <a:pt x="85597" y="17607"/>
                    </a:lnTo>
                    <a:close/>
                    <a:moveTo>
                      <a:pt x="0" y="2406"/>
                    </a:moveTo>
                    <a:lnTo>
                      <a:pt x="0" y="6403"/>
                    </a:lnTo>
                    <a:lnTo>
                      <a:pt x="451" y="7206"/>
                    </a:lnTo>
                    <a:lnTo>
                      <a:pt x="902" y="9612"/>
                    </a:lnTo>
                    <a:lnTo>
                      <a:pt x="1174" y="12807"/>
                    </a:lnTo>
                    <a:lnTo>
                      <a:pt x="1264" y="14412"/>
                    </a:lnTo>
                    <a:lnTo>
                      <a:pt x="1355" y="16002"/>
                    </a:lnTo>
                    <a:lnTo>
                      <a:pt x="1355" y="115988"/>
                    </a:lnTo>
                    <a:lnTo>
                      <a:pt x="4694" y="115988"/>
                    </a:lnTo>
                    <a:lnTo>
                      <a:pt x="4694" y="2406"/>
                    </a:lnTo>
                    <a:close/>
                    <a:moveTo>
                      <a:pt x="7133" y="2406"/>
                    </a:moveTo>
                    <a:lnTo>
                      <a:pt x="7133" y="6403"/>
                    </a:lnTo>
                    <a:lnTo>
                      <a:pt x="7584" y="7206"/>
                    </a:lnTo>
                    <a:lnTo>
                      <a:pt x="7945" y="9612"/>
                    </a:lnTo>
                    <a:lnTo>
                      <a:pt x="8307" y="12807"/>
                    </a:lnTo>
                    <a:lnTo>
                      <a:pt x="8398" y="14412"/>
                    </a:lnTo>
                    <a:lnTo>
                      <a:pt x="8398" y="16002"/>
                    </a:lnTo>
                    <a:lnTo>
                      <a:pt x="8398" y="115988"/>
                    </a:lnTo>
                    <a:lnTo>
                      <a:pt x="10925" y="115988"/>
                    </a:lnTo>
                    <a:lnTo>
                      <a:pt x="10925" y="40802"/>
                    </a:lnTo>
                    <a:lnTo>
                      <a:pt x="17336" y="115988"/>
                    </a:lnTo>
                    <a:lnTo>
                      <a:pt x="21670" y="115988"/>
                    </a:lnTo>
                    <a:lnTo>
                      <a:pt x="21670" y="2406"/>
                    </a:lnTo>
                    <a:lnTo>
                      <a:pt x="19231" y="2406"/>
                    </a:lnTo>
                    <a:lnTo>
                      <a:pt x="19231" y="86403"/>
                    </a:lnTo>
                    <a:lnTo>
                      <a:pt x="12009" y="2406"/>
                    </a:lnTo>
                    <a:close/>
                    <a:moveTo>
                      <a:pt x="23837" y="2406"/>
                    </a:moveTo>
                    <a:lnTo>
                      <a:pt x="23837" y="6403"/>
                    </a:lnTo>
                    <a:lnTo>
                      <a:pt x="24288" y="8008"/>
                    </a:lnTo>
                    <a:lnTo>
                      <a:pt x="24740" y="9612"/>
                    </a:lnTo>
                    <a:lnTo>
                      <a:pt x="25011" y="12005"/>
                    </a:lnTo>
                    <a:lnTo>
                      <a:pt x="25281" y="15214"/>
                    </a:lnTo>
                    <a:lnTo>
                      <a:pt x="29706" y="115988"/>
                    </a:lnTo>
                    <a:lnTo>
                      <a:pt x="33317" y="115988"/>
                    </a:lnTo>
                    <a:lnTo>
                      <a:pt x="38644" y="2406"/>
                    </a:lnTo>
                    <a:lnTo>
                      <a:pt x="36117" y="2406"/>
                    </a:lnTo>
                    <a:lnTo>
                      <a:pt x="32234" y="85601"/>
                    </a:lnTo>
                    <a:lnTo>
                      <a:pt x="28532" y="2406"/>
                    </a:lnTo>
                    <a:close/>
                    <a:moveTo>
                      <a:pt x="40451" y="2406"/>
                    </a:moveTo>
                    <a:lnTo>
                      <a:pt x="40451" y="6403"/>
                    </a:lnTo>
                    <a:lnTo>
                      <a:pt x="40902" y="7206"/>
                    </a:lnTo>
                    <a:lnTo>
                      <a:pt x="41353" y="9612"/>
                    </a:lnTo>
                    <a:lnTo>
                      <a:pt x="41625" y="12005"/>
                    </a:lnTo>
                    <a:lnTo>
                      <a:pt x="41715" y="14412"/>
                    </a:lnTo>
                    <a:lnTo>
                      <a:pt x="41715" y="16002"/>
                    </a:lnTo>
                    <a:lnTo>
                      <a:pt x="41715" y="115988"/>
                    </a:lnTo>
                    <a:lnTo>
                      <a:pt x="50654" y="115988"/>
                    </a:lnTo>
                    <a:lnTo>
                      <a:pt x="50654" y="99197"/>
                    </a:lnTo>
                    <a:lnTo>
                      <a:pt x="45145" y="99197"/>
                    </a:lnTo>
                    <a:lnTo>
                      <a:pt x="45145" y="63997"/>
                    </a:lnTo>
                    <a:lnTo>
                      <a:pt x="50202" y="63997"/>
                    </a:lnTo>
                    <a:lnTo>
                      <a:pt x="50202" y="48008"/>
                    </a:lnTo>
                    <a:lnTo>
                      <a:pt x="45145" y="48008"/>
                    </a:lnTo>
                    <a:lnTo>
                      <a:pt x="45145" y="19211"/>
                    </a:lnTo>
                    <a:lnTo>
                      <a:pt x="50654" y="19211"/>
                    </a:lnTo>
                    <a:lnTo>
                      <a:pt x="50654" y="2406"/>
                    </a:lnTo>
                    <a:close/>
                    <a:moveTo>
                      <a:pt x="64740" y="2406"/>
                    </a:moveTo>
                    <a:lnTo>
                      <a:pt x="64740" y="19211"/>
                    </a:lnTo>
                    <a:lnTo>
                      <a:pt x="69344" y="19211"/>
                    </a:lnTo>
                    <a:lnTo>
                      <a:pt x="69344" y="115988"/>
                    </a:lnTo>
                    <a:lnTo>
                      <a:pt x="72685" y="115988"/>
                    </a:lnTo>
                    <a:lnTo>
                      <a:pt x="72685" y="19211"/>
                    </a:lnTo>
                    <a:lnTo>
                      <a:pt x="77291" y="19211"/>
                    </a:lnTo>
                    <a:lnTo>
                      <a:pt x="77291" y="2406"/>
                    </a:lnTo>
                    <a:close/>
                    <a:moveTo>
                      <a:pt x="94537" y="2406"/>
                    </a:moveTo>
                    <a:lnTo>
                      <a:pt x="94537" y="6403"/>
                    </a:lnTo>
                    <a:lnTo>
                      <a:pt x="94988" y="7206"/>
                    </a:lnTo>
                    <a:lnTo>
                      <a:pt x="95439" y="9612"/>
                    </a:lnTo>
                    <a:lnTo>
                      <a:pt x="95709" y="12005"/>
                    </a:lnTo>
                    <a:lnTo>
                      <a:pt x="95800" y="13609"/>
                    </a:lnTo>
                    <a:lnTo>
                      <a:pt x="95890" y="15214"/>
                    </a:lnTo>
                    <a:lnTo>
                      <a:pt x="95890" y="115988"/>
                    </a:lnTo>
                    <a:lnTo>
                      <a:pt x="99231" y="115988"/>
                    </a:lnTo>
                    <a:lnTo>
                      <a:pt x="99231" y="66403"/>
                    </a:lnTo>
                    <a:lnTo>
                      <a:pt x="99954" y="70401"/>
                    </a:lnTo>
                    <a:lnTo>
                      <a:pt x="100676" y="76002"/>
                    </a:lnTo>
                    <a:lnTo>
                      <a:pt x="101759" y="88796"/>
                    </a:lnTo>
                    <a:lnTo>
                      <a:pt x="104288" y="115988"/>
                    </a:lnTo>
                    <a:lnTo>
                      <a:pt x="108260" y="115988"/>
                    </a:lnTo>
                    <a:lnTo>
                      <a:pt x="105191" y="83195"/>
                    </a:lnTo>
                    <a:lnTo>
                      <a:pt x="104740" y="77593"/>
                    </a:lnTo>
                    <a:lnTo>
                      <a:pt x="104288" y="72793"/>
                    </a:lnTo>
                    <a:lnTo>
                      <a:pt x="103836" y="68008"/>
                    </a:lnTo>
                    <a:lnTo>
                      <a:pt x="103384" y="64799"/>
                    </a:lnTo>
                    <a:lnTo>
                      <a:pt x="104288" y="63208"/>
                    </a:lnTo>
                    <a:lnTo>
                      <a:pt x="105010" y="61604"/>
                    </a:lnTo>
                    <a:lnTo>
                      <a:pt x="105733" y="58409"/>
                    </a:lnTo>
                    <a:lnTo>
                      <a:pt x="106184" y="55200"/>
                    </a:lnTo>
                    <a:lnTo>
                      <a:pt x="106635" y="51203"/>
                    </a:lnTo>
                    <a:lnTo>
                      <a:pt x="106907" y="46403"/>
                    </a:lnTo>
                    <a:lnTo>
                      <a:pt x="107086" y="41604"/>
                    </a:lnTo>
                    <a:lnTo>
                      <a:pt x="107177" y="36002"/>
                    </a:lnTo>
                    <a:lnTo>
                      <a:pt x="107086" y="28008"/>
                    </a:lnTo>
                    <a:lnTo>
                      <a:pt x="106816" y="21604"/>
                    </a:lnTo>
                    <a:lnTo>
                      <a:pt x="106365" y="16002"/>
                    </a:lnTo>
                    <a:lnTo>
                      <a:pt x="105823" y="11203"/>
                    </a:lnTo>
                    <a:lnTo>
                      <a:pt x="105010" y="7206"/>
                    </a:lnTo>
                    <a:lnTo>
                      <a:pt x="104107" y="4813"/>
                    </a:lnTo>
                    <a:lnTo>
                      <a:pt x="103024" y="3208"/>
                    </a:lnTo>
                    <a:lnTo>
                      <a:pt x="101759" y="2406"/>
                    </a:lnTo>
                    <a:close/>
                    <a:moveTo>
                      <a:pt x="58871" y="816"/>
                    </a:moveTo>
                    <a:lnTo>
                      <a:pt x="57606" y="1604"/>
                    </a:lnTo>
                    <a:lnTo>
                      <a:pt x="56523" y="3208"/>
                    </a:lnTo>
                    <a:lnTo>
                      <a:pt x="55530" y="5615"/>
                    </a:lnTo>
                    <a:lnTo>
                      <a:pt x="54718" y="9612"/>
                    </a:lnTo>
                    <a:lnTo>
                      <a:pt x="54085" y="13609"/>
                    </a:lnTo>
                    <a:lnTo>
                      <a:pt x="53634" y="19211"/>
                    </a:lnTo>
                    <a:lnTo>
                      <a:pt x="53362" y="24813"/>
                    </a:lnTo>
                    <a:lnTo>
                      <a:pt x="53272" y="31203"/>
                    </a:lnTo>
                    <a:lnTo>
                      <a:pt x="53362" y="36804"/>
                    </a:lnTo>
                    <a:lnTo>
                      <a:pt x="53634" y="42406"/>
                    </a:lnTo>
                    <a:lnTo>
                      <a:pt x="53904" y="47206"/>
                    </a:lnTo>
                    <a:lnTo>
                      <a:pt x="54446" y="52005"/>
                    </a:lnTo>
                    <a:lnTo>
                      <a:pt x="55259" y="58409"/>
                    </a:lnTo>
                    <a:lnTo>
                      <a:pt x="56613" y="66403"/>
                    </a:lnTo>
                    <a:lnTo>
                      <a:pt x="58419" y="76002"/>
                    </a:lnTo>
                    <a:lnTo>
                      <a:pt x="58961" y="80000"/>
                    </a:lnTo>
                    <a:lnTo>
                      <a:pt x="59322" y="83997"/>
                    </a:lnTo>
                    <a:lnTo>
                      <a:pt x="59503" y="87192"/>
                    </a:lnTo>
                    <a:lnTo>
                      <a:pt x="59594" y="91203"/>
                    </a:lnTo>
                    <a:lnTo>
                      <a:pt x="59503" y="93596"/>
                    </a:lnTo>
                    <a:lnTo>
                      <a:pt x="59412" y="96002"/>
                    </a:lnTo>
                    <a:lnTo>
                      <a:pt x="59141" y="98395"/>
                    </a:lnTo>
                    <a:lnTo>
                      <a:pt x="58871" y="100000"/>
                    </a:lnTo>
                    <a:lnTo>
                      <a:pt x="58238" y="101590"/>
                    </a:lnTo>
                    <a:lnTo>
                      <a:pt x="56432" y="101590"/>
                    </a:lnTo>
                    <a:lnTo>
                      <a:pt x="55259" y="100000"/>
                    </a:lnTo>
                    <a:lnTo>
                      <a:pt x="54176" y="96791"/>
                    </a:lnTo>
                    <a:lnTo>
                      <a:pt x="53181" y="92793"/>
                    </a:lnTo>
                    <a:lnTo>
                      <a:pt x="53181" y="112793"/>
                    </a:lnTo>
                    <a:lnTo>
                      <a:pt x="54176" y="115200"/>
                    </a:lnTo>
                    <a:lnTo>
                      <a:pt x="55169" y="116791"/>
                    </a:lnTo>
                    <a:lnTo>
                      <a:pt x="56252" y="117593"/>
                    </a:lnTo>
                    <a:lnTo>
                      <a:pt x="57245" y="118395"/>
                    </a:lnTo>
                    <a:lnTo>
                      <a:pt x="58148" y="117593"/>
                    </a:lnTo>
                    <a:lnTo>
                      <a:pt x="58961" y="116791"/>
                    </a:lnTo>
                    <a:lnTo>
                      <a:pt x="59773" y="115988"/>
                    </a:lnTo>
                    <a:lnTo>
                      <a:pt x="60496" y="113596"/>
                    </a:lnTo>
                    <a:lnTo>
                      <a:pt x="61038" y="111189"/>
                    </a:lnTo>
                    <a:lnTo>
                      <a:pt x="61670" y="108796"/>
                    </a:lnTo>
                    <a:lnTo>
                      <a:pt x="62121" y="105601"/>
                    </a:lnTo>
                    <a:lnTo>
                      <a:pt x="62482" y="102392"/>
                    </a:lnTo>
                    <a:lnTo>
                      <a:pt x="62754" y="98395"/>
                    </a:lnTo>
                    <a:lnTo>
                      <a:pt x="62933" y="94398"/>
                    </a:lnTo>
                    <a:lnTo>
                      <a:pt x="63114" y="89598"/>
                    </a:lnTo>
                    <a:lnTo>
                      <a:pt x="63114" y="84799"/>
                    </a:lnTo>
                    <a:lnTo>
                      <a:pt x="63114" y="80802"/>
                    </a:lnTo>
                    <a:lnTo>
                      <a:pt x="62933" y="76804"/>
                    </a:lnTo>
                    <a:lnTo>
                      <a:pt x="62754" y="72793"/>
                    </a:lnTo>
                    <a:lnTo>
                      <a:pt x="62391" y="68796"/>
                    </a:lnTo>
                    <a:lnTo>
                      <a:pt x="61940" y="63997"/>
                    </a:lnTo>
                    <a:lnTo>
                      <a:pt x="61489" y="60000"/>
                    </a:lnTo>
                    <a:lnTo>
                      <a:pt x="60857" y="56002"/>
                    </a:lnTo>
                    <a:lnTo>
                      <a:pt x="60134" y="52005"/>
                    </a:lnTo>
                    <a:lnTo>
                      <a:pt x="58238" y="41604"/>
                    </a:lnTo>
                    <a:lnTo>
                      <a:pt x="57516" y="36804"/>
                    </a:lnTo>
                    <a:lnTo>
                      <a:pt x="57064" y="33609"/>
                    </a:lnTo>
                    <a:lnTo>
                      <a:pt x="56794" y="30401"/>
                    </a:lnTo>
                    <a:lnTo>
                      <a:pt x="56704" y="28008"/>
                    </a:lnTo>
                    <a:lnTo>
                      <a:pt x="56794" y="24813"/>
                    </a:lnTo>
                    <a:lnTo>
                      <a:pt x="57064" y="21604"/>
                    </a:lnTo>
                    <a:lnTo>
                      <a:pt x="57427" y="20013"/>
                    </a:lnTo>
                    <a:lnTo>
                      <a:pt x="57878" y="18409"/>
                    </a:lnTo>
                    <a:lnTo>
                      <a:pt x="58419" y="17607"/>
                    </a:lnTo>
                    <a:lnTo>
                      <a:pt x="59052" y="16804"/>
                    </a:lnTo>
                    <a:lnTo>
                      <a:pt x="59864" y="17607"/>
                    </a:lnTo>
                    <a:lnTo>
                      <a:pt x="60587" y="19211"/>
                    </a:lnTo>
                    <a:lnTo>
                      <a:pt x="61128" y="20802"/>
                    </a:lnTo>
                    <a:lnTo>
                      <a:pt x="61580" y="23208"/>
                    </a:lnTo>
                    <a:lnTo>
                      <a:pt x="61850" y="26403"/>
                    </a:lnTo>
                    <a:lnTo>
                      <a:pt x="62121" y="29612"/>
                    </a:lnTo>
                    <a:lnTo>
                      <a:pt x="62482" y="29612"/>
                    </a:lnTo>
                    <a:lnTo>
                      <a:pt x="62482" y="5615"/>
                    </a:lnTo>
                    <a:lnTo>
                      <a:pt x="61670" y="3208"/>
                    </a:lnTo>
                    <a:lnTo>
                      <a:pt x="60766" y="1604"/>
                    </a:lnTo>
                    <a:lnTo>
                      <a:pt x="59864" y="816"/>
                    </a:lnTo>
                    <a:close/>
                    <a:moveTo>
                      <a:pt x="115754" y="816"/>
                    </a:moveTo>
                    <a:lnTo>
                      <a:pt x="114491" y="1604"/>
                    </a:lnTo>
                    <a:lnTo>
                      <a:pt x="113317" y="3208"/>
                    </a:lnTo>
                    <a:lnTo>
                      <a:pt x="112413" y="5615"/>
                    </a:lnTo>
                    <a:lnTo>
                      <a:pt x="111601" y="9612"/>
                    </a:lnTo>
                    <a:lnTo>
                      <a:pt x="110969" y="13609"/>
                    </a:lnTo>
                    <a:lnTo>
                      <a:pt x="110518" y="19211"/>
                    </a:lnTo>
                    <a:lnTo>
                      <a:pt x="110248" y="24813"/>
                    </a:lnTo>
                    <a:lnTo>
                      <a:pt x="110157" y="31203"/>
                    </a:lnTo>
                    <a:lnTo>
                      <a:pt x="110248" y="36804"/>
                    </a:lnTo>
                    <a:lnTo>
                      <a:pt x="110427" y="42406"/>
                    </a:lnTo>
                    <a:lnTo>
                      <a:pt x="110788" y="47206"/>
                    </a:lnTo>
                    <a:lnTo>
                      <a:pt x="111330" y="52005"/>
                    </a:lnTo>
                    <a:lnTo>
                      <a:pt x="112143" y="58409"/>
                    </a:lnTo>
                    <a:lnTo>
                      <a:pt x="113497" y="66403"/>
                    </a:lnTo>
                    <a:lnTo>
                      <a:pt x="115303" y="76002"/>
                    </a:lnTo>
                    <a:lnTo>
                      <a:pt x="115845" y="80000"/>
                    </a:lnTo>
                    <a:lnTo>
                      <a:pt x="116206" y="83997"/>
                    </a:lnTo>
                    <a:lnTo>
                      <a:pt x="116387" y="87192"/>
                    </a:lnTo>
                    <a:lnTo>
                      <a:pt x="116477" y="91203"/>
                    </a:lnTo>
                    <a:lnTo>
                      <a:pt x="116387" y="93596"/>
                    </a:lnTo>
                    <a:lnTo>
                      <a:pt x="116296" y="96002"/>
                    </a:lnTo>
                    <a:lnTo>
                      <a:pt x="116026" y="98395"/>
                    </a:lnTo>
                    <a:lnTo>
                      <a:pt x="115754" y="100000"/>
                    </a:lnTo>
                    <a:lnTo>
                      <a:pt x="115122" y="101590"/>
                    </a:lnTo>
                    <a:lnTo>
                      <a:pt x="113227" y="101590"/>
                    </a:lnTo>
                    <a:lnTo>
                      <a:pt x="112143" y="100000"/>
                    </a:lnTo>
                    <a:lnTo>
                      <a:pt x="111060" y="96791"/>
                    </a:lnTo>
                    <a:lnTo>
                      <a:pt x="110067" y="92793"/>
                    </a:lnTo>
                    <a:lnTo>
                      <a:pt x="110067" y="112793"/>
                    </a:lnTo>
                    <a:lnTo>
                      <a:pt x="111060" y="115200"/>
                    </a:lnTo>
                    <a:lnTo>
                      <a:pt x="112053" y="116791"/>
                    </a:lnTo>
                    <a:lnTo>
                      <a:pt x="113046" y="117593"/>
                    </a:lnTo>
                    <a:lnTo>
                      <a:pt x="114129" y="118395"/>
                    </a:lnTo>
                    <a:lnTo>
                      <a:pt x="115033" y="117593"/>
                    </a:lnTo>
                    <a:lnTo>
                      <a:pt x="115845" y="116791"/>
                    </a:lnTo>
                    <a:lnTo>
                      <a:pt x="116658" y="115988"/>
                    </a:lnTo>
                    <a:lnTo>
                      <a:pt x="117289" y="113596"/>
                    </a:lnTo>
                    <a:lnTo>
                      <a:pt x="117921" y="111189"/>
                    </a:lnTo>
                    <a:lnTo>
                      <a:pt x="118463" y="108796"/>
                    </a:lnTo>
                    <a:lnTo>
                      <a:pt x="118914" y="105601"/>
                    </a:lnTo>
                    <a:lnTo>
                      <a:pt x="119367" y="102392"/>
                    </a:lnTo>
                    <a:lnTo>
                      <a:pt x="119637" y="98395"/>
                    </a:lnTo>
                    <a:lnTo>
                      <a:pt x="119818" y="94398"/>
                    </a:lnTo>
                    <a:lnTo>
                      <a:pt x="119998" y="89598"/>
                    </a:lnTo>
                    <a:lnTo>
                      <a:pt x="119998" y="84799"/>
                    </a:lnTo>
                    <a:lnTo>
                      <a:pt x="119909" y="80802"/>
                    </a:lnTo>
                    <a:lnTo>
                      <a:pt x="119818" y="76804"/>
                    </a:lnTo>
                    <a:lnTo>
                      <a:pt x="119547" y="72793"/>
                    </a:lnTo>
                    <a:lnTo>
                      <a:pt x="119277" y="68796"/>
                    </a:lnTo>
                    <a:lnTo>
                      <a:pt x="118825" y="63997"/>
                    </a:lnTo>
                    <a:lnTo>
                      <a:pt x="118373" y="60000"/>
                    </a:lnTo>
                    <a:lnTo>
                      <a:pt x="117742" y="56002"/>
                    </a:lnTo>
                    <a:lnTo>
                      <a:pt x="117019" y="52005"/>
                    </a:lnTo>
                    <a:lnTo>
                      <a:pt x="115033" y="41604"/>
                    </a:lnTo>
                    <a:lnTo>
                      <a:pt x="114401" y="36804"/>
                    </a:lnTo>
                    <a:lnTo>
                      <a:pt x="113950" y="33609"/>
                    </a:lnTo>
                    <a:lnTo>
                      <a:pt x="113678" y="30401"/>
                    </a:lnTo>
                    <a:lnTo>
                      <a:pt x="113587" y="28008"/>
                    </a:lnTo>
                    <a:lnTo>
                      <a:pt x="113678" y="24813"/>
                    </a:lnTo>
                    <a:lnTo>
                      <a:pt x="113950" y="21604"/>
                    </a:lnTo>
                    <a:lnTo>
                      <a:pt x="114310" y="20013"/>
                    </a:lnTo>
                    <a:lnTo>
                      <a:pt x="114761" y="18409"/>
                    </a:lnTo>
                    <a:lnTo>
                      <a:pt x="115303" y="17607"/>
                    </a:lnTo>
                    <a:lnTo>
                      <a:pt x="115935" y="16804"/>
                    </a:lnTo>
                    <a:lnTo>
                      <a:pt x="116747" y="17607"/>
                    </a:lnTo>
                    <a:lnTo>
                      <a:pt x="117470" y="19211"/>
                    </a:lnTo>
                    <a:lnTo>
                      <a:pt x="118012" y="20802"/>
                    </a:lnTo>
                    <a:lnTo>
                      <a:pt x="118463" y="23208"/>
                    </a:lnTo>
                    <a:lnTo>
                      <a:pt x="118735" y="26403"/>
                    </a:lnTo>
                    <a:lnTo>
                      <a:pt x="118914" y="29612"/>
                    </a:lnTo>
                    <a:lnTo>
                      <a:pt x="119367" y="29612"/>
                    </a:lnTo>
                    <a:lnTo>
                      <a:pt x="119367" y="5615"/>
                    </a:lnTo>
                    <a:lnTo>
                      <a:pt x="118463" y="3208"/>
                    </a:lnTo>
                    <a:lnTo>
                      <a:pt x="117651" y="1604"/>
                    </a:lnTo>
                    <a:lnTo>
                      <a:pt x="116747" y="816"/>
                    </a:lnTo>
                    <a:close/>
                    <a:moveTo>
                      <a:pt x="84785" y="13"/>
                    </a:moveTo>
                    <a:lnTo>
                      <a:pt x="83971" y="816"/>
                    </a:lnTo>
                    <a:lnTo>
                      <a:pt x="83160" y="2406"/>
                    </a:lnTo>
                    <a:lnTo>
                      <a:pt x="82527" y="4813"/>
                    </a:lnTo>
                    <a:lnTo>
                      <a:pt x="81804" y="7206"/>
                    </a:lnTo>
                    <a:lnTo>
                      <a:pt x="81172" y="10414"/>
                    </a:lnTo>
                    <a:lnTo>
                      <a:pt x="80630" y="13609"/>
                    </a:lnTo>
                    <a:lnTo>
                      <a:pt x="80179" y="17607"/>
                    </a:lnTo>
                    <a:lnTo>
                      <a:pt x="79728" y="21604"/>
                    </a:lnTo>
                    <a:lnTo>
                      <a:pt x="79277" y="26403"/>
                    </a:lnTo>
                    <a:lnTo>
                      <a:pt x="78916" y="31203"/>
                    </a:lnTo>
                    <a:lnTo>
                      <a:pt x="78644" y="36804"/>
                    </a:lnTo>
                    <a:lnTo>
                      <a:pt x="78463" y="41604"/>
                    </a:lnTo>
                    <a:lnTo>
                      <a:pt x="78284" y="48008"/>
                    </a:lnTo>
                    <a:lnTo>
                      <a:pt x="78193" y="53609"/>
                    </a:lnTo>
                    <a:lnTo>
                      <a:pt x="78103" y="60000"/>
                    </a:lnTo>
                    <a:lnTo>
                      <a:pt x="78193" y="65601"/>
                    </a:lnTo>
                    <a:lnTo>
                      <a:pt x="78284" y="72005"/>
                    </a:lnTo>
                    <a:lnTo>
                      <a:pt x="78463" y="77593"/>
                    </a:lnTo>
                    <a:lnTo>
                      <a:pt x="78644" y="83195"/>
                    </a:lnTo>
                    <a:lnTo>
                      <a:pt x="78916" y="88796"/>
                    </a:lnTo>
                    <a:lnTo>
                      <a:pt x="79277" y="93596"/>
                    </a:lnTo>
                    <a:lnTo>
                      <a:pt x="79728" y="98395"/>
                    </a:lnTo>
                    <a:lnTo>
                      <a:pt x="80179" y="102392"/>
                    </a:lnTo>
                    <a:lnTo>
                      <a:pt x="80630" y="106390"/>
                    </a:lnTo>
                    <a:lnTo>
                      <a:pt x="81172" y="109598"/>
                    </a:lnTo>
                    <a:lnTo>
                      <a:pt x="81804" y="112793"/>
                    </a:lnTo>
                    <a:lnTo>
                      <a:pt x="82527" y="115200"/>
                    </a:lnTo>
                    <a:lnTo>
                      <a:pt x="83160" y="116791"/>
                    </a:lnTo>
                    <a:lnTo>
                      <a:pt x="83971" y="118395"/>
                    </a:lnTo>
                    <a:lnTo>
                      <a:pt x="84785" y="119197"/>
                    </a:lnTo>
                    <a:lnTo>
                      <a:pt x="85597" y="120000"/>
                    </a:lnTo>
                    <a:lnTo>
                      <a:pt x="86501" y="119197"/>
                    </a:lnTo>
                    <a:lnTo>
                      <a:pt x="87222" y="118395"/>
                    </a:lnTo>
                    <a:lnTo>
                      <a:pt x="88035" y="116791"/>
                    </a:lnTo>
                    <a:lnTo>
                      <a:pt x="88757" y="115200"/>
                    </a:lnTo>
                    <a:lnTo>
                      <a:pt x="89389" y="112793"/>
                    </a:lnTo>
                    <a:lnTo>
                      <a:pt x="90021" y="109598"/>
                    </a:lnTo>
                    <a:lnTo>
                      <a:pt x="90563" y="106390"/>
                    </a:lnTo>
                    <a:lnTo>
                      <a:pt x="91105" y="102392"/>
                    </a:lnTo>
                    <a:lnTo>
                      <a:pt x="91556" y="98395"/>
                    </a:lnTo>
                    <a:lnTo>
                      <a:pt x="91918" y="93596"/>
                    </a:lnTo>
                    <a:lnTo>
                      <a:pt x="92279" y="88796"/>
                    </a:lnTo>
                    <a:lnTo>
                      <a:pt x="92549" y="83195"/>
                    </a:lnTo>
                    <a:lnTo>
                      <a:pt x="92821" y="77593"/>
                    </a:lnTo>
                    <a:lnTo>
                      <a:pt x="92911" y="72005"/>
                    </a:lnTo>
                    <a:lnTo>
                      <a:pt x="93091" y="65601"/>
                    </a:lnTo>
                    <a:lnTo>
                      <a:pt x="93091" y="60000"/>
                    </a:lnTo>
                    <a:lnTo>
                      <a:pt x="93091" y="53609"/>
                    </a:lnTo>
                    <a:lnTo>
                      <a:pt x="92911" y="48008"/>
                    </a:lnTo>
                    <a:lnTo>
                      <a:pt x="92821" y="41604"/>
                    </a:lnTo>
                    <a:lnTo>
                      <a:pt x="92549" y="36804"/>
                    </a:lnTo>
                    <a:lnTo>
                      <a:pt x="92279" y="31203"/>
                    </a:lnTo>
                    <a:lnTo>
                      <a:pt x="91918" y="26403"/>
                    </a:lnTo>
                    <a:lnTo>
                      <a:pt x="91556" y="21604"/>
                    </a:lnTo>
                    <a:lnTo>
                      <a:pt x="91105" y="17607"/>
                    </a:lnTo>
                    <a:lnTo>
                      <a:pt x="90563" y="13609"/>
                    </a:lnTo>
                    <a:lnTo>
                      <a:pt x="90021" y="10414"/>
                    </a:lnTo>
                    <a:lnTo>
                      <a:pt x="89389" y="7206"/>
                    </a:lnTo>
                    <a:lnTo>
                      <a:pt x="88757" y="4813"/>
                    </a:lnTo>
                    <a:lnTo>
                      <a:pt x="88035" y="2406"/>
                    </a:lnTo>
                    <a:lnTo>
                      <a:pt x="87222" y="816"/>
                    </a:lnTo>
                    <a:lnTo>
                      <a:pt x="86501" y="13"/>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3" name="Google Shape;25;p2">
                <a:extLst>
                  <a:ext uri="{FF2B5EF4-FFF2-40B4-BE49-F238E27FC236}">
                    <a16:creationId xmlns:a16="http://schemas.microsoft.com/office/drawing/2014/main" id="{2258C6CB-D32C-494B-AE7C-697BC8A75D2D}"/>
                  </a:ext>
                </a:extLst>
              </p:cNvPr>
              <p:cNvSpPr/>
              <p:nvPr/>
            </p:nvSpPr>
            <p:spPr>
              <a:xfrm>
                <a:off x="5111957" y="3466175"/>
                <a:ext cx="75301" cy="205200"/>
              </a:xfrm>
              <a:custGeom>
                <a:avLst/>
                <a:gdLst/>
                <a:ahLst/>
                <a:cxnLst/>
                <a:rect l="l" t="t" r="r" b="b"/>
                <a:pathLst>
                  <a:path w="120000" h="120000" fill="none" extrusionOk="0">
                    <a:moveTo>
                      <a:pt x="0" y="4222"/>
                    </a:moveTo>
                    <a:lnTo>
                      <a:pt x="0" y="4222"/>
                    </a:lnTo>
                    <a:lnTo>
                      <a:pt x="11529" y="5070"/>
                    </a:lnTo>
                    <a:lnTo>
                      <a:pt x="23058" y="7612"/>
                    </a:lnTo>
                    <a:lnTo>
                      <a:pt x="23058" y="7612"/>
                    </a:lnTo>
                    <a:lnTo>
                      <a:pt x="30000" y="10987"/>
                    </a:lnTo>
                    <a:lnTo>
                      <a:pt x="32313" y="12682"/>
                    </a:lnTo>
                    <a:lnTo>
                      <a:pt x="34627" y="14362"/>
                    </a:lnTo>
                    <a:lnTo>
                      <a:pt x="34627" y="119985"/>
                    </a:lnTo>
                    <a:lnTo>
                      <a:pt x="119960" y="119985"/>
                    </a:lnTo>
                    <a:lnTo>
                      <a:pt x="119960"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4" name="Google Shape;26;p2">
                <a:extLst>
                  <a:ext uri="{FF2B5EF4-FFF2-40B4-BE49-F238E27FC236}">
                    <a16:creationId xmlns:a16="http://schemas.microsoft.com/office/drawing/2014/main" id="{CF4D11BF-D62B-4F07-9E8C-EC0B414399E3}"/>
                  </a:ext>
                </a:extLst>
              </p:cNvPr>
              <p:cNvSpPr/>
              <p:nvPr/>
            </p:nvSpPr>
            <p:spPr>
              <a:xfrm>
                <a:off x="5226157" y="3466175"/>
                <a:ext cx="232800" cy="205200"/>
              </a:xfrm>
              <a:custGeom>
                <a:avLst/>
                <a:gdLst/>
                <a:ahLst/>
                <a:cxnLst/>
                <a:rect l="l" t="t" r="r" b="b"/>
                <a:pathLst>
                  <a:path w="120000" h="120000" fill="none" extrusionOk="0">
                    <a:moveTo>
                      <a:pt x="99871" y="88732"/>
                    </a:moveTo>
                    <a:lnTo>
                      <a:pt x="40257" y="0"/>
                    </a:lnTo>
                    <a:lnTo>
                      <a:pt x="12" y="0"/>
                    </a:lnTo>
                    <a:lnTo>
                      <a:pt x="12" y="4222"/>
                    </a:lnTo>
                    <a:lnTo>
                      <a:pt x="12" y="4222"/>
                    </a:lnTo>
                    <a:lnTo>
                      <a:pt x="3737" y="5070"/>
                    </a:lnTo>
                    <a:lnTo>
                      <a:pt x="6713" y="7612"/>
                    </a:lnTo>
                    <a:lnTo>
                      <a:pt x="6713" y="7612"/>
                    </a:lnTo>
                    <a:lnTo>
                      <a:pt x="9703" y="10987"/>
                    </a:lnTo>
                    <a:lnTo>
                      <a:pt x="10451" y="12682"/>
                    </a:lnTo>
                    <a:lnTo>
                      <a:pt x="10451" y="14362"/>
                    </a:lnTo>
                    <a:lnTo>
                      <a:pt x="10451" y="119985"/>
                    </a:lnTo>
                    <a:lnTo>
                      <a:pt x="31314" y="119985"/>
                    </a:lnTo>
                    <a:lnTo>
                      <a:pt x="31314" y="40560"/>
                    </a:lnTo>
                    <a:lnTo>
                      <a:pt x="84226" y="119985"/>
                    </a:lnTo>
                    <a:lnTo>
                      <a:pt x="120000" y="119985"/>
                    </a:lnTo>
                    <a:lnTo>
                      <a:pt x="120000" y="0"/>
                    </a:lnTo>
                    <a:lnTo>
                      <a:pt x="99871" y="0"/>
                    </a:lnTo>
                    <a:lnTo>
                      <a:pt x="99871" y="8873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5" name="Google Shape;27;p2">
                <a:extLst>
                  <a:ext uri="{FF2B5EF4-FFF2-40B4-BE49-F238E27FC236}">
                    <a16:creationId xmlns:a16="http://schemas.microsoft.com/office/drawing/2014/main" id="{70D87961-26EE-4A25-9829-65EFD8F69381}"/>
                  </a:ext>
                </a:extLst>
              </p:cNvPr>
              <p:cNvSpPr/>
              <p:nvPr/>
            </p:nvSpPr>
            <p:spPr>
              <a:xfrm>
                <a:off x="5493632" y="3466175"/>
                <a:ext cx="236999" cy="205200"/>
              </a:xfrm>
              <a:custGeom>
                <a:avLst/>
                <a:gdLst/>
                <a:ahLst/>
                <a:cxnLst/>
                <a:rect l="l" t="t" r="r" b="b"/>
                <a:pathLst>
                  <a:path w="120000" h="120000" fill="none" extrusionOk="0">
                    <a:moveTo>
                      <a:pt x="68045" y="87885"/>
                    </a:moveTo>
                    <a:lnTo>
                      <a:pt x="38051" y="0"/>
                    </a:lnTo>
                    <a:lnTo>
                      <a:pt x="12" y="0"/>
                    </a:lnTo>
                    <a:lnTo>
                      <a:pt x="12" y="4222"/>
                    </a:lnTo>
                    <a:lnTo>
                      <a:pt x="12" y="4222"/>
                    </a:lnTo>
                    <a:lnTo>
                      <a:pt x="3668" y="5917"/>
                    </a:lnTo>
                    <a:lnTo>
                      <a:pt x="7324" y="7612"/>
                    </a:lnTo>
                    <a:lnTo>
                      <a:pt x="9525" y="10140"/>
                    </a:lnTo>
                    <a:lnTo>
                      <a:pt x="11714" y="13529"/>
                    </a:lnTo>
                    <a:lnTo>
                      <a:pt x="47564" y="119985"/>
                    </a:lnTo>
                    <a:lnTo>
                      <a:pt x="76824" y="119985"/>
                    </a:lnTo>
                    <a:lnTo>
                      <a:pt x="119987" y="0"/>
                    </a:lnTo>
                    <a:lnTo>
                      <a:pt x="99506" y="0"/>
                    </a:lnTo>
                    <a:lnTo>
                      <a:pt x="68045" y="8788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6" name="Google Shape;28;p2">
                <a:extLst>
                  <a:ext uri="{FF2B5EF4-FFF2-40B4-BE49-F238E27FC236}">
                    <a16:creationId xmlns:a16="http://schemas.microsoft.com/office/drawing/2014/main" id="{561F48D3-B49B-43AD-92E7-C3465CDB06AF}"/>
                  </a:ext>
                </a:extLst>
              </p:cNvPr>
              <p:cNvSpPr/>
              <p:nvPr/>
            </p:nvSpPr>
            <p:spPr>
              <a:xfrm>
                <a:off x="5759684" y="3466175"/>
                <a:ext cx="163501" cy="205200"/>
              </a:xfrm>
              <a:custGeom>
                <a:avLst/>
                <a:gdLst/>
                <a:ahLst/>
                <a:cxnLst/>
                <a:rect l="l" t="t" r="r" b="b"/>
                <a:pathLst>
                  <a:path w="120000" h="120000" fill="none" extrusionOk="0">
                    <a:moveTo>
                      <a:pt x="0" y="4222"/>
                    </a:moveTo>
                    <a:lnTo>
                      <a:pt x="0" y="4222"/>
                    </a:lnTo>
                    <a:lnTo>
                      <a:pt x="5305" y="5070"/>
                    </a:lnTo>
                    <a:lnTo>
                      <a:pt x="10611" y="7612"/>
                    </a:lnTo>
                    <a:lnTo>
                      <a:pt x="10611" y="7612"/>
                    </a:lnTo>
                    <a:lnTo>
                      <a:pt x="13806" y="10140"/>
                    </a:lnTo>
                    <a:lnTo>
                      <a:pt x="14871" y="12682"/>
                    </a:lnTo>
                    <a:lnTo>
                      <a:pt x="14871" y="14362"/>
                    </a:lnTo>
                    <a:lnTo>
                      <a:pt x="14871" y="119985"/>
                    </a:lnTo>
                    <a:lnTo>
                      <a:pt x="119981" y="119985"/>
                    </a:lnTo>
                    <a:lnTo>
                      <a:pt x="119981" y="102247"/>
                    </a:lnTo>
                    <a:lnTo>
                      <a:pt x="55208" y="102247"/>
                    </a:lnTo>
                    <a:lnTo>
                      <a:pt x="55208" y="65062"/>
                    </a:lnTo>
                    <a:lnTo>
                      <a:pt x="114675" y="65062"/>
                    </a:lnTo>
                    <a:lnTo>
                      <a:pt x="114675" y="48172"/>
                    </a:lnTo>
                    <a:lnTo>
                      <a:pt x="55208" y="48172"/>
                    </a:lnTo>
                    <a:lnTo>
                      <a:pt x="55208" y="17752"/>
                    </a:lnTo>
                    <a:lnTo>
                      <a:pt x="119981" y="17752"/>
                    </a:lnTo>
                    <a:lnTo>
                      <a:pt x="119981"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7" name="Google Shape;29;p2">
                <a:extLst>
                  <a:ext uri="{FF2B5EF4-FFF2-40B4-BE49-F238E27FC236}">
                    <a16:creationId xmlns:a16="http://schemas.microsoft.com/office/drawing/2014/main" id="{41D87E24-152F-404F-A30E-C426259179F8}"/>
                  </a:ext>
                </a:extLst>
              </p:cNvPr>
              <p:cNvSpPr/>
              <p:nvPr/>
            </p:nvSpPr>
            <p:spPr>
              <a:xfrm>
                <a:off x="5963535" y="3463276"/>
                <a:ext cx="159001" cy="212400"/>
              </a:xfrm>
              <a:custGeom>
                <a:avLst/>
                <a:gdLst/>
                <a:ahLst/>
                <a:cxnLst/>
                <a:rect l="l" t="t" r="r" b="b"/>
                <a:pathLst>
                  <a:path w="120000" h="120000" fill="none" extrusionOk="0">
                    <a:moveTo>
                      <a:pt x="83992" y="52251"/>
                    </a:moveTo>
                    <a:lnTo>
                      <a:pt x="83992" y="52251"/>
                    </a:lnTo>
                    <a:lnTo>
                      <a:pt x="61093" y="41637"/>
                    </a:lnTo>
                    <a:lnTo>
                      <a:pt x="61093" y="41637"/>
                    </a:lnTo>
                    <a:lnTo>
                      <a:pt x="52360" y="36739"/>
                    </a:lnTo>
                    <a:lnTo>
                      <a:pt x="46909" y="33479"/>
                    </a:lnTo>
                    <a:lnTo>
                      <a:pt x="43646" y="30204"/>
                    </a:lnTo>
                    <a:lnTo>
                      <a:pt x="42552" y="27762"/>
                    </a:lnTo>
                    <a:lnTo>
                      <a:pt x="42552" y="27762"/>
                    </a:lnTo>
                    <a:lnTo>
                      <a:pt x="43646" y="24502"/>
                    </a:lnTo>
                    <a:lnTo>
                      <a:pt x="46909" y="21227"/>
                    </a:lnTo>
                    <a:lnTo>
                      <a:pt x="46909" y="21227"/>
                    </a:lnTo>
                    <a:lnTo>
                      <a:pt x="51285" y="19604"/>
                    </a:lnTo>
                    <a:lnTo>
                      <a:pt x="56736" y="17967"/>
                    </a:lnTo>
                    <a:lnTo>
                      <a:pt x="63281" y="17148"/>
                    </a:lnTo>
                    <a:lnTo>
                      <a:pt x="70921" y="16330"/>
                    </a:lnTo>
                    <a:lnTo>
                      <a:pt x="70921" y="16330"/>
                    </a:lnTo>
                    <a:lnTo>
                      <a:pt x="80729" y="17148"/>
                    </a:lnTo>
                    <a:lnTo>
                      <a:pt x="89462" y="18786"/>
                    </a:lnTo>
                    <a:lnTo>
                      <a:pt x="89462" y="18786"/>
                    </a:lnTo>
                    <a:lnTo>
                      <a:pt x="96007" y="20409"/>
                    </a:lnTo>
                    <a:lnTo>
                      <a:pt x="101458" y="22865"/>
                    </a:lnTo>
                    <a:lnTo>
                      <a:pt x="104721" y="26125"/>
                    </a:lnTo>
                    <a:lnTo>
                      <a:pt x="108003" y="29400"/>
                    </a:lnTo>
                    <a:lnTo>
                      <a:pt x="112360" y="29400"/>
                    </a:lnTo>
                    <a:lnTo>
                      <a:pt x="112360" y="4911"/>
                    </a:lnTo>
                    <a:lnTo>
                      <a:pt x="112360" y="4911"/>
                    </a:lnTo>
                    <a:lnTo>
                      <a:pt x="102552" y="2455"/>
                    </a:lnTo>
                    <a:lnTo>
                      <a:pt x="91631" y="818"/>
                    </a:lnTo>
                    <a:lnTo>
                      <a:pt x="80729" y="14"/>
                    </a:lnTo>
                    <a:lnTo>
                      <a:pt x="68733" y="14"/>
                    </a:lnTo>
                    <a:lnTo>
                      <a:pt x="68733" y="14"/>
                    </a:lnTo>
                    <a:lnTo>
                      <a:pt x="53454" y="818"/>
                    </a:lnTo>
                    <a:lnTo>
                      <a:pt x="40364" y="2455"/>
                    </a:lnTo>
                    <a:lnTo>
                      <a:pt x="28368" y="4911"/>
                    </a:lnTo>
                    <a:lnTo>
                      <a:pt x="18560" y="8990"/>
                    </a:lnTo>
                    <a:lnTo>
                      <a:pt x="18560" y="8990"/>
                    </a:lnTo>
                    <a:lnTo>
                      <a:pt x="10921" y="13069"/>
                    </a:lnTo>
                    <a:lnTo>
                      <a:pt x="5469" y="18786"/>
                    </a:lnTo>
                    <a:lnTo>
                      <a:pt x="2187" y="24502"/>
                    </a:lnTo>
                    <a:lnTo>
                      <a:pt x="1093" y="31023"/>
                    </a:lnTo>
                    <a:lnTo>
                      <a:pt x="1093" y="31023"/>
                    </a:lnTo>
                    <a:lnTo>
                      <a:pt x="2187" y="36739"/>
                    </a:lnTo>
                    <a:lnTo>
                      <a:pt x="5469" y="42455"/>
                    </a:lnTo>
                    <a:lnTo>
                      <a:pt x="8733" y="47353"/>
                    </a:lnTo>
                    <a:lnTo>
                      <a:pt x="15278" y="52251"/>
                    </a:lnTo>
                    <a:lnTo>
                      <a:pt x="15278" y="52251"/>
                    </a:lnTo>
                    <a:lnTo>
                      <a:pt x="25105" y="58786"/>
                    </a:lnTo>
                    <a:lnTo>
                      <a:pt x="41458" y="66944"/>
                    </a:lnTo>
                    <a:lnTo>
                      <a:pt x="41458" y="66944"/>
                    </a:lnTo>
                    <a:lnTo>
                      <a:pt x="63281" y="76739"/>
                    </a:lnTo>
                    <a:lnTo>
                      <a:pt x="63281" y="76739"/>
                    </a:lnTo>
                    <a:lnTo>
                      <a:pt x="69827" y="80818"/>
                    </a:lnTo>
                    <a:lnTo>
                      <a:pt x="74184" y="84897"/>
                    </a:lnTo>
                    <a:lnTo>
                      <a:pt x="76372" y="88158"/>
                    </a:lnTo>
                    <a:lnTo>
                      <a:pt x="77466" y="92251"/>
                    </a:lnTo>
                    <a:lnTo>
                      <a:pt x="77466" y="92251"/>
                    </a:lnTo>
                    <a:lnTo>
                      <a:pt x="76372" y="94693"/>
                    </a:lnTo>
                    <a:lnTo>
                      <a:pt x="75278" y="97148"/>
                    </a:lnTo>
                    <a:lnTo>
                      <a:pt x="71996" y="99590"/>
                    </a:lnTo>
                    <a:lnTo>
                      <a:pt x="68733" y="101227"/>
                    </a:lnTo>
                    <a:lnTo>
                      <a:pt x="68733" y="101227"/>
                    </a:lnTo>
                    <a:lnTo>
                      <a:pt x="61093" y="102851"/>
                    </a:lnTo>
                    <a:lnTo>
                      <a:pt x="53454" y="102851"/>
                    </a:lnTo>
                    <a:lnTo>
                      <a:pt x="53454" y="102851"/>
                    </a:lnTo>
                    <a:lnTo>
                      <a:pt x="39270" y="102851"/>
                    </a:lnTo>
                    <a:lnTo>
                      <a:pt x="25105" y="101227"/>
                    </a:lnTo>
                    <a:lnTo>
                      <a:pt x="12015" y="97953"/>
                    </a:lnTo>
                    <a:lnTo>
                      <a:pt x="0" y="93874"/>
                    </a:lnTo>
                    <a:lnTo>
                      <a:pt x="0" y="114283"/>
                    </a:lnTo>
                    <a:lnTo>
                      <a:pt x="0" y="114283"/>
                    </a:lnTo>
                    <a:lnTo>
                      <a:pt x="12015" y="116739"/>
                    </a:lnTo>
                    <a:lnTo>
                      <a:pt x="24011" y="118362"/>
                    </a:lnTo>
                    <a:lnTo>
                      <a:pt x="37101" y="119181"/>
                    </a:lnTo>
                    <a:lnTo>
                      <a:pt x="49097" y="120000"/>
                    </a:lnTo>
                    <a:lnTo>
                      <a:pt x="49097" y="120000"/>
                    </a:lnTo>
                    <a:lnTo>
                      <a:pt x="59999" y="119181"/>
                    </a:lnTo>
                    <a:lnTo>
                      <a:pt x="69827" y="118362"/>
                    </a:lnTo>
                    <a:lnTo>
                      <a:pt x="79635" y="117544"/>
                    </a:lnTo>
                    <a:lnTo>
                      <a:pt x="88368" y="115102"/>
                    </a:lnTo>
                    <a:lnTo>
                      <a:pt x="88368" y="115102"/>
                    </a:lnTo>
                    <a:lnTo>
                      <a:pt x="94913" y="112646"/>
                    </a:lnTo>
                    <a:lnTo>
                      <a:pt x="102552" y="110204"/>
                    </a:lnTo>
                    <a:lnTo>
                      <a:pt x="108003" y="106944"/>
                    </a:lnTo>
                    <a:lnTo>
                      <a:pt x="112360" y="103669"/>
                    </a:lnTo>
                    <a:lnTo>
                      <a:pt x="115642" y="99590"/>
                    </a:lnTo>
                    <a:lnTo>
                      <a:pt x="117812" y="95511"/>
                    </a:lnTo>
                    <a:lnTo>
                      <a:pt x="119999" y="90613"/>
                    </a:lnTo>
                    <a:lnTo>
                      <a:pt x="119999" y="85716"/>
                    </a:lnTo>
                    <a:lnTo>
                      <a:pt x="119999" y="85716"/>
                    </a:lnTo>
                    <a:lnTo>
                      <a:pt x="119999" y="81637"/>
                    </a:lnTo>
                    <a:lnTo>
                      <a:pt x="117812" y="77558"/>
                    </a:lnTo>
                    <a:lnTo>
                      <a:pt x="115642" y="73465"/>
                    </a:lnTo>
                    <a:lnTo>
                      <a:pt x="111266" y="69386"/>
                    </a:lnTo>
                    <a:lnTo>
                      <a:pt x="105815" y="64488"/>
                    </a:lnTo>
                    <a:lnTo>
                      <a:pt x="100364" y="60409"/>
                    </a:lnTo>
                    <a:lnTo>
                      <a:pt x="92725" y="56330"/>
                    </a:lnTo>
                    <a:lnTo>
                      <a:pt x="83992"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8" name="Google Shape;30;p2">
                <a:extLst>
                  <a:ext uri="{FF2B5EF4-FFF2-40B4-BE49-F238E27FC236}">
                    <a16:creationId xmlns:a16="http://schemas.microsoft.com/office/drawing/2014/main" id="{F68F9F91-3D8B-4CFE-9297-199C77CDBFFC}"/>
                  </a:ext>
                </a:extLst>
              </p:cNvPr>
              <p:cNvSpPr/>
              <p:nvPr/>
            </p:nvSpPr>
            <p:spPr>
              <a:xfrm>
                <a:off x="6148584" y="3466175"/>
                <a:ext cx="201000" cy="205200"/>
              </a:xfrm>
              <a:custGeom>
                <a:avLst/>
                <a:gdLst/>
                <a:ahLst/>
                <a:cxnLst/>
                <a:rect l="l" t="t" r="r" b="b"/>
                <a:pathLst>
                  <a:path w="120000" h="120000" fill="none" extrusionOk="0">
                    <a:moveTo>
                      <a:pt x="14" y="17752"/>
                    </a:moveTo>
                    <a:lnTo>
                      <a:pt x="44029" y="17752"/>
                    </a:lnTo>
                    <a:lnTo>
                      <a:pt x="44029" y="119985"/>
                    </a:lnTo>
                    <a:lnTo>
                      <a:pt x="75970" y="119985"/>
                    </a:lnTo>
                    <a:lnTo>
                      <a:pt x="75970" y="17752"/>
                    </a:lnTo>
                    <a:lnTo>
                      <a:pt x="120000" y="17752"/>
                    </a:lnTo>
                    <a:lnTo>
                      <a:pt x="120000" y="0"/>
                    </a:lnTo>
                    <a:lnTo>
                      <a:pt x="14" y="0"/>
                    </a:lnTo>
                    <a:lnTo>
                      <a:pt x="14" y="1775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19" name="Google Shape;31;p2">
                <a:extLst>
                  <a:ext uri="{FF2B5EF4-FFF2-40B4-BE49-F238E27FC236}">
                    <a16:creationId xmlns:a16="http://schemas.microsoft.com/office/drawing/2014/main" id="{7792CA71-FC4E-44BE-AC3B-ECBB24CAB781}"/>
                  </a:ext>
                </a:extLst>
              </p:cNvPr>
              <p:cNvSpPr/>
              <p:nvPr/>
            </p:nvSpPr>
            <p:spPr>
              <a:xfrm>
                <a:off x="6625710" y="3466175"/>
                <a:ext cx="219899" cy="205200"/>
              </a:xfrm>
              <a:custGeom>
                <a:avLst/>
                <a:gdLst/>
                <a:ahLst/>
                <a:cxnLst/>
                <a:rect l="l" t="t" r="r" b="b"/>
                <a:pathLst>
                  <a:path w="120000" h="120000" fill="none" extrusionOk="0">
                    <a:moveTo>
                      <a:pt x="89208" y="79425"/>
                    </a:moveTo>
                    <a:lnTo>
                      <a:pt x="89208" y="79425"/>
                    </a:lnTo>
                    <a:lnTo>
                      <a:pt x="85263" y="74355"/>
                    </a:lnTo>
                    <a:lnTo>
                      <a:pt x="85263" y="74355"/>
                    </a:lnTo>
                    <a:lnTo>
                      <a:pt x="81305" y="69299"/>
                    </a:lnTo>
                    <a:lnTo>
                      <a:pt x="77361" y="65910"/>
                    </a:lnTo>
                    <a:lnTo>
                      <a:pt x="77361" y="65910"/>
                    </a:lnTo>
                    <a:lnTo>
                      <a:pt x="85263" y="64229"/>
                    </a:lnTo>
                    <a:lnTo>
                      <a:pt x="91569" y="62535"/>
                    </a:lnTo>
                    <a:lnTo>
                      <a:pt x="97888" y="59159"/>
                    </a:lnTo>
                    <a:lnTo>
                      <a:pt x="101833" y="55770"/>
                    </a:lnTo>
                    <a:lnTo>
                      <a:pt x="105777" y="51547"/>
                    </a:lnTo>
                    <a:lnTo>
                      <a:pt x="108152" y="46477"/>
                    </a:lnTo>
                    <a:lnTo>
                      <a:pt x="109722" y="41407"/>
                    </a:lnTo>
                    <a:lnTo>
                      <a:pt x="110514" y="35490"/>
                    </a:lnTo>
                    <a:lnTo>
                      <a:pt x="110514" y="35490"/>
                    </a:lnTo>
                    <a:lnTo>
                      <a:pt x="109722" y="27044"/>
                    </a:lnTo>
                    <a:lnTo>
                      <a:pt x="107361" y="20280"/>
                    </a:lnTo>
                    <a:lnTo>
                      <a:pt x="103416" y="14362"/>
                    </a:lnTo>
                    <a:lnTo>
                      <a:pt x="98680" y="9292"/>
                    </a:lnTo>
                    <a:lnTo>
                      <a:pt x="91569" y="5070"/>
                    </a:lnTo>
                    <a:lnTo>
                      <a:pt x="83680" y="2542"/>
                    </a:lnTo>
                    <a:lnTo>
                      <a:pt x="74208" y="847"/>
                    </a:lnTo>
                    <a:lnTo>
                      <a:pt x="63152" y="0"/>
                    </a:lnTo>
                    <a:lnTo>
                      <a:pt x="13" y="0"/>
                    </a:lnTo>
                    <a:lnTo>
                      <a:pt x="13" y="4222"/>
                    </a:lnTo>
                    <a:lnTo>
                      <a:pt x="13" y="4222"/>
                    </a:lnTo>
                    <a:lnTo>
                      <a:pt x="3958" y="5070"/>
                    </a:lnTo>
                    <a:lnTo>
                      <a:pt x="7902" y="7612"/>
                    </a:lnTo>
                    <a:lnTo>
                      <a:pt x="7902" y="7612"/>
                    </a:lnTo>
                    <a:lnTo>
                      <a:pt x="10263" y="10140"/>
                    </a:lnTo>
                    <a:lnTo>
                      <a:pt x="11055" y="11834"/>
                    </a:lnTo>
                    <a:lnTo>
                      <a:pt x="11847" y="13529"/>
                    </a:lnTo>
                    <a:lnTo>
                      <a:pt x="11847" y="119985"/>
                    </a:lnTo>
                    <a:lnTo>
                      <a:pt x="41055" y="119985"/>
                    </a:lnTo>
                    <a:lnTo>
                      <a:pt x="41055" y="67605"/>
                    </a:lnTo>
                    <a:lnTo>
                      <a:pt x="41055" y="67605"/>
                    </a:lnTo>
                    <a:lnTo>
                      <a:pt x="47374" y="71827"/>
                    </a:lnTo>
                    <a:lnTo>
                      <a:pt x="53680" y="77745"/>
                    </a:lnTo>
                    <a:lnTo>
                      <a:pt x="53680" y="77745"/>
                    </a:lnTo>
                    <a:lnTo>
                      <a:pt x="63152" y="91260"/>
                    </a:lnTo>
                    <a:lnTo>
                      <a:pt x="85263" y="119985"/>
                    </a:lnTo>
                    <a:lnTo>
                      <a:pt x="119986" y="119985"/>
                    </a:lnTo>
                    <a:lnTo>
                      <a:pt x="93152" y="85342"/>
                    </a:lnTo>
                    <a:lnTo>
                      <a:pt x="89208" y="794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0" name="Google Shape;32;p2">
                <a:extLst>
                  <a:ext uri="{FF2B5EF4-FFF2-40B4-BE49-F238E27FC236}">
                    <a16:creationId xmlns:a16="http://schemas.microsoft.com/office/drawing/2014/main" id="{F220252A-7953-4484-9A85-4EC7CFC91BD0}"/>
                  </a:ext>
                </a:extLst>
              </p:cNvPr>
              <p:cNvSpPr/>
              <p:nvPr/>
            </p:nvSpPr>
            <p:spPr>
              <a:xfrm>
                <a:off x="6700885" y="3493650"/>
                <a:ext cx="73801" cy="72300"/>
              </a:xfrm>
              <a:custGeom>
                <a:avLst/>
                <a:gdLst/>
                <a:ahLst/>
                <a:cxnLst/>
                <a:rect l="l" t="t" r="r" b="b"/>
                <a:pathLst>
                  <a:path w="120000" h="120000" fill="none" extrusionOk="0">
                    <a:moveTo>
                      <a:pt x="28261" y="120000"/>
                    </a:moveTo>
                    <a:lnTo>
                      <a:pt x="28261" y="120000"/>
                    </a:lnTo>
                    <a:lnTo>
                      <a:pt x="40" y="117593"/>
                    </a:lnTo>
                    <a:lnTo>
                      <a:pt x="40" y="0"/>
                    </a:lnTo>
                    <a:lnTo>
                      <a:pt x="30620" y="0"/>
                    </a:lnTo>
                    <a:lnTo>
                      <a:pt x="30620" y="0"/>
                    </a:lnTo>
                    <a:lnTo>
                      <a:pt x="58841" y="0"/>
                    </a:lnTo>
                    <a:lnTo>
                      <a:pt x="79986" y="2406"/>
                    </a:lnTo>
                    <a:lnTo>
                      <a:pt x="79986" y="2406"/>
                    </a:lnTo>
                    <a:lnTo>
                      <a:pt x="96455" y="9585"/>
                    </a:lnTo>
                    <a:lnTo>
                      <a:pt x="103531" y="14398"/>
                    </a:lnTo>
                    <a:lnTo>
                      <a:pt x="110565" y="21618"/>
                    </a:lnTo>
                    <a:lnTo>
                      <a:pt x="112924" y="28796"/>
                    </a:lnTo>
                    <a:lnTo>
                      <a:pt x="117641" y="36016"/>
                    </a:lnTo>
                    <a:lnTo>
                      <a:pt x="119959" y="55186"/>
                    </a:lnTo>
                    <a:lnTo>
                      <a:pt x="119959" y="55186"/>
                    </a:lnTo>
                    <a:lnTo>
                      <a:pt x="117641" y="69585"/>
                    </a:lnTo>
                    <a:lnTo>
                      <a:pt x="112924" y="83983"/>
                    </a:lnTo>
                    <a:lnTo>
                      <a:pt x="105848" y="93609"/>
                    </a:lnTo>
                    <a:lnTo>
                      <a:pt x="96455" y="103195"/>
                    </a:lnTo>
                    <a:lnTo>
                      <a:pt x="84703" y="110373"/>
                    </a:lnTo>
                    <a:lnTo>
                      <a:pt x="68234" y="115186"/>
                    </a:lnTo>
                    <a:lnTo>
                      <a:pt x="49406" y="117593"/>
                    </a:lnTo>
                    <a:lnTo>
                      <a:pt x="28261" y="12000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1" name="Google Shape;33;p2">
                <a:extLst>
                  <a:ext uri="{FF2B5EF4-FFF2-40B4-BE49-F238E27FC236}">
                    <a16:creationId xmlns:a16="http://schemas.microsoft.com/office/drawing/2014/main" id="{C4E5C799-8572-4EE2-8D82-B2A51903A8D4}"/>
                  </a:ext>
                </a:extLst>
              </p:cNvPr>
              <p:cNvSpPr/>
              <p:nvPr/>
            </p:nvSpPr>
            <p:spPr>
              <a:xfrm>
                <a:off x="6874386" y="3463276"/>
                <a:ext cx="159001" cy="212400"/>
              </a:xfrm>
              <a:custGeom>
                <a:avLst/>
                <a:gdLst/>
                <a:ahLst/>
                <a:cxnLst/>
                <a:rect l="l" t="t" r="r" b="b"/>
                <a:pathLst>
                  <a:path w="120000" h="120000" fill="none" extrusionOk="0">
                    <a:moveTo>
                      <a:pt x="83998" y="52251"/>
                    </a:moveTo>
                    <a:lnTo>
                      <a:pt x="83998" y="52251"/>
                    </a:lnTo>
                    <a:lnTo>
                      <a:pt x="60009" y="41637"/>
                    </a:lnTo>
                    <a:lnTo>
                      <a:pt x="60009" y="41637"/>
                    </a:lnTo>
                    <a:lnTo>
                      <a:pt x="52371" y="36739"/>
                    </a:lnTo>
                    <a:lnTo>
                      <a:pt x="46921" y="33479"/>
                    </a:lnTo>
                    <a:lnTo>
                      <a:pt x="43639" y="30204"/>
                    </a:lnTo>
                    <a:lnTo>
                      <a:pt x="42545" y="27762"/>
                    </a:lnTo>
                    <a:lnTo>
                      <a:pt x="42545" y="27762"/>
                    </a:lnTo>
                    <a:lnTo>
                      <a:pt x="43639" y="24502"/>
                    </a:lnTo>
                    <a:lnTo>
                      <a:pt x="46921" y="21227"/>
                    </a:lnTo>
                    <a:lnTo>
                      <a:pt x="46921" y="21227"/>
                    </a:lnTo>
                    <a:lnTo>
                      <a:pt x="51277" y="19604"/>
                    </a:lnTo>
                    <a:lnTo>
                      <a:pt x="56727" y="17967"/>
                    </a:lnTo>
                    <a:lnTo>
                      <a:pt x="63272" y="17148"/>
                    </a:lnTo>
                    <a:lnTo>
                      <a:pt x="70909" y="16330"/>
                    </a:lnTo>
                    <a:lnTo>
                      <a:pt x="70909" y="16330"/>
                    </a:lnTo>
                    <a:lnTo>
                      <a:pt x="80716" y="17148"/>
                    </a:lnTo>
                    <a:lnTo>
                      <a:pt x="89448" y="18786"/>
                    </a:lnTo>
                    <a:lnTo>
                      <a:pt x="89448" y="18786"/>
                    </a:lnTo>
                    <a:lnTo>
                      <a:pt x="95992" y="20409"/>
                    </a:lnTo>
                    <a:lnTo>
                      <a:pt x="101442" y="22865"/>
                    </a:lnTo>
                    <a:lnTo>
                      <a:pt x="104724" y="26125"/>
                    </a:lnTo>
                    <a:lnTo>
                      <a:pt x="106892" y="29400"/>
                    </a:lnTo>
                    <a:lnTo>
                      <a:pt x="112362" y="29400"/>
                    </a:lnTo>
                    <a:lnTo>
                      <a:pt x="112362" y="4911"/>
                    </a:lnTo>
                    <a:lnTo>
                      <a:pt x="112362" y="4911"/>
                    </a:lnTo>
                    <a:lnTo>
                      <a:pt x="101442" y="2455"/>
                    </a:lnTo>
                    <a:lnTo>
                      <a:pt x="91636" y="818"/>
                    </a:lnTo>
                    <a:lnTo>
                      <a:pt x="80716" y="14"/>
                    </a:lnTo>
                    <a:lnTo>
                      <a:pt x="68722" y="14"/>
                    </a:lnTo>
                    <a:lnTo>
                      <a:pt x="68722" y="14"/>
                    </a:lnTo>
                    <a:lnTo>
                      <a:pt x="53465" y="818"/>
                    </a:lnTo>
                    <a:lnTo>
                      <a:pt x="39283" y="2455"/>
                    </a:lnTo>
                    <a:lnTo>
                      <a:pt x="28363" y="4911"/>
                    </a:lnTo>
                    <a:lnTo>
                      <a:pt x="18557" y="8990"/>
                    </a:lnTo>
                    <a:lnTo>
                      <a:pt x="18557" y="8990"/>
                    </a:lnTo>
                    <a:lnTo>
                      <a:pt x="10919" y="13069"/>
                    </a:lnTo>
                    <a:lnTo>
                      <a:pt x="5469" y="18786"/>
                    </a:lnTo>
                    <a:lnTo>
                      <a:pt x="2206" y="24502"/>
                    </a:lnTo>
                    <a:lnTo>
                      <a:pt x="1112" y="31023"/>
                    </a:lnTo>
                    <a:lnTo>
                      <a:pt x="1112" y="31023"/>
                    </a:lnTo>
                    <a:lnTo>
                      <a:pt x="2206" y="36739"/>
                    </a:lnTo>
                    <a:lnTo>
                      <a:pt x="4375" y="42455"/>
                    </a:lnTo>
                    <a:lnTo>
                      <a:pt x="8731" y="47353"/>
                    </a:lnTo>
                    <a:lnTo>
                      <a:pt x="15275" y="52251"/>
                    </a:lnTo>
                    <a:lnTo>
                      <a:pt x="15275" y="52251"/>
                    </a:lnTo>
                    <a:lnTo>
                      <a:pt x="25101" y="58786"/>
                    </a:lnTo>
                    <a:lnTo>
                      <a:pt x="41452" y="66944"/>
                    </a:lnTo>
                    <a:lnTo>
                      <a:pt x="41452" y="66944"/>
                    </a:lnTo>
                    <a:lnTo>
                      <a:pt x="63272" y="76739"/>
                    </a:lnTo>
                    <a:lnTo>
                      <a:pt x="63272" y="76739"/>
                    </a:lnTo>
                    <a:lnTo>
                      <a:pt x="69816" y="80818"/>
                    </a:lnTo>
                    <a:lnTo>
                      <a:pt x="74172" y="84897"/>
                    </a:lnTo>
                    <a:lnTo>
                      <a:pt x="76360" y="88158"/>
                    </a:lnTo>
                    <a:lnTo>
                      <a:pt x="77454" y="92251"/>
                    </a:lnTo>
                    <a:lnTo>
                      <a:pt x="77454" y="92251"/>
                    </a:lnTo>
                    <a:lnTo>
                      <a:pt x="76360" y="94693"/>
                    </a:lnTo>
                    <a:lnTo>
                      <a:pt x="75266" y="97148"/>
                    </a:lnTo>
                    <a:lnTo>
                      <a:pt x="72003" y="99590"/>
                    </a:lnTo>
                    <a:lnTo>
                      <a:pt x="68722" y="101227"/>
                    </a:lnTo>
                    <a:lnTo>
                      <a:pt x="68722" y="101227"/>
                    </a:lnTo>
                    <a:lnTo>
                      <a:pt x="61084" y="102851"/>
                    </a:lnTo>
                    <a:lnTo>
                      <a:pt x="52371" y="102851"/>
                    </a:lnTo>
                    <a:lnTo>
                      <a:pt x="52371" y="102851"/>
                    </a:lnTo>
                    <a:lnTo>
                      <a:pt x="38189" y="102851"/>
                    </a:lnTo>
                    <a:lnTo>
                      <a:pt x="25101" y="101227"/>
                    </a:lnTo>
                    <a:lnTo>
                      <a:pt x="12013" y="97953"/>
                    </a:lnTo>
                    <a:lnTo>
                      <a:pt x="18" y="93874"/>
                    </a:lnTo>
                    <a:lnTo>
                      <a:pt x="18" y="114283"/>
                    </a:lnTo>
                    <a:lnTo>
                      <a:pt x="18" y="114283"/>
                    </a:lnTo>
                    <a:lnTo>
                      <a:pt x="12013" y="116739"/>
                    </a:lnTo>
                    <a:lnTo>
                      <a:pt x="24007" y="118362"/>
                    </a:lnTo>
                    <a:lnTo>
                      <a:pt x="36001" y="119181"/>
                    </a:lnTo>
                    <a:lnTo>
                      <a:pt x="49090" y="120000"/>
                    </a:lnTo>
                    <a:lnTo>
                      <a:pt x="49090" y="120000"/>
                    </a:lnTo>
                    <a:lnTo>
                      <a:pt x="60009" y="119181"/>
                    </a:lnTo>
                    <a:lnTo>
                      <a:pt x="69816" y="118362"/>
                    </a:lnTo>
                    <a:lnTo>
                      <a:pt x="79641" y="117544"/>
                    </a:lnTo>
                    <a:lnTo>
                      <a:pt x="87260" y="115102"/>
                    </a:lnTo>
                    <a:lnTo>
                      <a:pt x="87260" y="115102"/>
                    </a:lnTo>
                    <a:lnTo>
                      <a:pt x="94898" y="112646"/>
                    </a:lnTo>
                    <a:lnTo>
                      <a:pt x="101442" y="110204"/>
                    </a:lnTo>
                    <a:lnTo>
                      <a:pt x="106892" y="106944"/>
                    </a:lnTo>
                    <a:lnTo>
                      <a:pt x="112362" y="103669"/>
                    </a:lnTo>
                    <a:lnTo>
                      <a:pt x="115624" y="99590"/>
                    </a:lnTo>
                    <a:lnTo>
                      <a:pt x="117812" y="95511"/>
                    </a:lnTo>
                    <a:lnTo>
                      <a:pt x="119981" y="90613"/>
                    </a:lnTo>
                    <a:lnTo>
                      <a:pt x="119981" y="85716"/>
                    </a:lnTo>
                    <a:lnTo>
                      <a:pt x="119981" y="85716"/>
                    </a:lnTo>
                    <a:lnTo>
                      <a:pt x="118906" y="81637"/>
                    </a:lnTo>
                    <a:lnTo>
                      <a:pt x="117812" y="77558"/>
                    </a:lnTo>
                    <a:lnTo>
                      <a:pt x="114530" y="73465"/>
                    </a:lnTo>
                    <a:lnTo>
                      <a:pt x="111268" y="69386"/>
                    </a:lnTo>
                    <a:lnTo>
                      <a:pt x="105818" y="64488"/>
                    </a:lnTo>
                    <a:lnTo>
                      <a:pt x="100348" y="60409"/>
                    </a:lnTo>
                    <a:lnTo>
                      <a:pt x="92729" y="56330"/>
                    </a:lnTo>
                    <a:lnTo>
                      <a:pt x="83998"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2" name="Google Shape;34;p2">
                <a:extLst>
                  <a:ext uri="{FF2B5EF4-FFF2-40B4-BE49-F238E27FC236}">
                    <a16:creationId xmlns:a16="http://schemas.microsoft.com/office/drawing/2014/main" id="{A9702707-CB55-432F-ABC4-190C226977C5}"/>
                  </a:ext>
                </a:extLst>
              </p:cNvPr>
              <p:cNvSpPr/>
              <p:nvPr/>
            </p:nvSpPr>
            <p:spPr>
              <a:xfrm>
                <a:off x="6362585" y="3461826"/>
                <a:ext cx="240001" cy="216899"/>
              </a:xfrm>
              <a:custGeom>
                <a:avLst/>
                <a:gdLst/>
                <a:ahLst/>
                <a:cxnLst/>
                <a:rect l="l" t="t" r="r" b="b"/>
                <a:pathLst>
                  <a:path w="120000" h="120000" fill="none" extrusionOk="0">
                    <a:moveTo>
                      <a:pt x="59993" y="13"/>
                    </a:moveTo>
                    <a:lnTo>
                      <a:pt x="59993" y="13"/>
                    </a:lnTo>
                    <a:lnTo>
                      <a:pt x="53494" y="13"/>
                    </a:lnTo>
                    <a:lnTo>
                      <a:pt x="46982" y="816"/>
                    </a:lnTo>
                    <a:lnTo>
                      <a:pt x="40483" y="2406"/>
                    </a:lnTo>
                    <a:lnTo>
                      <a:pt x="35421" y="4813"/>
                    </a:lnTo>
                    <a:lnTo>
                      <a:pt x="29634" y="7206"/>
                    </a:lnTo>
                    <a:lnTo>
                      <a:pt x="24572" y="10414"/>
                    </a:lnTo>
                    <a:lnTo>
                      <a:pt x="20235" y="13609"/>
                    </a:lnTo>
                    <a:lnTo>
                      <a:pt x="16623" y="17607"/>
                    </a:lnTo>
                    <a:lnTo>
                      <a:pt x="13011" y="21604"/>
                    </a:lnTo>
                    <a:lnTo>
                      <a:pt x="9399" y="26403"/>
                    </a:lnTo>
                    <a:lnTo>
                      <a:pt x="6511" y="31203"/>
                    </a:lnTo>
                    <a:lnTo>
                      <a:pt x="4337" y="36804"/>
                    </a:lnTo>
                    <a:lnTo>
                      <a:pt x="2887" y="41604"/>
                    </a:lnTo>
                    <a:lnTo>
                      <a:pt x="1449" y="48008"/>
                    </a:lnTo>
                    <a:lnTo>
                      <a:pt x="724" y="53609"/>
                    </a:lnTo>
                    <a:lnTo>
                      <a:pt x="0" y="60000"/>
                    </a:lnTo>
                    <a:lnTo>
                      <a:pt x="0" y="60000"/>
                    </a:lnTo>
                    <a:lnTo>
                      <a:pt x="724" y="65601"/>
                    </a:lnTo>
                    <a:lnTo>
                      <a:pt x="1449" y="72005"/>
                    </a:lnTo>
                    <a:lnTo>
                      <a:pt x="2887" y="77593"/>
                    </a:lnTo>
                    <a:lnTo>
                      <a:pt x="4337" y="83195"/>
                    </a:lnTo>
                    <a:lnTo>
                      <a:pt x="6511" y="88796"/>
                    </a:lnTo>
                    <a:lnTo>
                      <a:pt x="9399" y="93596"/>
                    </a:lnTo>
                    <a:lnTo>
                      <a:pt x="13011" y="98395"/>
                    </a:lnTo>
                    <a:lnTo>
                      <a:pt x="16623" y="102392"/>
                    </a:lnTo>
                    <a:lnTo>
                      <a:pt x="20235" y="106390"/>
                    </a:lnTo>
                    <a:lnTo>
                      <a:pt x="24572" y="109598"/>
                    </a:lnTo>
                    <a:lnTo>
                      <a:pt x="29634" y="112793"/>
                    </a:lnTo>
                    <a:lnTo>
                      <a:pt x="35421" y="115200"/>
                    </a:lnTo>
                    <a:lnTo>
                      <a:pt x="40483" y="116791"/>
                    </a:lnTo>
                    <a:lnTo>
                      <a:pt x="46982" y="118395"/>
                    </a:lnTo>
                    <a:lnTo>
                      <a:pt x="53494" y="119197"/>
                    </a:lnTo>
                    <a:lnTo>
                      <a:pt x="59993" y="120000"/>
                    </a:lnTo>
                    <a:lnTo>
                      <a:pt x="59993" y="120000"/>
                    </a:lnTo>
                    <a:lnTo>
                      <a:pt x="67230" y="119197"/>
                    </a:lnTo>
                    <a:lnTo>
                      <a:pt x="73004" y="118395"/>
                    </a:lnTo>
                    <a:lnTo>
                      <a:pt x="79516" y="116791"/>
                    </a:lnTo>
                    <a:lnTo>
                      <a:pt x="85291" y="115200"/>
                    </a:lnTo>
                    <a:lnTo>
                      <a:pt x="90353" y="112793"/>
                    </a:lnTo>
                    <a:lnTo>
                      <a:pt x="95415" y="109598"/>
                    </a:lnTo>
                    <a:lnTo>
                      <a:pt x="99752" y="106390"/>
                    </a:lnTo>
                    <a:lnTo>
                      <a:pt x="104089" y="102392"/>
                    </a:lnTo>
                    <a:lnTo>
                      <a:pt x="107701" y="98395"/>
                    </a:lnTo>
                    <a:lnTo>
                      <a:pt x="110600" y="93596"/>
                    </a:lnTo>
                    <a:lnTo>
                      <a:pt x="113488" y="88796"/>
                    </a:lnTo>
                    <a:lnTo>
                      <a:pt x="115650" y="83195"/>
                    </a:lnTo>
                    <a:lnTo>
                      <a:pt x="117825" y="77593"/>
                    </a:lnTo>
                    <a:lnTo>
                      <a:pt x="118550" y="72005"/>
                    </a:lnTo>
                    <a:lnTo>
                      <a:pt x="119987" y="65601"/>
                    </a:lnTo>
                    <a:lnTo>
                      <a:pt x="119987" y="60000"/>
                    </a:lnTo>
                    <a:lnTo>
                      <a:pt x="119987" y="60000"/>
                    </a:lnTo>
                    <a:lnTo>
                      <a:pt x="119987" y="53609"/>
                    </a:lnTo>
                    <a:lnTo>
                      <a:pt x="118550" y="48008"/>
                    </a:lnTo>
                    <a:lnTo>
                      <a:pt x="117825" y="41604"/>
                    </a:lnTo>
                    <a:lnTo>
                      <a:pt x="115650" y="36804"/>
                    </a:lnTo>
                    <a:lnTo>
                      <a:pt x="113488" y="31203"/>
                    </a:lnTo>
                    <a:lnTo>
                      <a:pt x="110600" y="26403"/>
                    </a:lnTo>
                    <a:lnTo>
                      <a:pt x="107701" y="21604"/>
                    </a:lnTo>
                    <a:lnTo>
                      <a:pt x="104089" y="17607"/>
                    </a:lnTo>
                    <a:lnTo>
                      <a:pt x="99752" y="13609"/>
                    </a:lnTo>
                    <a:lnTo>
                      <a:pt x="95415" y="10414"/>
                    </a:lnTo>
                    <a:lnTo>
                      <a:pt x="90353" y="7206"/>
                    </a:lnTo>
                    <a:lnTo>
                      <a:pt x="85291" y="4813"/>
                    </a:lnTo>
                    <a:lnTo>
                      <a:pt x="79516" y="2406"/>
                    </a:lnTo>
                    <a:lnTo>
                      <a:pt x="73004" y="816"/>
                    </a:lnTo>
                    <a:lnTo>
                      <a:pt x="67230" y="13"/>
                    </a:lnTo>
                    <a:lnTo>
                      <a:pt x="59993" y="13"/>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3" name="Google Shape;35;p2">
                <a:extLst>
                  <a:ext uri="{FF2B5EF4-FFF2-40B4-BE49-F238E27FC236}">
                    <a16:creationId xmlns:a16="http://schemas.microsoft.com/office/drawing/2014/main" id="{AAC025AD-E88C-42C2-A1D7-336EEDE4B7E5}"/>
                  </a:ext>
                </a:extLst>
              </p:cNvPr>
              <p:cNvSpPr/>
              <p:nvPr/>
            </p:nvSpPr>
            <p:spPr>
              <a:xfrm>
                <a:off x="6418959" y="3493650"/>
                <a:ext cx="127201" cy="153301"/>
              </a:xfrm>
              <a:custGeom>
                <a:avLst/>
                <a:gdLst/>
                <a:ahLst/>
                <a:cxnLst/>
                <a:rect l="l" t="t" r="r" b="b"/>
                <a:pathLst>
                  <a:path w="120000" h="120000" fill="none" extrusionOk="0">
                    <a:moveTo>
                      <a:pt x="60000" y="119980"/>
                    </a:moveTo>
                    <a:lnTo>
                      <a:pt x="60000" y="119980"/>
                    </a:lnTo>
                    <a:lnTo>
                      <a:pt x="46373" y="118845"/>
                    </a:lnTo>
                    <a:lnTo>
                      <a:pt x="34090" y="116594"/>
                    </a:lnTo>
                    <a:lnTo>
                      <a:pt x="24565" y="112053"/>
                    </a:lnTo>
                    <a:lnTo>
                      <a:pt x="16385" y="105261"/>
                    </a:lnTo>
                    <a:lnTo>
                      <a:pt x="9548" y="97354"/>
                    </a:lnTo>
                    <a:lnTo>
                      <a:pt x="4102" y="87157"/>
                    </a:lnTo>
                    <a:lnTo>
                      <a:pt x="1367" y="74708"/>
                    </a:lnTo>
                    <a:lnTo>
                      <a:pt x="23" y="59990"/>
                    </a:lnTo>
                    <a:lnTo>
                      <a:pt x="23" y="59990"/>
                    </a:lnTo>
                    <a:lnTo>
                      <a:pt x="1367" y="45271"/>
                    </a:lnTo>
                    <a:lnTo>
                      <a:pt x="4102" y="32823"/>
                    </a:lnTo>
                    <a:lnTo>
                      <a:pt x="9548" y="22645"/>
                    </a:lnTo>
                    <a:lnTo>
                      <a:pt x="16385" y="13583"/>
                    </a:lnTo>
                    <a:lnTo>
                      <a:pt x="24565" y="7926"/>
                    </a:lnTo>
                    <a:lnTo>
                      <a:pt x="34090" y="3405"/>
                    </a:lnTo>
                    <a:lnTo>
                      <a:pt x="46373" y="1135"/>
                    </a:lnTo>
                    <a:lnTo>
                      <a:pt x="60000" y="0"/>
                    </a:lnTo>
                    <a:lnTo>
                      <a:pt x="60000" y="0"/>
                    </a:lnTo>
                    <a:lnTo>
                      <a:pt x="73650" y="1135"/>
                    </a:lnTo>
                    <a:lnTo>
                      <a:pt x="85909" y="3405"/>
                    </a:lnTo>
                    <a:lnTo>
                      <a:pt x="96825" y="7926"/>
                    </a:lnTo>
                    <a:lnTo>
                      <a:pt x="105005" y="13583"/>
                    </a:lnTo>
                    <a:lnTo>
                      <a:pt x="111819" y="22645"/>
                    </a:lnTo>
                    <a:lnTo>
                      <a:pt x="115897" y="32823"/>
                    </a:lnTo>
                    <a:lnTo>
                      <a:pt x="120000" y="45271"/>
                    </a:lnTo>
                    <a:lnTo>
                      <a:pt x="120000" y="59990"/>
                    </a:lnTo>
                    <a:lnTo>
                      <a:pt x="120000" y="59990"/>
                    </a:lnTo>
                    <a:lnTo>
                      <a:pt x="120000" y="74708"/>
                    </a:lnTo>
                    <a:lnTo>
                      <a:pt x="115897" y="87157"/>
                    </a:lnTo>
                    <a:lnTo>
                      <a:pt x="111819" y="97354"/>
                    </a:lnTo>
                    <a:lnTo>
                      <a:pt x="105005" y="105261"/>
                    </a:lnTo>
                    <a:lnTo>
                      <a:pt x="96825" y="112053"/>
                    </a:lnTo>
                    <a:lnTo>
                      <a:pt x="85909" y="116594"/>
                    </a:lnTo>
                    <a:lnTo>
                      <a:pt x="73650" y="118845"/>
                    </a:lnTo>
                    <a:lnTo>
                      <a:pt x="60000" y="11998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4" name="Google Shape;36;p2">
                <a:extLst>
                  <a:ext uri="{FF2B5EF4-FFF2-40B4-BE49-F238E27FC236}">
                    <a16:creationId xmlns:a16="http://schemas.microsoft.com/office/drawing/2014/main" id="{19354DBE-A7C5-4721-8AB2-1A2A4B56C207}"/>
                  </a:ext>
                </a:extLst>
              </p:cNvPr>
              <p:cNvSpPr/>
              <p:nvPr/>
            </p:nvSpPr>
            <p:spPr>
              <a:xfrm>
                <a:off x="5123508" y="2991950"/>
                <a:ext cx="1876804" cy="365701"/>
              </a:xfrm>
              <a:custGeom>
                <a:avLst/>
                <a:gdLst/>
                <a:ahLst/>
                <a:cxnLst/>
                <a:rect l="l" t="t" r="r" b="b"/>
                <a:pathLst>
                  <a:path w="120000" h="120000" extrusionOk="0">
                    <a:moveTo>
                      <a:pt x="13128" y="25136"/>
                    </a:moveTo>
                    <a:lnTo>
                      <a:pt x="16733" y="72096"/>
                    </a:lnTo>
                    <a:lnTo>
                      <a:pt x="9060" y="72096"/>
                    </a:lnTo>
                    <a:lnTo>
                      <a:pt x="13128" y="25136"/>
                    </a:lnTo>
                    <a:close/>
                    <a:moveTo>
                      <a:pt x="106316" y="25136"/>
                    </a:moveTo>
                    <a:lnTo>
                      <a:pt x="109922" y="72096"/>
                    </a:lnTo>
                    <a:lnTo>
                      <a:pt x="102248" y="72096"/>
                    </a:lnTo>
                    <a:lnTo>
                      <a:pt x="106316" y="25136"/>
                    </a:lnTo>
                    <a:close/>
                    <a:moveTo>
                      <a:pt x="7489" y="0"/>
                    </a:moveTo>
                    <a:lnTo>
                      <a:pt x="7489" y="3797"/>
                    </a:lnTo>
                    <a:lnTo>
                      <a:pt x="8136" y="4748"/>
                    </a:lnTo>
                    <a:lnTo>
                      <a:pt x="8505" y="5691"/>
                    </a:lnTo>
                    <a:lnTo>
                      <a:pt x="8876" y="6642"/>
                    </a:lnTo>
                    <a:lnTo>
                      <a:pt x="9153" y="8069"/>
                    </a:lnTo>
                    <a:lnTo>
                      <a:pt x="9338" y="9488"/>
                    </a:lnTo>
                    <a:lnTo>
                      <a:pt x="9338" y="11858"/>
                    </a:lnTo>
                    <a:lnTo>
                      <a:pt x="9153" y="14229"/>
                    </a:lnTo>
                    <a:lnTo>
                      <a:pt x="1" y="120000"/>
                    </a:lnTo>
                    <a:lnTo>
                      <a:pt x="4808" y="120000"/>
                    </a:lnTo>
                    <a:lnTo>
                      <a:pt x="7767" y="86801"/>
                    </a:lnTo>
                    <a:lnTo>
                      <a:pt x="17935" y="86801"/>
                    </a:lnTo>
                    <a:lnTo>
                      <a:pt x="20432" y="120000"/>
                    </a:lnTo>
                    <a:lnTo>
                      <a:pt x="26810" y="120000"/>
                    </a:lnTo>
                    <a:lnTo>
                      <a:pt x="17659" y="0"/>
                    </a:lnTo>
                    <a:close/>
                    <a:moveTo>
                      <a:pt x="24777" y="0"/>
                    </a:moveTo>
                    <a:lnTo>
                      <a:pt x="24777" y="3797"/>
                    </a:lnTo>
                    <a:lnTo>
                      <a:pt x="25517" y="4748"/>
                    </a:lnTo>
                    <a:lnTo>
                      <a:pt x="26256" y="6642"/>
                    </a:lnTo>
                    <a:lnTo>
                      <a:pt x="26627" y="7594"/>
                    </a:lnTo>
                    <a:lnTo>
                      <a:pt x="26903" y="9488"/>
                    </a:lnTo>
                    <a:lnTo>
                      <a:pt x="27180" y="11383"/>
                    </a:lnTo>
                    <a:lnTo>
                      <a:pt x="27365" y="13761"/>
                    </a:lnTo>
                    <a:lnTo>
                      <a:pt x="35593" y="120000"/>
                    </a:lnTo>
                    <a:lnTo>
                      <a:pt x="42249" y="120000"/>
                    </a:lnTo>
                    <a:lnTo>
                      <a:pt x="51957" y="0"/>
                    </a:lnTo>
                    <a:lnTo>
                      <a:pt x="47334" y="0"/>
                    </a:lnTo>
                    <a:lnTo>
                      <a:pt x="40216" y="87744"/>
                    </a:lnTo>
                    <a:lnTo>
                      <a:pt x="33374" y="0"/>
                    </a:lnTo>
                    <a:close/>
                    <a:moveTo>
                      <a:pt x="55285" y="0"/>
                    </a:moveTo>
                    <a:lnTo>
                      <a:pt x="55285" y="3797"/>
                    </a:lnTo>
                    <a:lnTo>
                      <a:pt x="55840" y="4748"/>
                    </a:lnTo>
                    <a:lnTo>
                      <a:pt x="56671" y="6167"/>
                    </a:lnTo>
                    <a:lnTo>
                      <a:pt x="57041" y="7594"/>
                    </a:lnTo>
                    <a:lnTo>
                      <a:pt x="57319" y="9488"/>
                    </a:lnTo>
                    <a:lnTo>
                      <a:pt x="57504" y="11383"/>
                    </a:lnTo>
                    <a:lnTo>
                      <a:pt x="57595" y="13761"/>
                    </a:lnTo>
                    <a:lnTo>
                      <a:pt x="57595" y="120000"/>
                    </a:lnTo>
                    <a:lnTo>
                      <a:pt x="63790" y="120000"/>
                    </a:lnTo>
                    <a:lnTo>
                      <a:pt x="63790" y="0"/>
                    </a:lnTo>
                    <a:close/>
                    <a:moveTo>
                      <a:pt x="67396" y="0"/>
                    </a:moveTo>
                    <a:lnTo>
                      <a:pt x="67396" y="3797"/>
                    </a:lnTo>
                    <a:lnTo>
                      <a:pt x="68227" y="4748"/>
                    </a:lnTo>
                    <a:lnTo>
                      <a:pt x="68967" y="6642"/>
                    </a:lnTo>
                    <a:lnTo>
                      <a:pt x="69244" y="7594"/>
                    </a:lnTo>
                    <a:lnTo>
                      <a:pt x="69615" y="9488"/>
                    </a:lnTo>
                    <a:lnTo>
                      <a:pt x="69799" y="11383"/>
                    </a:lnTo>
                    <a:lnTo>
                      <a:pt x="70077" y="13761"/>
                    </a:lnTo>
                    <a:lnTo>
                      <a:pt x="78305" y="120000"/>
                    </a:lnTo>
                    <a:lnTo>
                      <a:pt x="84868" y="120000"/>
                    </a:lnTo>
                    <a:lnTo>
                      <a:pt x="94575" y="0"/>
                    </a:lnTo>
                    <a:lnTo>
                      <a:pt x="90046" y="0"/>
                    </a:lnTo>
                    <a:lnTo>
                      <a:pt x="82835" y="87744"/>
                    </a:lnTo>
                    <a:lnTo>
                      <a:pt x="76086" y="0"/>
                    </a:lnTo>
                    <a:close/>
                    <a:moveTo>
                      <a:pt x="100676" y="0"/>
                    </a:moveTo>
                    <a:lnTo>
                      <a:pt x="100676" y="3797"/>
                    </a:lnTo>
                    <a:lnTo>
                      <a:pt x="101324" y="4748"/>
                    </a:lnTo>
                    <a:lnTo>
                      <a:pt x="101693" y="5691"/>
                    </a:lnTo>
                    <a:lnTo>
                      <a:pt x="102064" y="6642"/>
                    </a:lnTo>
                    <a:lnTo>
                      <a:pt x="102340" y="8069"/>
                    </a:lnTo>
                    <a:lnTo>
                      <a:pt x="102433" y="9488"/>
                    </a:lnTo>
                    <a:lnTo>
                      <a:pt x="102526" y="11858"/>
                    </a:lnTo>
                    <a:lnTo>
                      <a:pt x="102340" y="14229"/>
                    </a:lnTo>
                    <a:lnTo>
                      <a:pt x="93189" y="120000"/>
                    </a:lnTo>
                    <a:lnTo>
                      <a:pt x="97995" y="120000"/>
                    </a:lnTo>
                    <a:lnTo>
                      <a:pt x="100862" y="86801"/>
                    </a:lnTo>
                    <a:lnTo>
                      <a:pt x="111032" y="86801"/>
                    </a:lnTo>
                    <a:lnTo>
                      <a:pt x="113620" y="120000"/>
                    </a:lnTo>
                    <a:lnTo>
                      <a:pt x="119998" y="120000"/>
                    </a:lnTo>
                    <a:lnTo>
                      <a:pt x="110846"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5" name="Google Shape;37;p2">
                <a:extLst>
                  <a:ext uri="{FF2B5EF4-FFF2-40B4-BE49-F238E27FC236}">
                    <a16:creationId xmlns:a16="http://schemas.microsoft.com/office/drawing/2014/main" id="{6B51FD31-4FC8-4B74-8D7A-CD3EF641A0C9}"/>
                  </a:ext>
                </a:extLst>
              </p:cNvPr>
              <p:cNvSpPr/>
              <p:nvPr/>
            </p:nvSpPr>
            <p:spPr>
              <a:xfrm>
                <a:off x="6196309" y="2036275"/>
                <a:ext cx="130200" cy="669299"/>
              </a:xfrm>
              <a:custGeom>
                <a:avLst/>
                <a:gdLst/>
                <a:ahLst/>
                <a:cxnLst/>
                <a:rect l="l" t="t" r="r" b="b"/>
                <a:pathLst>
                  <a:path w="120000" h="120000" extrusionOk="0">
                    <a:moveTo>
                      <a:pt x="60000" y="0"/>
                    </a:moveTo>
                    <a:lnTo>
                      <a:pt x="0" y="120000"/>
                    </a:lnTo>
                    <a:lnTo>
                      <a:pt x="60000" y="118700"/>
                    </a:lnTo>
                    <a:lnTo>
                      <a:pt x="119976" y="117925"/>
                    </a:lnTo>
                    <a:lnTo>
                      <a:pt x="60000" y="0"/>
                    </a:lnTo>
                    <a:close/>
                  </a:path>
                </a:pathLst>
              </a:custGeom>
              <a:solidFill>
                <a:srgbClr val="FFDD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6" name="Google Shape;38;p2">
                <a:extLst>
                  <a:ext uri="{FF2B5EF4-FFF2-40B4-BE49-F238E27FC236}">
                    <a16:creationId xmlns:a16="http://schemas.microsoft.com/office/drawing/2014/main" id="{550097EA-8FC2-414F-896E-16D6E189F445}"/>
                  </a:ext>
                </a:extLst>
              </p:cNvPr>
              <p:cNvSpPr/>
              <p:nvPr/>
            </p:nvSpPr>
            <p:spPr>
              <a:xfrm>
                <a:off x="6196309" y="2036275"/>
                <a:ext cx="130200" cy="669299"/>
              </a:xfrm>
              <a:custGeom>
                <a:avLst/>
                <a:gdLst/>
                <a:ahLst/>
                <a:cxnLst/>
                <a:rect l="l" t="t" r="r" b="b"/>
                <a:pathLst>
                  <a:path w="120000" h="120000" fill="none" extrusionOk="0">
                    <a:moveTo>
                      <a:pt x="119976" y="117925"/>
                    </a:moveTo>
                    <a:lnTo>
                      <a:pt x="60000" y="0"/>
                    </a:lnTo>
                    <a:lnTo>
                      <a:pt x="0" y="120000"/>
                    </a:lnTo>
                    <a:lnTo>
                      <a:pt x="0" y="120000"/>
                    </a:lnTo>
                    <a:lnTo>
                      <a:pt x="60000" y="118700"/>
                    </a:lnTo>
                    <a:lnTo>
                      <a:pt x="119976" y="1179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7" name="Google Shape;39;p2">
                <a:extLst>
                  <a:ext uri="{FF2B5EF4-FFF2-40B4-BE49-F238E27FC236}">
                    <a16:creationId xmlns:a16="http://schemas.microsoft.com/office/drawing/2014/main" id="{156F7792-6486-4EC4-9479-87093F7CB9B3}"/>
                  </a:ext>
                </a:extLst>
              </p:cNvPr>
              <p:cNvSpPr/>
              <p:nvPr/>
            </p:nvSpPr>
            <p:spPr>
              <a:xfrm>
                <a:off x="6261356" y="2036275"/>
                <a:ext cx="221101" cy="657900"/>
              </a:xfrm>
              <a:custGeom>
                <a:avLst/>
                <a:gdLst/>
                <a:ahLst/>
                <a:cxnLst/>
                <a:rect l="l" t="t" r="r" b="b"/>
                <a:pathLst>
                  <a:path w="120000" h="120000" extrusionOk="0">
                    <a:moveTo>
                      <a:pt x="13" y="0"/>
                    </a:moveTo>
                    <a:lnTo>
                      <a:pt x="35294" y="120000"/>
                    </a:lnTo>
                    <a:lnTo>
                      <a:pt x="76854" y="119471"/>
                    </a:lnTo>
                    <a:lnTo>
                      <a:pt x="119986" y="119206"/>
                    </a:lnTo>
                    <a:lnTo>
                      <a:pt x="119986" y="0"/>
                    </a:lnTo>
                    <a:close/>
                  </a:path>
                </a:pathLst>
              </a:custGeom>
              <a:solidFill>
                <a:srgbClr val="5EB62D"/>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8" name="Google Shape;40;p2">
                <a:extLst>
                  <a:ext uri="{FF2B5EF4-FFF2-40B4-BE49-F238E27FC236}">
                    <a16:creationId xmlns:a16="http://schemas.microsoft.com/office/drawing/2014/main" id="{67E847C1-A979-4E89-AA13-C9368F8A252E}"/>
                  </a:ext>
                </a:extLst>
              </p:cNvPr>
              <p:cNvSpPr/>
              <p:nvPr/>
            </p:nvSpPr>
            <p:spPr>
              <a:xfrm>
                <a:off x="6261350" y="2036275"/>
                <a:ext cx="221101" cy="657900"/>
              </a:xfrm>
              <a:custGeom>
                <a:avLst/>
                <a:gdLst/>
                <a:ahLst/>
                <a:cxnLst/>
                <a:rect l="l" t="t" r="r" b="b"/>
                <a:pathLst>
                  <a:path w="120000" h="120000" fill="none" extrusionOk="0">
                    <a:moveTo>
                      <a:pt x="119986" y="119206"/>
                    </a:moveTo>
                    <a:lnTo>
                      <a:pt x="119986" y="0"/>
                    </a:lnTo>
                    <a:lnTo>
                      <a:pt x="13" y="0"/>
                    </a:lnTo>
                    <a:lnTo>
                      <a:pt x="13" y="0"/>
                    </a:lnTo>
                    <a:lnTo>
                      <a:pt x="35294" y="120000"/>
                    </a:lnTo>
                    <a:lnTo>
                      <a:pt x="35294" y="120000"/>
                    </a:lnTo>
                    <a:lnTo>
                      <a:pt x="76854" y="119471"/>
                    </a:lnTo>
                    <a:lnTo>
                      <a:pt x="119986" y="11920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29" name="Google Shape;41;p2">
                <a:extLst>
                  <a:ext uri="{FF2B5EF4-FFF2-40B4-BE49-F238E27FC236}">
                    <a16:creationId xmlns:a16="http://schemas.microsoft.com/office/drawing/2014/main" id="{F41F581A-E824-4428-BDDF-AD18487B3808}"/>
                  </a:ext>
                </a:extLst>
              </p:cNvPr>
              <p:cNvSpPr/>
              <p:nvPr/>
            </p:nvSpPr>
            <p:spPr>
              <a:xfrm>
                <a:off x="5685926" y="2036275"/>
                <a:ext cx="575399" cy="795300"/>
              </a:xfrm>
              <a:custGeom>
                <a:avLst/>
                <a:gdLst/>
                <a:ahLst/>
                <a:cxnLst/>
                <a:rect l="l" t="t" r="r" b="b"/>
                <a:pathLst>
                  <a:path w="120000" h="120000" extrusionOk="0">
                    <a:moveTo>
                      <a:pt x="5" y="0"/>
                    </a:move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lnTo>
                      <a:pt x="120000"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0" name="Google Shape;42;p2">
                <a:extLst>
                  <a:ext uri="{FF2B5EF4-FFF2-40B4-BE49-F238E27FC236}">
                    <a16:creationId xmlns:a16="http://schemas.microsoft.com/office/drawing/2014/main" id="{509D6B94-69BA-40C9-AAE1-56D60B32B727}"/>
                  </a:ext>
                </a:extLst>
              </p:cNvPr>
              <p:cNvSpPr/>
              <p:nvPr/>
            </p:nvSpPr>
            <p:spPr>
              <a:xfrm>
                <a:off x="5685926" y="2036275"/>
                <a:ext cx="575399" cy="795300"/>
              </a:xfrm>
              <a:custGeom>
                <a:avLst/>
                <a:gdLst/>
                <a:ahLst/>
                <a:cxnLst/>
                <a:rect l="l" t="t" r="r" b="b"/>
                <a:pathLst>
                  <a:path w="120000" h="120000" fill="none" extrusionOk="0">
                    <a:moveTo>
                      <a:pt x="106429" y="101016"/>
                    </a:moveTo>
                    <a:lnTo>
                      <a:pt x="120000" y="0"/>
                    </a:lnTo>
                    <a:lnTo>
                      <a:pt x="120000" y="0"/>
                    </a:lnTo>
                    <a:lnTo>
                      <a:pt x="5" y="0"/>
                    </a:lnTo>
                    <a:lnTo>
                      <a:pt x="5" y="119996"/>
                    </a:ln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75780611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Contents Slide Dark">
    <p:bg>
      <p:bgPr>
        <a:solidFill>
          <a:schemeClr val="tx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90E2E80-0517-9F4D-BBA5-11AD16FAF9F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18914"/>
          <a:stretch/>
        </p:blipFill>
        <p:spPr>
          <a:xfrm>
            <a:off x="6682602" y="0"/>
            <a:ext cx="5509398" cy="6858000"/>
          </a:xfrm>
          <a:prstGeom prst="rect">
            <a:avLst/>
          </a:prstGeom>
        </p:spPr>
      </p:pic>
      <p:sp>
        <p:nvSpPr>
          <p:cNvPr id="11" name="Title 1">
            <a:extLst>
              <a:ext uri="{FF2B5EF4-FFF2-40B4-BE49-F238E27FC236}">
                <a16:creationId xmlns:a16="http://schemas.microsoft.com/office/drawing/2014/main" id="{0C996E29-BED7-BA42-8F97-5BC9780F271A}"/>
              </a:ext>
            </a:extLst>
          </p:cNvPr>
          <p:cNvSpPr>
            <a:spLocks noGrp="1"/>
          </p:cNvSpPr>
          <p:nvPr>
            <p:ph type="title"/>
          </p:nvPr>
        </p:nvSpPr>
        <p:spPr>
          <a:xfrm>
            <a:off x="1095356" y="123751"/>
            <a:ext cx="10404000" cy="1069095"/>
          </a:xfrm>
        </p:spPr>
        <p:txBody>
          <a:bodyPr anchor="ctr"/>
          <a:lstStyle>
            <a:lvl1pPr>
              <a:defRPr sz="3600">
                <a:solidFill>
                  <a:schemeClr val="bg1"/>
                </a:solidFill>
              </a:defRPr>
            </a:lvl1pPr>
          </a:lstStyle>
          <a:p>
            <a:r>
              <a:rPr lang="en-US"/>
              <a:t>Click to edit Master title style</a:t>
            </a:r>
            <a:endParaRPr lang="en-GB"/>
          </a:p>
        </p:txBody>
      </p:sp>
      <p:sp>
        <p:nvSpPr>
          <p:cNvPr id="13" name="Google Shape;170;p15">
            <a:extLst>
              <a:ext uri="{FF2B5EF4-FFF2-40B4-BE49-F238E27FC236}">
                <a16:creationId xmlns:a16="http://schemas.microsoft.com/office/drawing/2014/main" id="{74ACC77B-8B9A-9940-8861-0FE7593180D9}"/>
              </a:ext>
            </a:extLst>
          </p:cNvPr>
          <p:cNvSpPr/>
          <p:nvPr userDrawn="1"/>
        </p:nvSpPr>
        <p:spPr>
          <a:xfrm>
            <a:off x="109464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7" name="Table Placeholder 6">
            <a:extLst>
              <a:ext uri="{FF2B5EF4-FFF2-40B4-BE49-F238E27FC236}">
                <a16:creationId xmlns:a16="http://schemas.microsoft.com/office/drawing/2014/main" id="{34C3CEEE-B4AB-4321-837B-5120008B1E6E}"/>
              </a:ext>
            </a:extLst>
          </p:cNvPr>
          <p:cNvSpPr>
            <a:spLocks noGrp="1"/>
          </p:cNvSpPr>
          <p:nvPr>
            <p:ph type="tbl" sz="quarter" idx="13"/>
          </p:nvPr>
        </p:nvSpPr>
        <p:spPr>
          <a:xfrm>
            <a:off x="1095356" y="1633461"/>
            <a:ext cx="5328000" cy="2797175"/>
          </a:xfrm>
        </p:spPr>
        <p:txBody>
          <a:bodyPr/>
          <a:lstStyle>
            <a:lvl1pPr>
              <a:defRPr>
                <a:solidFill>
                  <a:schemeClr val="bg1"/>
                </a:solidFill>
              </a:defRPr>
            </a:lvl1pPr>
          </a:lstStyle>
          <a:p>
            <a:r>
              <a:rPr lang="en-US"/>
              <a:t>Click icon to add table</a:t>
            </a:r>
            <a:endParaRPr lang="en-GB"/>
          </a:p>
        </p:txBody>
      </p:sp>
      <p:sp>
        <p:nvSpPr>
          <p:cNvPr id="21" name="Source Placeholder 7">
            <a:extLst>
              <a:ext uri="{FF2B5EF4-FFF2-40B4-BE49-F238E27FC236}">
                <a16:creationId xmlns:a16="http://schemas.microsoft.com/office/drawing/2014/main" id="{235BB116-56E4-DC4E-9F3D-46BB91FBF070}"/>
              </a:ext>
            </a:extLst>
          </p:cNvPr>
          <p:cNvSpPr>
            <a:spLocks noGrp="1"/>
          </p:cNvSpPr>
          <p:nvPr>
            <p:ph type="body" sz="quarter" idx="15"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lang="en-GB" sz="800" b="0" smtClean="0">
                <a:solidFill>
                  <a:schemeClr val="bg1"/>
                </a:solidFill>
                <a:effectLst/>
              </a:defRPr>
            </a:lvl1pPr>
            <a:lvl2pPr>
              <a:spcAft>
                <a:spcPts val="200"/>
              </a:spcAft>
              <a:defRPr sz="800">
                <a:solidFill>
                  <a:schemeClr val="bg1"/>
                </a:solidFill>
              </a:defRPr>
            </a:lvl2pPr>
            <a:lvl3pPr marL="0" indent="0">
              <a:spcAft>
                <a:spcPts val="200"/>
              </a:spcAft>
              <a:buNone/>
              <a:defRPr sz="1000" b="1">
                <a:solidFill>
                  <a:schemeClr val="bg1"/>
                </a:solidFill>
              </a:defRPr>
            </a:lvl3pPr>
            <a:lvl4pPr marL="252000">
              <a:spcAft>
                <a:spcPts val="200"/>
              </a:spcAft>
              <a:defRPr sz="800">
                <a:solidFill>
                  <a:schemeClr val="bg1"/>
                </a:solidFill>
              </a:defRPr>
            </a:lvl4pPr>
            <a:lvl5pPr marL="504000">
              <a:spcAft>
                <a:spcPts val="200"/>
              </a:spcAft>
              <a:defRPr sz="800">
                <a:solidFill>
                  <a:schemeClr val="bg1"/>
                </a:solidFill>
              </a:defRPr>
            </a:lvl5pPr>
          </a:lstStyle>
          <a:p>
            <a:pPr lvl="0"/>
            <a:r>
              <a:rPr lang="en-US"/>
              <a:t>Source goes here, aligned to the bottom guide.</a:t>
            </a:r>
          </a:p>
        </p:txBody>
      </p:sp>
      <p:sp>
        <p:nvSpPr>
          <p:cNvPr id="5" name="Slide Number Placeholder 4">
            <a:extLst>
              <a:ext uri="{FF2B5EF4-FFF2-40B4-BE49-F238E27FC236}">
                <a16:creationId xmlns:a16="http://schemas.microsoft.com/office/drawing/2014/main" id="{F4B6A4DC-7F78-437D-8F5D-F75C75F5410E}"/>
              </a:ext>
            </a:extLst>
          </p:cNvPr>
          <p:cNvSpPr>
            <a:spLocks noGrp="1"/>
          </p:cNvSpPr>
          <p:nvPr>
            <p:ph type="sldNum" sz="quarter" idx="12"/>
          </p:nvPr>
        </p:nvSpPr>
        <p:spPr/>
        <p:txBody>
          <a:bodyPr/>
          <a:lstStyle>
            <a:lvl1pPr>
              <a:defRPr>
                <a:solidFill>
                  <a:schemeClr val="bg1"/>
                </a:solidFill>
              </a:defRPr>
            </a:lvl1pPr>
          </a:lstStyle>
          <a:p>
            <a:fld id="{54B1A0A0-1014-43B9-AECC-F6512CB9E662}" type="slidenum">
              <a:rPr lang="en-GB" smtClean="0"/>
              <a:pPr/>
              <a:t>‹#›</a:t>
            </a:fld>
            <a:endParaRPr lang="en-GB"/>
          </a:p>
        </p:txBody>
      </p:sp>
      <p:sp>
        <p:nvSpPr>
          <p:cNvPr id="4" name="Footer Placeholder 3">
            <a:extLst>
              <a:ext uri="{FF2B5EF4-FFF2-40B4-BE49-F238E27FC236}">
                <a16:creationId xmlns:a16="http://schemas.microsoft.com/office/drawing/2014/main" id="{FF6B105B-E1D9-416F-BD98-49FEEE34D08B}"/>
              </a:ext>
            </a:extLst>
          </p:cNvPr>
          <p:cNvSpPr>
            <a:spLocks noGrp="1"/>
          </p:cNvSpPr>
          <p:nvPr>
            <p:ph type="ftr" sz="quarter" idx="11"/>
          </p:nvPr>
        </p:nvSpPr>
        <p:spPr/>
        <p:txBody>
          <a:bodyPr/>
          <a:lstStyle>
            <a:lvl1pPr>
              <a:defRPr>
                <a:solidFill>
                  <a:schemeClr val="bg1"/>
                </a:solidFill>
              </a:defRPr>
            </a:lvl1pPr>
          </a:lstStyle>
          <a:p>
            <a:endParaRPr lang="en-GB"/>
          </a:p>
        </p:txBody>
      </p:sp>
      <p:pic>
        <p:nvPicPr>
          <p:cNvPr id="14" name="Picture 13">
            <a:extLst>
              <a:ext uri="{FF2B5EF4-FFF2-40B4-BE49-F238E27FC236}">
                <a16:creationId xmlns:a16="http://schemas.microsoft.com/office/drawing/2014/main" id="{03507EB6-C6DC-4D4F-B666-FD0D94D4698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
        <p:nvSpPr>
          <p:cNvPr id="6" name="TextBox 5" hidden="1">
            <a:extLst>
              <a:ext uri="{FF2B5EF4-FFF2-40B4-BE49-F238E27FC236}">
                <a16:creationId xmlns:a16="http://schemas.microsoft.com/office/drawing/2014/main" id="{8D0C80B0-B122-424B-B356-7487A67B6592}"/>
              </a:ext>
            </a:extLst>
          </p:cNvPr>
          <p:cNvSpPr txBox="1"/>
          <p:nvPr userDrawn="1"/>
        </p:nvSpPr>
        <p:spPr>
          <a:xfrm>
            <a:off x="3060192" y="-999744"/>
            <a:ext cx="0" cy="0"/>
          </a:xfrm>
          <a:prstGeom prst="rect">
            <a:avLst/>
          </a:prstGeom>
          <a:noFill/>
        </p:spPr>
        <p:txBody>
          <a:bodyPr wrap="none" lIns="0" tIns="0" rIns="0" bIns="0" rtlCol="0">
            <a:noAutofit/>
          </a:bodyPr>
          <a:lstStyle/>
          <a:p>
            <a:pPr algn="l"/>
            <a:endParaRPr lang="en-US" sz="1600">
              <a:solidFill>
                <a:schemeClr val="tx2"/>
              </a:solidFill>
            </a:endParaRPr>
          </a:p>
        </p:txBody>
      </p:sp>
      <p:sp>
        <p:nvSpPr>
          <p:cNvPr id="9" name="TextBox 8" hidden="1">
            <a:extLst>
              <a:ext uri="{FF2B5EF4-FFF2-40B4-BE49-F238E27FC236}">
                <a16:creationId xmlns:a16="http://schemas.microsoft.com/office/drawing/2014/main" id="{09616D0A-1CEC-6147-8B7C-8D1956E7829A}"/>
              </a:ext>
            </a:extLst>
          </p:cNvPr>
          <p:cNvSpPr txBox="1"/>
          <p:nvPr userDrawn="1"/>
        </p:nvSpPr>
        <p:spPr>
          <a:xfrm>
            <a:off x="7178040" y="6830568"/>
            <a:ext cx="0" cy="0"/>
          </a:xfrm>
          <a:prstGeom prst="rect">
            <a:avLst/>
          </a:prstGeom>
          <a:noFill/>
        </p:spPr>
        <p:txBody>
          <a:bodyPr wrap="none" lIns="0" tIns="0" rIns="0" bIns="0" rtlCol="0">
            <a:noAutofit/>
          </a:bodyPr>
          <a:lstStyle/>
          <a:p>
            <a:pPr algn="l"/>
            <a:endParaRPr lang="en-US" sz="1600">
              <a:solidFill>
                <a:schemeClr val="tx2"/>
              </a:solidFill>
            </a:endParaRPr>
          </a:p>
        </p:txBody>
      </p:sp>
      <p:sp>
        <p:nvSpPr>
          <p:cNvPr id="12" name="TextBox 11" hidden="1">
            <a:extLst>
              <a:ext uri="{FF2B5EF4-FFF2-40B4-BE49-F238E27FC236}">
                <a16:creationId xmlns:a16="http://schemas.microsoft.com/office/drawing/2014/main" id="{3322DF20-D13A-0947-BC39-6C17DCE852A5}"/>
              </a:ext>
            </a:extLst>
          </p:cNvPr>
          <p:cNvSpPr txBox="1"/>
          <p:nvPr userDrawn="1"/>
        </p:nvSpPr>
        <p:spPr>
          <a:xfrm>
            <a:off x="-100584" y="4178808"/>
            <a:ext cx="0" cy="0"/>
          </a:xfrm>
          <a:prstGeom prst="rect">
            <a:avLst/>
          </a:prstGeom>
          <a:noFill/>
        </p:spPr>
        <p:txBody>
          <a:bodyPr wrap="none" lIns="0" tIns="0" rIns="0" bIns="0" rtlCol="0">
            <a:noAutofit/>
          </a:bodyPr>
          <a:lstStyle/>
          <a:p>
            <a:pPr algn="l"/>
            <a:endParaRPr lang="en-US" sz="1600">
              <a:solidFill>
                <a:schemeClr val="tx2"/>
              </a:solidFill>
            </a:endParaRPr>
          </a:p>
        </p:txBody>
      </p:sp>
    </p:spTree>
    <p:extLst>
      <p:ext uri="{BB962C8B-B14F-4D97-AF65-F5344CB8AC3E}">
        <p14:creationId xmlns:p14="http://schemas.microsoft.com/office/powerpoint/2010/main" val="1123831571"/>
      </p:ext>
    </p:extLst>
  </p:cSld>
  <p:clrMapOvr>
    <a:masterClrMapping/>
  </p:clrMapOvr>
  <p:transition>
    <p:fade/>
  </p:transition>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1EAF5089-B834-6446-A8BA-8507C7130891}"/>
              </a:ext>
            </a:extLst>
          </p:cNvPr>
          <p:cNvSpPr>
            <a:spLocks noGrp="1"/>
          </p:cNvSpPr>
          <p:nvPr>
            <p:ph type="title"/>
          </p:nvPr>
        </p:nvSpPr>
        <p:spPr>
          <a:xfrm>
            <a:off x="1095356" y="123751"/>
            <a:ext cx="10404000" cy="1069095"/>
          </a:xfrm>
        </p:spPr>
        <p:txBody>
          <a:bodyPr anchor="ctr"/>
          <a:lstStyle>
            <a:lvl1pPr>
              <a:defRPr sz="3600">
                <a:solidFill>
                  <a:srgbClr val="444444"/>
                </a:solidFill>
              </a:defRPr>
            </a:lvl1pPr>
          </a:lstStyle>
          <a:p>
            <a:r>
              <a:rPr lang="en-US"/>
              <a:t>Click to edit Master title style</a:t>
            </a:r>
            <a:endParaRPr lang="en-GB"/>
          </a:p>
        </p:txBody>
      </p:sp>
      <p:sp>
        <p:nvSpPr>
          <p:cNvPr id="9" name="Google Shape;170;p15">
            <a:extLst>
              <a:ext uri="{FF2B5EF4-FFF2-40B4-BE49-F238E27FC236}">
                <a16:creationId xmlns:a16="http://schemas.microsoft.com/office/drawing/2014/main" id="{7481781A-5541-9D41-AE01-5D5ED4E07AD5}"/>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8" name="Text Placeholder 7">
            <a:extLst>
              <a:ext uri="{FF2B5EF4-FFF2-40B4-BE49-F238E27FC236}">
                <a16:creationId xmlns:a16="http://schemas.microsoft.com/office/drawing/2014/main" id="{0D0C3509-B58C-4216-91B2-EA23C1D70BB1}"/>
              </a:ext>
            </a:extLst>
          </p:cNvPr>
          <p:cNvSpPr>
            <a:spLocks noGrp="1"/>
          </p:cNvSpPr>
          <p:nvPr>
            <p:ph type="body" sz="quarter" idx="13"/>
          </p:nvPr>
        </p:nvSpPr>
        <p:spPr>
          <a:xfrm>
            <a:off x="1095356" y="1629396"/>
            <a:ext cx="10404000" cy="914174"/>
          </a:xfrm>
        </p:spPr>
        <p:txBody>
          <a:bodyPr/>
          <a:lstStyle>
            <a:lvl1pPr>
              <a:defRPr sz="2200" b="1">
                <a:solidFill>
                  <a:srgbClr val="444444"/>
                </a:solidFill>
              </a:defRPr>
            </a:lvl1pPr>
            <a:lvl2pPr>
              <a:defRPr b="0">
                <a:solidFill>
                  <a:srgbClr val="666666"/>
                </a:solidFill>
              </a:defRPr>
            </a:lvl2pPr>
          </a:lstStyle>
          <a:p>
            <a:pPr lvl="0"/>
            <a:r>
              <a:rPr lang="en-US"/>
              <a:t>Click to edit Master text styles</a:t>
            </a:r>
          </a:p>
        </p:txBody>
      </p:sp>
      <p:sp>
        <p:nvSpPr>
          <p:cNvPr id="3" name="Content Placeholder 2">
            <a:extLst>
              <a:ext uri="{FF2B5EF4-FFF2-40B4-BE49-F238E27FC236}">
                <a16:creationId xmlns:a16="http://schemas.microsoft.com/office/drawing/2014/main" id="{C6437434-BB22-40C5-BDD9-E53C1C6F8699}"/>
              </a:ext>
            </a:extLst>
          </p:cNvPr>
          <p:cNvSpPr>
            <a:spLocks noGrp="1"/>
          </p:cNvSpPr>
          <p:nvPr>
            <p:ph idx="1"/>
          </p:nvPr>
        </p:nvSpPr>
        <p:spPr>
          <a:xfrm>
            <a:off x="1095355" y="2747524"/>
            <a:ext cx="10404000" cy="3203575"/>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Source Placeholder 7">
            <a:extLst>
              <a:ext uri="{FF2B5EF4-FFF2-40B4-BE49-F238E27FC236}">
                <a16:creationId xmlns:a16="http://schemas.microsoft.com/office/drawing/2014/main" id="{53F3906B-48F3-644D-BA3B-234D8CD2F511}"/>
              </a:ext>
            </a:extLst>
          </p:cNvPr>
          <p:cNvSpPr>
            <a:spLocks noGrp="1"/>
          </p:cNvSpPr>
          <p:nvPr>
            <p:ph type="body" sz="quarter" idx="22" hasCustomPrompt="1"/>
          </p:nvPr>
        </p:nvSpPr>
        <p:spPr>
          <a:xfrm>
            <a:off x="1099457" y="6220861"/>
            <a:ext cx="10400400" cy="195814"/>
          </a:xfrm>
          <a:noFill/>
          <a:ln>
            <a:noFill/>
          </a:ln>
          <a:effectLst/>
        </p:spPr>
        <p:txBody>
          <a:bodyPr wrap="square" lIns="0" tIns="36000" bIns="36000" anchor="b" anchorCtr="0">
            <a:spAutoFit/>
          </a:bodyPr>
          <a:lstStyle>
            <a:lvl1pPr>
              <a:spcAft>
                <a:spcPts val="200"/>
              </a:spcAft>
              <a:defRPr sz="800" b="0">
                <a:solidFill>
                  <a:srgbClr val="666666"/>
                </a:solidFill>
              </a:defRPr>
            </a:lvl1pPr>
            <a:lvl2pPr>
              <a:spcAft>
                <a:spcPts val="200"/>
              </a:spcAft>
              <a:defRPr sz="800">
                <a:solidFill>
                  <a:srgbClr val="666666"/>
                </a:solidFill>
              </a:defRPr>
            </a:lvl2pPr>
            <a:lvl3pPr marL="0" indent="0">
              <a:spcAft>
                <a:spcPts val="200"/>
              </a:spcAft>
              <a:buNone/>
              <a:defRPr sz="1000" b="1">
                <a:solidFill>
                  <a:srgbClr val="666666"/>
                </a:solidFill>
              </a:defRPr>
            </a:lvl3pPr>
            <a:lvl4pPr marL="252000">
              <a:spcAft>
                <a:spcPts val="200"/>
              </a:spcAft>
              <a:defRPr sz="800">
                <a:solidFill>
                  <a:srgbClr val="666666"/>
                </a:solidFill>
              </a:defRPr>
            </a:lvl4pPr>
            <a:lvl5pPr marL="504000">
              <a:spcAft>
                <a:spcPts val="200"/>
              </a:spcAft>
              <a:defRPr sz="800">
                <a:solidFill>
                  <a:srgbClr val="666666"/>
                </a:solidFill>
              </a:defRPr>
            </a:lvl5pPr>
          </a:lstStyle>
          <a:p>
            <a:pPr lvl="0"/>
            <a:r>
              <a:rPr lang="en-US"/>
              <a:t>Source goes here, aligned to the bottom guide.</a:t>
            </a:r>
          </a:p>
        </p:txBody>
      </p:sp>
      <p:sp>
        <p:nvSpPr>
          <p:cNvPr id="11" name="Slide Number Placeholder 10">
            <a:extLst>
              <a:ext uri="{FF2B5EF4-FFF2-40B4-BE49-F238E27FC236}">
                <a16:creationId xmlns:a16="http://schemas.microsoft.com/office/drawing/2014/main" id="{D30F1DFF-30D1-034D-B076-E3AEDDBD5D1D}"/>
              </a:ext>
            </a:extLst>
          </p:cNvPr>
          <p:cNvSpPr>
            <a:spLocks noGrp="1"/>
          </p:cNvSpPr>
          <p:nvPr>
            <p:ph type="sldNum" sz="quarter" idx="16"/>
          </p:nvPr>
        </p:nvSpPr>
        <p:spPr/>
        <p:txBody>
          <a:bodyPr/>
          <a:lstStyle>
            <a:lvl1pPr>
              <a:defRPr>
                <a:solidFill>
                  <a:srgbClr val="666666"/>
                </a:solidFill>
              </a:defRPr>
            </a:lvl1pPr>
          </a:lstStyle>
          <a:p>
            <a:fld id="{54B1A0A0-1014-43B9-AECC-F6512CB9E662}" type="slidenum">
              <a:rPr lang="en-GB" smtClean="0"/>
              <a:pPr/>
              <a:t>‹#›</a:t>
            </a:fld>
            <a:endParaRPr lang="en-GB"/>
          </a:p>
        </p:txBody>
      </p:sp>
      <p:sp>
        <p:nvSpPr>
          <p:cNvPr id="7" name="Footer Placeholder 6">
            <a:extLst>
              <a:ext uri="{FF2B5EF4-FFF2-40B4-BE49-F238E27FC236}">
                <a16:creationId xmlns:a16="http://schemas.microsoft.com/office/drawing/2014/main" id="{0447F304-DCCF-7B41-8371-74617494ECA4}"/>
              </a:ext>
            </a:extLst>
          </p:cNvPr>
          <p:cNvSpPr>
            <a:spLocks noGrp="1"/>
          </p:cNvSpPr>
          <p:nvPr>
            <p:ph type="ftr" sz="quarter" idx="15"/>
          </p:nvPr>
        </p:nvSpPr>
        <p:spPr/>
        <p:txBody>
          <a:bodyPr/>
          <a:lstStyle>
            <a:lvl1pPr>
              <a:defRPr>
                <a:solidFill>
                  <a:srgbClr val="666666"/>
                </a:solidFill>
              </a:defRPr>
            </a:lvl1pPr>
          </a:lstStyle>
          <a:p>
            <a:endParaRPr lang="en-GB"/>
          </a:p>
        </p:txBody>
      </p:sp>
      <p:pic>
        <p:nvPicPr>
          <p:cNvPr id="10" name="Picture 9">
            <a:extLst>
              <a:ext uri="{FF2B5EF4-FFF2-40B4-BE49-F238E27FC236}">
                <a16:creationId xmlns:a16="http://schemas.microsoft.com/office/drawing/2014/main" id="{7207C665-B29D-D84C-832E-DAA69A1A6B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2298642207"/>
      </p:ext>
    </p:extLst>
  </p:cSld>
  <p:clrMapOvr>
    <a:masterClrMapping/>
  </p:clrMapOvr>
  <p:transition>
    <p:fade/>
  </p:transition>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5A5F7AB-123D-8D48-AE54-D1F6CFC80E0D}"/>
              </a:ext>
            </a:extLst>
          </p:cNvPr>
          <p:cNvSpPr>
            <a:spLocks noGrp="1"/>
          </p:cNvSpPr>
          <p:nvPr>
            <p:ph type="title"/>
          </p:nvPr>
        </p:nvSpPr>
        <p:spPr>
          <a:xfrm>
            <a:off x="1095356" y="123751"/>
            <a:ext cx="10404000" cy="1069095"/>
          </a:xfrm>
        </p:spPr>
        <p:txBody>
          <a:bodyPr anchor="ctr"/>
          <a:lstStyle>
            <a:lvl1pPr>
              <a:defRPr sz="3600">
                <a:solidFill>
                  <a:srgbClr val="444444"/>
                </a:solidFill>
              </a:defRPr>
            </a:lvl1pPr>
          </a:lstStyle>
          <a:p>
            <a:r>
              <a:rPr lang="en-US"/>
              <a:t>Click to edit Master title style</a:t>
            </a:r>
            <a:endParaRPr lang="en-GB"/>
          </a:p>
        </p:txBody>
      </p:sp>
      <p:sp>
        <p:nvSpPr>
          <p:cNvPr id="13" name="Google Shape;170;p15">
            <a:extLst>
              <a:ext uri="{FF2B5EF4-FFF2-40B4-BE49-F238E27FC236}">
                <a16:creationId xmlns:a16="http://schemas.microsoft.com/office/drawing/2014/main" id="{9A360CB3-AE81-B74B-A7F0-0FC1E7230E85}"/>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9" name="Text Placeholder 8">
            <a:extLst>
              <a:ext uri="{FF2B5EF4-FFF2-40B4-BE49-F238E27FC236}">
                <a16:creationId xmlns:a16="http://schemas.microsoft.com/office/drawing/2014/main" id="{F55DF1F9-3B3A-49C1-9C10-A08225539954}"/>
              </a:ext>
            </a:extLst>
          </p:cNvPr>
          <p:cNvSpPr>
            <a:spLocks noGrp="1"/>
          </p:cNvSpPr>
          <p:nvPr>
            <p:ph type="body" sz="quarter" idx="14"/>
          </p:nvPr>
        </p:nvSpPr>
        <p:spPr>
          <a:xfrm>
            <a:off x="1095356" y="1629396"/>
            <a:ext cx="5003800" cy="398462"/>
          </a:xfrm>
        </p:spPr>
        <p:txBody>
          <a:bodyPr/>
          <a:lstStyle>
            <a:lvl1pPr>
              <a:defRPr b="1">
                <a:solidFill>
                  <a:srgbClr val="444444"/>
                </a:solidFill>
              </a:defRPr>
            </a:lvl1pPr>
          </a:lstStyle>
          <a:p>
            <a:pPr lvl="0"/>
            <a:r>
              <a:rPr lang="en-US"/>
              <a:t>Click to edit Master text styles</a:t>
            </a:r>
          </a:p>
        </p:txBody>
      </p:sp>
      <p:sp>
        <p:nvSpPr>
          <p:cNvPr id="3" name="Content Placeholder 2">
            <a:extLst>
              <a:ext uri="{FF2B5EF4-FFF2-40B4-BE49-F238E27FC236}">
                <a16:creationId xmlns:a16="http://schemas.microsoft.com/office/drawing/2014/main" id="{C6437434-BB22-40C5-BDD9-E53C1C6F8699}"/>
              </a:ext>
            </a:extLst>
          </p:cNvPr>
          <p:cNvSpPr>
            <a:spLocks noGrp="1"/>
          </p:cNvSpPr>
          <p:nvPr>
            <p:ph idx="1"/>
          </p:nvPr>
        </p:nvSpPr>
        <p:spPr>
          <a:xfrm>
            <a:off x="1095356" y="2133623"/>
            <a:ext cx="5003800" cy="3687875"/>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a:extLst>
              <a:ext uri="{FF2B5EF4-FFF2-40B4-BE49-F238E27FC236}">
                <a16:creationId xmlns:a16="http://schemas.microsoft.com/office/drawing/2014/main" id="{4EDA9448-A967-4DFE-B980-1899F1A424F8}"/>
              </a:ext>
            </a:extLst>
          </p:cNvPr>
          <p:cNvSpPr>
            <a:spLocks noGrp="1"/>
          </p:cNvSpPr>
          <p:nvPr>
            <p:ph type="body" sz="quarter" idx="15"/>
          </p:nvPr>
        </p:nvSpPr>
        <p:spPr>
          <a:xfrm>
            <a:off x="6473756" y="1629396"/>
            <a:ext cx="5025600" cy="398462"/>
          </a:xfrm>
        </p:spPr>
        <p:txBody>
          <a:bodyPr/>
          <a:lstStyle>
            <a:lvl1pPr>
              <a:defRPr b="1">
                <a:solidFill>
                  <a:srgbClr val="444444"/>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47702F81-A449-4BEA-8D9A-838B13458D55}"/>
              </a:ext>
            </a:extLst>
          </p:cNvPr>
          <p:cNvSpPr>
            <a:spLocks noGrp="1"/>
          </p:cNvSpPr>
          <p:nvPr>
            <p:ph idx="13"/>
          </p:nvPr>
        </p:nvSpPr>
        <p:spPr>
          <a:xfrm>
            <a:off x="6473756" y="2133623"/>
            <a:ext cx="5025600" cy="3687875"/>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31DEADBF-011F-417A-A20B-D5A1B678975B}"/>
              </a:ext>
            </a:extLst>
          </p:cNvPr>
          <p:cNvSpPr>
            <a:spLocks noGrp="1"/>
          </p:cNvSpPr>
          <p:nvPr>
            <p:ph type="sldNum" sz="quarter" idx="12"/>
          </p:nvPr>
        </p:nvSpPr>
        <p:spPr/>
        <p:txBody>
          <a:bodyPr/>
          <a:lstStyle>
            <a:lvl1pPr>
              <a:defRPr>
                <a:solidFill>
                  <a:srgbClr val="666666"/>
                </a:solidFill>
              </a:defRPr>
            </a:lvl1pPr>
          </a:lstStyle>
          <a:p>
            <a:fld id="{54B1A0A0-1014-43B9-AECC-F6512CB9E662}" type="slidenum">
              <a:rPr lang="en-GB" smtClean="0"/>
              <a:pPr/>
              <a:t>‹#›</a:t>
            </a:fld>
            <a:endParaRPr lang="en-GB"/>
          </a:p>
        </p:txBody>
      </p:sp>
      <p:sp>
        <p:nvSpPr>
          <p:cNvPr id="5" name="Footer Placeholder 4">
            <a:extLst>
              <a:ext uri="{FF2B5EF4-FFF2-40B4-BE49-F238E27FC236}">
                <a16:creationId xmlns:a16="http://schemas.microsoft.com/office/drawing/2014/main" id="{59B1EC6A-3BD0-4B5C-BE35-1BCA9ED185C5}"/>
              </a:ext>
            </a:extLst>
          </p:cNvPr>
          <p:cNvSpPr>
            <a:spLocks noGrp="1"/>
          </p:cNvSpPr>
          <p:nvPr>
            <p:ph type="ftr" sz="quarter" idx="11"/>
          </p:nvPr>
        </p:nvSpPr>
        <p:spPr/>
        <p:txBody>
          <a:bodyPr/>
          <a:lstStyle>
            <a:lvl1pPr>
              <a:defRPr>
                <a:solidFill>
                  <a:srgbClr val="666666"/>
                </a:solidFill>
              </a:defRPr>
            </a:lvl1pPr>
          </a:lstStyle>
          <a:p>
            <a:endParaRPr lang="en-GB"/>
          </a:p>
        </p:txBody>
      </p:sp>
      <p:pic>
        <p:nvPicPr>
          <p:cNvPr id="12" name="Picture 11">
            <a:extLst>
              <a:ext uri="{FF2B5EF4-FFF2-40B4-BE49-F238E27FC236}">
                <a16:creationId xmlns:a16="http://schemas.microsoft.com/office/drawing/2014/main" id="{C66F969D-5B5E-7141-8BEF-C3C64D06B90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
        <p:nvSpPr>
          <p:cNvPr id="14" name="Source Placeholder 7">
            <a:extLst>
              <a:ext uri="{FF2B5EF4-FFF2-40B4-BE49-F238E27FC236}">
                <a16:creationId xmlns:a16="http://schemas.microsoft.com/office/drawing/2014/main" id="{7B03AFD9-988B-3B40-8C78-EFC4B763DA7F}"/>
              </a:ext>
            </a:extLst>
          </p:cNvPr>
          <p:cNvSpPr>
            <a:spLocks noGrp="1"/>
          </p:cNvSpPr>
          <p:nvPr>
            <p:ph type="body" sz="quarter" idx="22"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sz="800" b="0">
                <a:solidFill>
                  <a:srgbClr val="666666"/>
                </a:solidFill>
              </a:defRPr>
            </a:lvl1pPr>
            <a:lvl2pPr>
              <a:spcAft>
                <a:spcPts val="200"/>
              </a:spcAft>
              <a:defRPr sz="800">
                <a:solidFill>
                  <a:srgbClr val="666666"/>
                </a:solidFill>
              </a:defRPr>
            </a:lvl2pPr>
            <a:lvl3pPr marL="0" indent="0">
              <a:spcAft>
                <a:spcPts val="200"/>
              </a:spcAft>
              <a:buNone/>
              <a:defRPr sz="1000" b="1">
                <a:solidFill>
                  <a:srgbClr val="666666"/>
                </a:solidFill>
              </a:defRPr>
            </a:lvl3pPr>
            <a:lvl4pPr marL="252000">
              <a:spcAft>
                <a:spcPts val="200"/>
              </a:spcAft>
              <a:defRPr sz="800">
                <a:solidFill>
                  <a:srgbClr val="666666"/>
                </a:solidFill>
              </a:defRPr>
            </a:lvl4pPr>
            <a:lvl5pPr marL="504000">
              <a:spcAft>
                <a:spcPts val="200"/>
              </a:spcAft>
              <a:defRPr sz="800">
                <a:solidFill>
                  <a:srgbClr val="666666"/>
                </a:solidFill>
              </a:defRPr>
            </a:lvl5pPr>
          </a:lstStyle>
          <a:p>
            <a:pPr lvl="0"/>
            <a:r>
              <a:rPr lang="en-US"/>
              <a:t>Source goes here, aligned to the bottom guide.</a:t>
            </a:r>
          </a:p>
        </p:txBody>
      </p:sp>
    </p:spTree>
    <p:extLst>
      <p:ext uri="{BB962C8B-B14F-4D97-AF65-F5344CB8AC3E}">
        <p14:creationId xmlns:p14="http://schemas.microsoft.com/office/powerpoint/2010/main" val="655563249"/>
      </p:ext>
    </p:extLst>
  </p:cSld>
  <p:clrMapOvr>
    <a:masterClrMapping/>
  </p:clrMapOvr>
  <p:transition>
    <p:fade/>
  </p:transition>
  <p:extLst>
    <p:ext uri="{DCECCB84-F9BA-43D5-87BE-67443E8EF086}">
      <p15:sldGuideLst xmlns:p15="http://schemas.microsoft.com/office/powerpoint/2012/main">
        <p15:guide id="1" pos="4067">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AAE428D4-CC01-A349-8CBA-CB18C1FFB334}"/>
              </a:ext>
            </a:extLst>
          </p:cNvPr>
          <p:cNvSpPr>
            <a:spLocks noGrp="1"/>
          </p:cNvSpPr>
          <p:nvPr>
            <p:ph type="title"/>
          </p:nvPr>
        </p:nvSpPr>
        <p:spPr>
          <a:xfrm>
            <a:off x="1095356" y="123751"/>
            <a:ext cx="10404000" cy="1069095"/>
          </a:xfrm>
        </p:spPr>
        <p:txBody>
          <a:bodyPr anchor="ctr"/>
          <a:lstStyle>
            <a:lvl1pPr>
              <a:defRPr sz="3600">
                <a:solidFill>
                  <a:srgbClr val="444444"/>
                </a:solidFill>
              </a:defRPr>
            </a:lvl1pPr>
          </a:lstStyle>
          <a:p>
            <a:r>
              <a:rPr lang="en-US"/>
              <a:t>Click to edit Master title style</a:t>
            </a:r>
            <a:endParaRPr lang="en-GB"/>
          </a:p>
        </p:txBody>
      </p:sp>
      <p:sp>
        <p:nvSpPr>
          <p:cNvPr id="15" name="Google Shape;170;p15">
            <a:extLst>
              <a:ext uri="{FF2B5EF4-FFF2-40B4-BE49-F238E27FC236}">
                <a16:creationId xmlns:a16="http://schemas.microsoft.com/office/drawing/2014/main" id="{3F0D1E3A-5A70-3E46-9D18-DC09CB290C23}"/>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9" name="Text Placeholder 8">
            <a:extLst>
              <a:ext uri="{FF2B5EF4-FFF2-40B4-BE49-F238E27FC236}">
                <a16:creationId xmlns:a16="http://schemas.microsoft.com/office/drawing/2014/main" id="{F55DF1F9-3B3A-49C1-9C10-A08225539954}"/>
              </a:ext>
            </a:extLst>
          </p:cNvPr>
          <p:cNvSpPr>
            <a:spLocks noGrp="1"/>
          </p:cNvSpPr>
          <p:nvPr>
            <p:ph type="body" sz="quarter" idx="14"/>
          </p:nvPr>
        </p:nvSpPr>
        <p:spPr>
          <a:xfrm>
            <a:off x="1095356" y="1630800"/>
            <a:ext cx="3197000" cy="398462"/>
          </a:xfrm>
        </p:spPr>
        <p:txBody>
          <a:bodyPr/>
          <a:lstStyle>
            <a:lvl1pPr>
              <a:defRPr b="1">
                <a:solidFill>
                  <a:srgbClr val="444444"/>
                </a:solidFill>
              </a:defRPr>
            </a:lvl1pPr>
          </a:lstStyle>
          <a:p>
            <a:pPr lvl="0"/>
            <a:r>
              <a:rPr lang="en-US"/>
              <a:t>Click to edit Master text styles</a:t>
            </a:r>
          </a:p>
        </p:txBody>
      </p:sp>
      <p:sp>
        <p:nvSpPr>
          <p:cNvPr id="3" name="Content Placeholder 2">
            <a:extLst>
              <a:ext uri="{FF2B5EF4-FFF2-40B4-BE49-F238E27FC236}">
                <a16:creationId xmlns:a16="http://schemas.microsoft.com/office/drawing/2014/main" id="{C6437434-BB22-40C5-BDD9-E53C1C6F8699}"/>
              </a:ext>
            </a:extLst>
          </p:cNvPr>
          <p:cNvSpPr>
            <a:spLocks noGrp="1"/>
          </p:cNvSpPr>
          <p:nvPr>
            <p:ph idx="1"/>
          </p:nvPr>
        </p:nvSpPr>
        <p:spPr>
          <a:xfrm>
            <a:off x="1095356" y="2130529"/>
            <a:ext cx="3197000" cy="3687875"/>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4497E4FF-104E-43CA-B0AE-EBB0AAD0A499}"/>
              </a:ext>
            </a:extLst>
          </p:cNvPr>
          <p:cNvSpPr>
            <a:spLocks noGrp="1"/>
          </p:cNvSpPr>
          <p:nvPr>
            <p:ph type="body" sz="quarter" idx="17"/>
          </p:nvPr>
        </p:nvSpPr>
        <p:spPr>
          <a:xfrm>
            <a:off x="4671585" y="1630800"/>
            <a:ext cx="3235753" cy="398462"/>
          </a:xfrm>
        </p:spPr>
        <p:txBody>
          <a:bodyPr/>
          <a:lstStyle>
            <a:lvl1pPr>
              <a:defRPr b="1">
                <a:solidFill>
                  <a:srgbClr val="444444"/>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1177C840-EDD7-475A-992A-D85652036FC7}"/>
              </a:ext>
            </a:extLst>
          </p:cNvPr>
          <p:cNvSpPr>
            <a:spLocks noGrp="1"/>
          </p:cNvSpPr>
          <p:nvPr>
            <p:ph idx="16"/>
          </p:nvPr>
        </p:nvSpPr>
        <p:spPr>
          <a:xfrm>
            <a:off x="4671585" y="2130530"/>
            <a:ext cx="3235753" cy="3687875"/>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8">
            <a:extLst>
              <a:ext uri="{FF2B5EF4-FFF2-40B4-BE49-F238E27FC236}">
                <a16:creationId xmlns:a16="http://schemas.microsoft.com/office/drawing/2014/main" id="{4EDA9448-A967-4DFE-B980-1899F1A424F8}"/>
              </a:ext>
            </a:extLst>
          </p:cNvPr>
          <p:cNvSpPr>
            <a:spLocks noGrp="1"/>
          </p:cNvSpPr>
          <p:nvPr>
            <p:ph type="body" sz="quarter" idx="15"/>
          </p:nvPr>
        </p:nvSpPr>
        <p:spPr>
          <a:xfrm>
            <a:off x="8272742" y="1630800"/>
            <a:ext cx="3223933" cy="398462"/>
          </a:xfrm>
        </p:spPr>
        <p:txBody>
          <a:bodyPr/>
          <a:lstStyle>
            <a:lvl1pPr>
              <a:defRPr b="1">
                <a:solidFill>
                  <a:srgbClr val="444444"/>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47702F81-A449-4BEA-8D9A-838B13458D55}"/>
              </a:ext>
            </a:extLst>
          </p:cNvPr>
          <p:cNvSpPr>
            <a:spLocks noGrp="1"/>
          </p:cNvSpPr>
          <p:nvPr>
            <p:ph idx="13"/>
          </p:nvPr>
        </p:nvSpPr>
        <p:spPr>
          <a:xfrm>
            <a:off x="8272742" y="2130529"/>
            <a:ext cx="3223932" cy="3687875"/>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31DEADBF-011F-417A-A20B-D5A1B678975B}"/>
              </a:ext>
            </a:extLst>
          </p:cNvPr>
          <p:cNvSpPr>
            <a:spLocks noGrp="1"/>
          </p:cNvSpPr>
          <p:nvPr>
            <p:ph type="sldNum" sz="quarter" idx="12"/>
          </p:nvPr>
        </p:nvSpPr>
        <p:spPr/>
        <p:txBody>
          <a:bodyPr/>
          <a:lstStyle>
            <a:lvl1pPr>
              <a:defRPr>
                <a:solidFill>
                  <a:srgbClr val="666666"/>
                </a:solidFill>
              </a:defRPr>
            </a:lvl1pPr>
          </a:lstStyle>
          <a:p>
            <a:fld id="{54B1A0A0-1014-43B9-AECC-F6512CB9E662}" type="slidenum">
              <a:rPr lang="en-GB" smtClean="0"/>
              <a:pPr/>
              <a:t>‹#›</a:t>
            </a:fld>
            <a:endParaRPr lang="en-GB"/>
          </a:p>
        </p:txBody>
      </p:sp>
      <p:sp>
        <p:nvSpPr>
          <p:cNvPr id="5" name="Footer Placeholder 4">
            <a:extLst>
              <a:ext uri="{FF2B5EF4-FFF2-40B4-BE49-F238E27FC236}">
                <a16:creationId xmlns:a16="http://schemas.microsoft.com/office/drawing/2014/main" id="{59B1EC6A-3BD0-4B5C-BE35-1BCA9ED185C5}"/>
              </a:ext>
            </a:extLst>
          </p:cNvPr>
          <p:cNvSpPr>
            <a:spLocks noGrp="1"/>
          </p:cNvSpPr>
          <p:nvPr>
            <p:ph type="ftr" sz="quarter" idx="11"/>
          </p:nvPr>
        </p:nvSpPr>
        <p:spPr/>
        <p:txBody>
          <a:bodyPr/>
          <a:lstStyle>
            <a:lvl1pPr>
              <a:defRPr>
                <a:solidFill>
                  <a:srgbClr val="666666"/>
                </a:solidFill>
              </a:defRPr>
            </a:lvl1pPr>
          </a:lstStyle>
          <a:p>
            <a:endParaRPr lang="en-GB"/>
          </a:p>
        </p:txBody>
      </p:sp>
      <p:pic>
        <p:nvPicPr>
          <p:cNvPr id="14" name="Picture 13">
            <a:extLst>
              <a:ext uri="{FF2B5EF4-FFF2-40B4-BE49-F238E27FC236}">
                <a16:creationId xmlns:a16="http://schemas.microsoft.com/office/drawing/2014/main" id="{2273D6EB-D73B-CC4A-A934-10622CEBC4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
        <p:nvSpPr>
          <p:cNvPr id="17" name="Source Placeholder 7">
            <a:extLst>
              <a:ext uri="{FF2B5EF4-FFF2-40B4-BE49-F238E27FC236}">
                <a16:creationId xmlns:a16="http://schemas.microsoft.com/office/drawing/2014/main" id="{B74E5D1D-9487-9342-8312-B55B044EE52D}"/>
              </a:ext>
            </a:extLst>
          </p:cNvPr>
          <p:cNvSpPr>
            <a:spLocks noGrp="1"/>
          </p:cNvSpPr>
          <p:nvPr>
            <p:ph type="body" sz="quarter" idx="22"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sz="800" b="0">
                <a:solidFill>
                  <a:srgbClr val="666666"/>
                </a:solidFill>
              </a:defRPr>
            </a:lvl1pPr>
            <a:lvl2pPr>
              <a:spcAft>
                <a:spcPts val="200"/>
              </a:spcAft>
              <a:defRPr sz="800">
                <a:solidFill>
                  <a:srgbClr val="666666"/>
                </a:solidFill>
              </a:defRPr>
            </a:lvl2pPr>
            <a:lvl3pPr marL="0" indent="0">
              <a:spcAft>
                <a:spcPts val="200"/>
              </a:spcAft>
              <a:buNone/>
              <a:defRPr sz="1000" b="1">
                <a:solidFill>
                  <a:srgbClr val="666666"/>
                </a:solidFill>
              </a:defRPr>
            </a:lvl3pPr>
            <a:lvl4pPr marL="252000">
              <a:spcAft>
                <a:spcPts val="200"/>
              </a:spcAft>
              <a:defRPr sz="800">
                <a:solidFill>
                  <a:srgbClr val="666666"/>
                </a:solidFill>
              </a:defRPr>
            </a:lvl4pPr>
            <a:lvl5pPr marL="504000">
              <a:spcAft>
                <a:spcPts val="200"/>
              </a:spcAft>
              <a:defRPr sz="800">
                <a:solidFill>
                  <a:srgbClr val="666666"/>
                </a:solidFill>
              </a:defRPr>
            </a:lvl5pPr>
          </a:lstStyle>
          <a:p>
            <a:pPr lvl="0"/>
            <a:r>
              <a:rPr lang="en-US"/>
              <a:t>Source goes here, aligned to the bottom guide.</a:t>
            </a:r>
          </a:p>
        </p:txBody>
      </p:sp>
    </p:spTree>
    <p:extLst>
      <p:ext uri="{BB962C8B-B14F-4D97-AF65-F5344CB8AC3E}">
        <p14:creationId xmlns:p14="http://schemas.microsoft.com/office/powerpoint/2010/main" val="861784890"/>
      </p:ext>
    </p:extLst>
  </p:cSld>
  <p:clrMapOvr>
    <a:masterClrMapping/>
  </p:clrMapOvr>
  <p:transition>
    <p:fade/>
  </p:transition>
  <p:extLst>
    <p:ext uri="{DCECCB84-F9BA-43D5-87BE-67443E8EF086}">
      <p15:sldGuideLst xmlns:p15="http://schemas.microsoft.com/office/powerpoint/2012/main">
        <p15:guide id="1" pos="4981">
          <p15:clr>
            <a:srgbClr val="FBAE40"/>
          </p15:clr>
        </p15:guide>
        <p15:guide id="3" pos="5209">
          <p15:clr>
            <a:srgbClr val="FBAE40"/>
          </p15:clr>
        </p15:guide>
        <p15:guide id="4" pos="2711">
          <p15:clr>
            <a:srgbClr val="FBAE40"/>
          </p15:clr>
        </p15:guide>
        <p15:guide id="5" pos="2939">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Four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6437434-BB22-40C5-BDD9-E53C1C6F8699}"/>
              </a:ext>
            </a:extLst>
          </p:cNvPr>
          <p:cNvSpPr>
            <a:spLocks noGrp="1"/>
          </p:cNvSpPr>
          <p:nvPr>
            <p:ph idx="1"/>
          </p:nvPr>
        </p:nvSpPr>
        <p:spPr>
          <a:xfrm>
            <a:off x="1095356" y="3288611"/>
            <a:ext cx="2350800" cy="2099232"/>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9B1EC6A-3BD0-4B5C-BE35-1BCA9ED185C5}"/>
              </a:ext>
            </a:extLst>
          </p:cNvPr>
          <p:cNvSpPr>
            <a:spLocks noGrp="1"/>
          </p:cNvSpPr>
          <p:nvPr>
            <p:ph type="ftr" sz="quarter" idx="11"/>
          </p:nvPr>
        </p:nvSpPr>
        <p:spPr/>
        <p:txBody>
          <a:bodyPr/>
          <a:lstStyle>
            <a:lvl1pPr>
              <a:defRPr>
                <a:solidFill>
                  <a:srgbClr val="666666"/>
                </a:solidFill>
              </a:defRPr>
            </a:lvl1pPr>
          </a:lstStyle>
          <a:p>
            <a:endParaRPr lang="en-GB"/>
          </a:p>
        </p:txBody>
      </p:sp>
      <p:sp>
        <p:nvSpPr>
          <p:cNvPr id="6" name="Slide Number Placeholder 5">
            <a:extLst>
              <a:ext uri="{FF2B5EF4-FFF2-40B4-BE49-F238E27FC236}">
                <a16:creationId xmlns:a16="http://schemas.microsoft.com/office/drawing/2014/main" id="{31DEADBF-011F-417A-A20B-D5A1B678975B}"/>
              </a:ext>
            </a:extLst>
          </p:cNvPr>
          <p:cNvSpPr>
            <a:spLocks noGrp="1"/>
          </p:cNvSpPr>
          <p:nvPr>
            <p:ph type="sldNum" sz="quarter" idx="12"/>
          </p:nvPr>
        </p:nvSpPr>
        <p:spPr/>
        <p:txBody>
          <a:bodyPr/>
          <a:lstStyle>
            <a:lvl1pPr>
              <a:defRPr>
                <a:solidFill>
                  <a:srgbClr val="666666"/>
                </a:solidFill>
              </a:defRPr>
            </a:lvl1pPr>
          </a:lstStyle>
          <a:p>
            <a:fld id="{54B1A0A0-1014-43B9-AECC-F6512CB9E662}" type="slidenum">
              <a:rPr lang="en-GB" smtClean="0"/>
              <a:pPr/>
              <a:t>‹#›</a:t>
            </a:fld>
            <a:endParaRPr lang="en-GB"/>
          </a:p>
        </p:txBody>
      </p:sp>
      <p:sp>
        <p:nvSpPr>
          <p:cNvPr id="7" name="Content Placeholder 2">
            <a:extLst>
              <a:ext uri="{FF2B5EF4-FFF2-40B4-BE49-F238E27FC236}">
                <a16:creationId xmlns:a16="http://schemas.microsoft.com/office/drawing/2014/main" id="{47702F81-A449-4BEA-8D9A-838B13458D55}"/>
              </a:ext>
            </a:extLst>
          </p:cNvPr>
          <p:cNvSpPr>
            <a:spLocks noGrp="1"/>
          </p:cNvSpPr>
          <p:nvPr>
            <p:ph idx="13"/>
          </p:nvPr>
        </p:nvSpPr>
        <p:spPr>
          <a:xfrm>
            <a:off x="9136742" y="3288611"/>
            <a:ext cx="2350800" cy="2099232"/>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8">
            <a:extLst>
              <a:ext uri="{FF2B5EF4-FFF2-40B4-BE49-F238E27FC236}">
                <a16:creationId xmlns:a16="http://schemas.microsoft.com/office/drawing/2014/main" id="{F55DF1F9-3B3A-49C1-9C10-A08225539954}"/>
              </a:ext>
            </a:extLst>
          </p:cNvPr>
          <p:cNvSpPr>
            <a:spLocks noGrp="1"/>
          </p:cNvSpPr>
          <p:nvPr>
            <p:ph type="body" sz="quarter" idx="14"/>
          </p:nvPr>
        </p:nvSpPr>
        <p:spPr>
          <a:xfrm>
            <a:off x="1095356" y="2813411"/>
            <a:ext cx="2350800" cy="398462"/>
          </a:xfrm>
        </p:spPr>
        <p:txBody>
          <a:bodyPr/>
          <a:lstStyle>
            <a:lvl1pPr>
              <a:defRPr b="1">
                <a:solidFill>
                  <a:srgbClr val="444444"/>
                </a:solidFill>
              </a:defRPr>
            </a:lvl1pPr>
          </a:lstStyle>
          <a:p>
            <a:pPr lvl="0"/>
            <a:r>
              <a:rPr lang="en-US"/>
              <a:t>Click to edit Master text styles</a:t>
            </a:r>
          </a:p>
        </p:txBody>
      </p:sp>
      <p:sp>
        <p:nvSpPr>
          <p:cNvPr id="10" name="Text Placeholder 8">
            <a:extLst>
              <a:ext uri="{FF2B5EF4-FFF2-40B4-BE49-F238E27FC236}">
                <a16:creationId xmlns:a16="http://schemas.microsoft.com/office/drawing/2014/main" id="{4EDA9448-A967-4DFE-B980-1899F1A424F8}"/>
              </a:ext>
            </a:extLst>
          </p:cNvPr>
          <p:cNvSpPr>
            <a:spLocks noGrp="1"/>
          </p:cNvSpPr>
          <p:nvPr>
            <p:ph type="body" sz="quarter" idx="15"/>
          </p:nvPr>
        </p:nvSpPr>
        <p:spPr>
          <a:xfrm>
            <a:off x="9136742" y="2813411"/>
            <a:ext cx="2350800" cy="398462"/>
          </a:xfrm>
        </p:spPr>
        <p:txBody>
          <a:bodyPr/>
          <a:lstStyle>
            <a:lvl1pPr>
              <a:defRPr b="1">
                <a:solidFill>
                  <a:srgbClr val="444444"/>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1177C840-EDD7-475A-992A-D85652036FC7}"/>
              </a:ext>
            </a:extLst>
          </p:cNvPr>
          <p:cNvSpPr>
            <a:spLocks noGrp="1"/>
          </p:cNvSpPr>
          <p:nvPr>
            <p:ph idx="16"/>
          </p:nvPr>
        </p:nvSpPr>
        <p:spPr>
          <a:xfrm>
            <a:off x="3776132" y="3288612"/>
            <a:ext cx="2350800" cy="2099232"/>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4497E4FF-104E-43CA-B0AE-EBB0AAD0A499}"/>
              </a:ext>
            </a:extLst>
          </p:cNvPr>
          <p:cNvSpPr>
            <a:spLocks noGrp="1"/>
          </p:cNvSpPr>
          <p:nvPr>
            <p:ph type="body" sz="quarter" idx="17"/>
          </p:nvPr>
        </p:nvSpPr>
        <p:spPr>
          <a:xfrm>
            <a:off x="3776132" y="2813412"/>
            <a:ext cx="2350800" cy="398462"/>
          </a:xfrm>
        </p:spPr>
        <p:txBody>
          <a:bodyPr/>
          <a:lstStyle>
            <a:lvl1pPr>
              <a:defRPr b="1">
                <a:solidFill>
                  <a:srgbClr val="444444"/>
                </a:solidFill>
              </a:defRPr>
            </a:lvl1pPr>
          </a:lstStyle>
          <a:p>
            <a:pPr lvl="0"/>
            <a:r>
              <a:rPr lang="en-US"/>
              <a:t>Click to edit Master text styles</a:t>
            </a:r>
          </a:p>
        </p:txBody>
      </p:sp>
      <p:sp>
        <p:nvSpPr>
          <p:cNvPr id="13" name="Content Placeholder 2">
            <a:extLst>
              <a:ext uri="{FF2B5EF4-FFF2-40B4-BE49-F238E27FC236}">
                <a16:creationId xmlns:a16="http://schemas.microsoft.com/office/drawing/2014/main" id="{57C3E5C9-FFDC-48E1-983C-D06510E53083}"/>
              </a:ext>
            </a:extLst>
          </p:cNvPr>
          <p:cNvSpPr>
            <a:spLocks noGrp="1"/>
          </p:cNvSpPr>
          <p:nvPr>
            <p:ph idx="18"/>
          </p:nvPr>
        </p:nvSpPr>
        <p:spPr>
          <a:xfrm>
            <a:off x="6445552" y="3288612"/>
            <a:ext cx="2350800" cy="2099232"/>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4B81CDB4-CB84-4B87-B993-F43DE1B4A6F3}"/>
              </a:ext>
            </a:extLst>
          </p:cNvPr>
          <p:cNvSpPr>
            <a:spLocks noGrp="1"/>
          </p:cNvSpPr>
          <p:nvPr>
            <p:ph type="body" sz="quarter" idx="19"/>
          </p:nvPr>
        </p:nvSpPr>
        <p:spPr>
          <a:xfrm>
            <a:off x="6445552" y="2813412"/>
            <a:ext cx="2350800" cy="398462"/>
          </a:xfrm>
        </p:spPr>
        <p:txBody>
          <a:bodyPr/>
          <a:lstStyle>
            <a:lvl1pPr>
              <a:defRPr b="1">
                <a:solidFill>
                  <a:srgbClr val="444444"/>
                </a:solidFill>
              </a:defRPr>
            </a:lvl1pPr>
          </a:lstStyle>
          <a:p>
            <a:pPr lvl="0"/>
            <a:r>
              <a:rPr lang="en-US"/>
              <a:t>Click to edit Master text styles</a:t>
            </a:r>
          </a:p>
        </p:txBody>
      </p:sp>
      <p:sp>
        <p:nvSpPr>
          <p:cNvPr id="20" name="Picture Placeholder 19">
            <a:extLst>
              <a:ext uri="{FF2B5EF4-FFF2-40B4-BE49-F238E27FC236}">
                <a16:creationId xmlns:a16="http://schemas.microsoft.com/office/drawing/2014/main" id="{B3807BA9-A77F-1142-BA26-16A527B9F90C}"/>
              </a:ext>
            </a:extLst>
          </p:cNvPr>
          <p:cNvSpPr>
            <a:spLocks noGrp="1"/>
          </p:cNvSpPr>
          <p:nvPr>
            <p:ph type="pic" sz="quarter" idx="20"/>
          </p:nvPr>
        </p:nvSpPr>
        <p:spPr>
          <a:xfrm>
            <a:off x="1095356" y="1629342"/>
            <a:ext cx="946150" cy="947737"/>
          </a:xfrm>
        </p:spPr>
        <p:txBody>
          <a:bodyPr/>
          <a:lstStyle>
            <a:lvl1pPr>
              <a:defRPr>
                <a:solidFill>
                  <a:srgbClr val="666666"/>
                </a:solidFill>
              </a:defRPr>
            </a:lvl1pPr>
          </a:lstStyle>
          <a:p>
            <a:r>
              <a:rPr lang="en-US"/>
              <a:t>Click icon to add picture</a:t>
            </a:r>
          </a:p>
        </p:txBody>
      </p:sp>
      <p:sp>
        <p:nvSpPr>
          <p:cNvPr id="21" name="Picture Placeholder 19">
            <a:extLst>
              <a:ext uri="{FF2B5EF4-FFF2-40B4-BE49-F238E27FC236}">
                <a16:creationId xmlns:a16="http://schemas.microsoft.com/office/drawing/2014/main" id="{313FA050-354A-334E-A73D-E1A419BBEDD2}"/>
              </a:ext>
            </a:extLst>
          </p:cNvPr>
          <p:cNvSpPr>
            <a:spLocks noGrp="1"/>
          </p:cNvSpPr>
          <p:nvPr>
            <p:ph type="pic" sz="quarter" idx="21"/>
          </p:nvPr>
        </p:nvSpPr>
        <p:spPr>
          <a:xfrm>
            <a:off x="3776132" y="1629342"/>
            <a:ext cx="946150" cy="947737"/>
          </a:xfrm>
        </p:spPr>
        <p:txBody>
          <a:bodyPr/>
          <a:lstStyle>
            <a:lvl1pPr>
              <a:defRPr>
                <a:solidFill>
                  <a:srgbClr val="666666"/>
                </a:solidFill>
              </a:defRPr>
            </a:lvl1pPr>
          </a:lstStyle>
          <a:p>
            <a:r>
              <a:rPr lang="en-US"/>
              <a:t>Click icon to add picture</a:t>
            </a:r>
          </a:p>
        </p:txBody>
      </p:sp>
      <p:sp>
        <p:nvSpPr>
          <p:cNvPr id="22" name="Picture Placeholder 19">
            <a:extLst>
              <a:ext uri="{FF2B5EF4-FFF2-40B4-BE49-F238E27FC236}">
                <a16:creationId xmlns:a16="http://schemas.microsoft.com/office/drawing/2014/main" id="{35600BB0-7022-7C4D-8DB3-22B3D7785367}"/>
              </a:ext>
            </a:extLst>
          </p:cNvPr>
          <p:cNvSpPr>
            <a:spLocks noGrp="1"/>
          </p:cNvSpPr>
          <p:nvPr>
            <p:ph type="pic" sz="quarter" idx="22"/>
          </p:nvPr>
        </p:nvSpPr>
        <p:spPr>
          <a:xfrm>
            <a:off x="6445552" y="1629342"/>
            <a:ext cx="946150" cy="947737"/>
          </a:xfrm>
        </p:spPr>
        <p:txBody>
          <a:bodyPr/>
          <a:lstStyle>
            <a:lvl1pPr>
              <a:defRPr>
                <a:solidFill>
                  <a:srgbClr val="666666"/>
                </a:solidFill>
              </a:defRPr>
            </a:lvl1pPr>
          </a:lstStyle>
          <a:p>
            <a:r>
              <a:rPr lang="en-US"/>
              <a:t>Click icon to add picture</a:t>
            </a:r>
          </a:p>
        </p:txBody>
      </p:sp>
      <p:sp>
        <p:nvSpPr>
          <p:cNvPr id="23" name="Picture Placeholder 19">
            <a:extLst>
              <a:ext uri="{FF2B5EF4-FFF2-40B4-BE49-F238E27FC236}">
                <a16:creationId xmlns:a16="http://schemas.microsoft.com/office/drawing/2014/main" id="{7E5A0E22-3A94-D741-827E-9DF824588ED7}"/>
              </a:ext>
            </a:extLst>
          </p:cNvPr>
          <p:cNvSpPr>
            <a:spLocks noGrp="1"/>
          </p:cNvSpPr>
          <p:nvPr>
            <p:ph type="pic" sz="quarter" idx="23"/>
          </p:nvPr>
        </p:nvSpPr>
        <p:spPr>
          <a:xfrm>
            <a:off x="9136742" y="1629342"/>
            <a:ext cx="946150" cy="947737"/>
          </a:xfrm>
        </p:spPr>
        <p:txBody>
          <a:bodyPr/>
          <a:lstStyle>
            <a:lvl1pPr>
              <a:defRPr>
                <a:solidFill>
                  <a:srgbClr val="666666"/>
                </a:solidFill>
              </a:defRPr>
            </a:lvl1pPr>
          </a:lstStyle>
          <a:p>
            <a:r>
              <a:rPr lang="en-US"/>
              <a:t>Click icon to add picture</a:t>
            </a:r>
          </a:p>
        </p:txBody>
      </p:sp>
      <p:sp>
        <p:nvSpPr>
          <p:cNvPr id="19" name="Google Shape;170;p15">
            <a:extLst>
              <a:ext uri="{FF2B5EF4-FFF2-40B4-BE49-F238E27FC236}">
                <a16:creationId xmlns:a16="http://schemas.microsoft.com/office/drawing/2014/main" id="{7F011610-15BC-5940-A367-FDE665B1542B}"/>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24" name="Title 1">
            <a:extLst>
              <a:ext uri="{FF2B5EF4-FFF2-40B4-BE49-F238E27FC236}">
                <a16:creationId xmlns:a16="http://schemas.microsoft.com/office/drawing/2014/main" id="{839C2C9A-B0B6-A746-BED0-79377BC821F7}"/>
              </a:ext>
            </a:extLst>
          </p:cNvPr>
          <p:cNvSpPr>
            <a:spLocks noGrp="1"/>
          </p:cNvSpPr>
          <p:nvPr>
            <p:ph type="title"/>
          </p:nvPr>
        </p:nvSpPr>
        <p:spPr>
          <a:xfrm>
            <a:off x="1095356" y="123751"/>
            <a:ext cx="10404000" cy="1069095"/>
          </a:xfrm>
        </p:spPr>
        <p:txBody>
          <a:bodyPr anchor="ctr"/>
          <a:lstStyle>
            <a:lvl1pPr>
              <a:defRPr sz="3600">
                <a:solidFill>
                  <a:srgbClr val="444444"/>
                </a:solidFill>
              </a:defRPr>
            </a:lvl1pPr>
          </a:lstStyle>
          <a:p>
            <a:r>
              <a:rPr lang="en-US"/>
              <a:t>Click to edit Master title style</a:t>
            </a:r>
            <a:endParaRPr lang="en-GB"/>
          </a:p>
        </p:txBody>
      </p:sp>
      <p:pic>
        <p:nvPicPr>
          <p:cNvPr id="25" name="Picture 24">
            <a:extLst>
              <a:ext uri="{FF2B5EF4-FFF2-40B4-BE49-F238E27FC236}">
                <a16:creationId xmlns:a16="http://schemas.microsoft.com/office/drawing/2014/main" id="{5AB087F3-E797-DA4A-9A1F-FC75F1DD55B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
        <p:nvSpPr>
          <p:cNvPr id="26" name="Source Placeholder 7">
            <a:extLst>
              <a:ext uri="{FF2B5EF4-FFF2-40B4-BE49-F238E27FC236}">
                <a16:creationId xmlns:a16="http://schemas.microsoft.com/office/drawing/2014/main" id="{9D962A03-A0DB-1642-A607-55E8C45F1B72}"/>
              </a:ext>
            </a:extLst>
          </p:cNvPr>
          <p:cNvSpPr>
            <a:spLocks noGrp="1"/>
          </p:cNvSpPr>
          <p:nvPr>
            <p:ph type="body" sz="quarter" idx="24"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sz="800" b="0">
                <a:solidFill>
                  <a:srgbClr val="666666"/>
                </a:solidFill>
              </a:defRPr>
            </a:lvl1pPr>
            <a:lvl2pPr>
              <a:spcAft>
                <a:spcPts val="200"/>
              </a:spcAft>
              <a:defRPr sz="800">
                <a:solidFill>
                  <a:srgbClr val="666666"/>
                </a:solidFill>
              </a:defRPr>
            </a:lvl2pPr>
            <a:lvl3pPr marL="0" indent="0">
              <a:spcAft>
                <a:spcPts val="200"/>
              </a:spcAft>
              <a:buNone/>
              <a:defRPr sz="1000" b="1">
                <a:solidFill>
                  <a:srgbClr val="666666"/>
                </a:solidFill>
              </a:defRPr>
            </a:lvl3pPr>
            <a:lvl4pPr marL="252000">
              <a:spcAft>
                <a:spcPts val="200"/>
              </a:spcAft>
              <a:defRPr sz="800">
                <a:solidFill>
                  <a:srgbClr val="666666"/>
                </a:solidFill>
              </a:defRPr>
            </a:lvl4pPr>
            <a:lvl5pPr marL="504000">
              <a:spcAft>
                <a:spcPts val="200"/>
              </a:spcAft>
              <a:defRPr sz="800">
                <a:solidFill>
                  <a:srgbClr val="666666"/>
                </a:solidFill>
              </a:defRPr>
            </a:lvl5pPr>
          </a:lstStyle>
          <a:p>
            <a:pPr lvl="0"/>
            <a:r>
              <a:rPr lang="en-US"/>
              <a:t>Source goes here, aligned to the bottom guide.</a:t>
            </a:r>
          </a:p>
        </p:txBody>
      </p:sp>
    </p:spTree>
    <p:extLst>
      <p:ext uri="{BB962C8B-B14F-4D97-AF65-F5344CB8AC3E}">
        <p14:creationId xmlns:p14="http://schemas.microsoft.com/office/powerpoint/2010/main" val="2766329051"/>
      </p:ext>
    </p:extLst>
  </p:cSld>
  <p:clrMapOvr>
    <a:masterClrMapping/>
  </p:clrMapOvr>
  <p:transition>
    <p:fade/>
  </p:transition>
  <p:extLst>
    <p:ext uri="{DCECCB84-F9BA-43D5-87BE-67443E8EF086}">
      <p15:sldGuideLst xmlns:p15="http://schemas.microsoft.com/office/powerpoint/2012/main">
        <p15:guide id="1" pos="5557">
          <p15:clr>
            <a:srgbClr val="FBAE40"/>
          </p15:clr>
        </p15:guide>
        <p15:guide id="3" pos="2177">
          <p15:clr>
            <a:srgbClr val="FBAE40"/>
          </p15:clr>
        </p15:guide>
        <p15:guide id="4" pos="2372">
          <p15:clr>
            <a:srgbClr val="FBAE40"/>
          </p15:clr>
        </p15:guide>
        <p15:guide id="5" pos="3863">
          <p15:clr>
            <a:srgbClr val="FBAE40"/>
          </p15:clr>
        </p15:guide>
        <p15:guide id="6" pos="4057">
          <p15:clr>
            <a:srgbClr val="FBAE40"/>
          </p15:clr>
        </p15:guide>
        <p15:guide id="7" pos="57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mage Agenda 2">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7FE991-A877-4767-B1CA-512FB5B04D95}"/>
              </a:ext>
            </a:extLst>
          </p:cNvPr>
          <p:cNvSpPr>
            <a:spLocks noGrp="1"/>
          </p:cNvSpPr>
          <p:nvPr>
            <p:ph type="title" hasCustomPrompt="1"/>
          </p:nvPr>
        </p:nvSpPr>
        <p:spPr>
          <a:xfrm>
            <a:off x="511176" y="1600200"/>
            <a:ext cx="2971798" cy="525463"/>
          </a:xfrm>
        </p:spPr>
        <p:txBody>
          <a:bodyPr/>
          <a:lstStyle>
            <a:lvl1pPr>
              <a:defRPr>
                <a:solidFill>
                  <a:schemeClr val="tx1"/>
                </a:solidFill>
              </a:defRPr>
            </a:lvl1pPr>
          </a:lstStyle>
          <a:p>
            <a:r>
              <a:rPr lang="en-GB"/>
              <a:t>Agenda</a:t>
            </a:r>
          </a:p>
        </p:txBody>
      </p:sp>
      <p:sp>
        <p:nvSpPr>
          <p:cNvPr id="75" name="Agenda Placeholder">
            <a:extLst>
              <a:ext uri="{FF2B5EF4-FFF2-40B4-BE49-F238E27FC236}">
                <a16:creationId xmlns:a16="http://schemas.microsoft.com/office/drawing/2014/main" id="{0F20E8DD-88E2-4435-A814-208BF59AA4AF}"/>
              </a:ext>
            </a:extLst>
          </p:cNvPr>
          <p:cNvSpPr>
            <a:spLocks noGrp="1"/>
          </p:cNvSpPr>
          <p:nvPr>
            <p:ph type="body" sz="quarter" idx="10" hasCustomPrompt="1"/>
          </p:nvPr>
        </p:nvSpPr>
        <p:spPr>
          <a:xfrm>
            <a:off x="511175" y="2227263"/>
            <a:ext cx="2971799" cy="4154487"/>
          </a:xfrm>
        </p:spPr>
        <p:txBody>
          <a:bodyPr/>
          <a:lstStyle>
            <a:lvl1pPr marL="342900" indent="-342900">
              <a:lnSpc>
                <a:spcPct val="100000"/>
              </a:lnSpc>
              <a:spcBef>
                <a:spcPts val="0"/>
              </a:spcBef>
              <a:spcAft>
                <a:spcPts val="600"/>
              </a:spcAft>
              <a:buFont typeface="+mj-lt"/>
              <a:buAutoNum type="arabicPlain"/>
              <a:tabLst/>
              <a:defRPr sz="1600">
                <a:solidFill>
                  <a:schemeClr val="tx1"/>
                </a:solidFill>
                <a:latin typeface="+mn-lt"/>
              </a:defRPr>
            </a:lvl1pPr>
            <a:lvl2pPr marL="514350" indent="-171450">
              <a:buFont typeface="Calibre" panose="020B0503030202060203" pitchFamily="34" charset="0"/>
              <a:buChar char="–"/>
              <a:defRPr sz="1200">
                <a:solidFill>
                  <a:schemeClr val="tx1"/>
                </a:solidFill>
                <a:latin typeface="+mn-lt"/>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Agenda item</a:t>
            </a:r>
          </a:p>
          <a:p>
            <a:pPr lvl="1"/>
            <a:r>
              <a:rPr lang="en-GB"/>
              <a:t>Second level</a:t>
            </a:r>
          </a:p>
          <a:p>
            <a:pPr lvl="2"/>
            <a:r>
              <a:rPr lang="en-GB"/>
              <a:t>Third level</a:t>
            </a:r>
          </a:p>
          <a:p>
            <a:pPr lvl="3"/>
            <a:r>
              <a:rPr lang="en-GB"/>
              <a:t>Fourth level</a:t>
            </a:r>
          </a:p>
          <a:p>
            <a:pPr lvl="4"/>
            <a:r>
              <a:rPr lang="en-GB"/>
              <a:t>Fifth level</a:t>
            </a:r>
          </a:p>
        </p:txBody>
      </p:sp>
      <p:sp>
        <p:nvSpPr>
          <p:cNvPr id="6" name="Picture Placeholder 5">
            <a:extLst>
              <a:ext uri="{FF2B5EF4-FFF2-40B4-BE49-F238E27FC236}">
                <a16:creationId xmlns:a16="http://schemas.microsoft.com/office/drawing/2014/main" id="{627EE949-DAB3-4E3E-BACE-0854D8E22185}"/>
              </a:ext>
            </a:extLst>
          </p:cNvPr>
          <p:cNvSpPr>
            <a:spLocks noGrp="1"/>
          </p:cNvSpPr>
          <p:nvPr>
            <p:ph type="pic" sz="quarter" idx="11"/>
          </p:nvPr>
        </p:nvSpPr>
        <p:spPr>
          <a:xfrm>
            <a:off x="3584575" y="1601789"/>
            <a:ext cx="8094663" cy="4779962"/>
          </a:xfrm>
        </p:spPr>
        <p:txBody>
          <a:bodyPr/>
          <a:lstStyle/>
          <a:p>
            <a:r>
              <a:rPr lang="en-GB" dirty="0"/>
              <a:t>Click icon to add picture</a:t>
            </a:r>
          </a:p>
        </p:txBody>
      </p:sp>
    </p:spTree>
    <p:extLst>
      <p:ext uri="{BB962C8B-B14F-4D97-AF65-F5344CB8AC3E}">
        <p14:creationId xmlns:p14="http://schemas.microsoft.com/office/powerpoint/2010/main" val="846470297"/>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Divider Slide Light">
    <p:bg>
      <p:bgPr>
        <a:solidFill>
          <a:schemeClr val="bg1"/>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6CEDEF3E-5198-F24C-AAAA-69E5E4F8BE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97500" y="0"/>
            <a:ext cx="6794500" cy="6858000"/>
          </a:xfrm>
          <a:prstGeom prst="rect">
            <a:avLst/>
          </a:prstGeom>
        </p:spPr>
      </p:pic>
      <p:sp>
        <p:nvSpPr>
          <p:cNvPr id="2" name="Title 1">
            <a:extLst>
              <a:ext uri="{FF2B5EF4-FFF2-40B4-BE49-F238E27FC236}">
                <a16:creationId xmlns:a16="http://schemas.microsoft.com/office/drawing/2014/main" id="{99B31A7C-542A-4545-9E04-E38BD247503D}"/>
              </a:ext>
            </a:extLst>
          </p:cNvPr>
          <p:cNvSpPr>
            <a:spLocks noGrp="1"/>
          </p:cNvSpPr>
          <p:nvPr>
            <p:ph type="title"/>
          </p:nvPr>
        </p:nvSpPr>
        <p:spPr>
          <a:xfrm>
            <a:off x="1099106" y="3436526"/>
            <a:ext cx="4572000" cy="1880471"/>
          </a:xfrm>
        </p:spPr>
        <p:txBody>
          <a:bodyPr anchor="b"/>
          <a:lstStyle>
            <a:lvl1pPr>
              <a:lnSpc>
                <a:spcPct val="100000"/>
              </a:lnSpc>
              <a:defRPr sz="3600">
                <a:solidFill>
                  <a:srgbClr val="444444"/>
                </a:solidFill>
              </a:defRPr>
            </a:lvl1pPr>
            <a:lvl2pPr>
              <a:defRPr sz="3600" b="1">
                <a:latin typeface="+mn-lt"/>
              </a:defRPr>
            </a:lvl2pPr>
            <a:lvl3pPr>
              <a:defRPr sz="2800"/>
            </a:lvl3p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4FE3AC6C-1A0E-4706-8193-6A65C54EE764}"/>
              </a:ext>
            </a:extLst>
          </p:cNvPr>
          <p:cNvSpPr>
            <a:spLocks noGrp="1"/>
          </p:cNvSpPr>
          <p:nvPr>
            <p:ph type="body" idx="1"/>
          </p:nvPr>
        </p:nvSpPr>
        <p:spPr>
          <a:xfrm>
            <a:off x="1099106" y="5976000"/>
            <a:ext cx="4572000" cy="440675"/>
          </a:xfrm>
        </p:spPr>
        <p:txBody>
          <a:bodyPr/>
          <a:lstStyle>
            <a:lvl1pPr marL="0" indent="0">
              <a:buNone/>
              <a:defRPr sz="2000">
                <a:solidFill>
                  <a:srgbClr val="666666"/>
                </a:solidFill>
              </a:defRPr>
            </a:lvl1pPr>
            <a:lvl2pPr marL="0" indent="0">
              <a:buNone/>
              <a:defRPr sz="1800" b="0">
                <a:solidFill>
                  <a:srgbClr val="666666"/>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Google Shape;191;p17">
            <a:extLst>
              <a:ext uri="{FF2B5EF4-FFF2-40B4-BE49-F238E27FC236}">
                <a16:creationId xmlns:a16="http://schemas.microsoft.com/office/drawing/2014/main" id="{0DA1802E-7696-4EE9-83C9-C0ABC185DB6A}"/>
              </a:ext>
            </a:extLst>
          </p:cNvPr>
          <p:cNvSpPr/>
          <p:nvPr userDrawn="1"/>
        </p:nvSpPr>
        <p:spPr>
          <a:xfrm>
            <a:off x="1099399" y="565011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grpSp>
        <p:nvGrpSpPr>
          <p:cNvPr id="30" name="Google Shape;21;p2">
            <a:extLst>
              <a:ext uri="{FF2B5EF4-FFF2-40B4-BE49-F238E27FC236}">
                <a16:creationId xmlns:a16="http://schemas.microsoft.com/office/drawing/2014/main" id="{F811F8B4-432A-CC42-9EA5-E6E43F39D160}"/>
              </a:ext>
            </a:extLst>
          </p:cNvPr>
          <p:cNvGrpSpPr/>
          <p:nvPr userDrawn="1"/>
        </p:nvGrpSpPr>
        <p:grpSpPr>
          <a:xfrm>
            <a:off x="1099106" y="-14"/>
            <a:ext cx="958858" cy="1185166"/>
            <a:chOff x="4763500" y="1239650"/>
            <a:chExt cx="2618400" cy="3235799"/>
          </a:xfrm>
        </p:grpSpPr>
        <p:sp>
          <p:nvSpPr>
            <p:cNvPr id="31" name="Google Shape;22;p2">
              <a:extLst>
                <a:ext uri="{FF2B5EF4-FFF2-40B4-BE49-F238E27FC236}">
                  <a16:creationId xmlns:a16="http://schemas.microsoft.com/office/drawing/2014/main" id="{0CE3A472-E00A-4E43-A9E1-AE7062A1929E}"/>
                </a:ext>
              </a:extLst>
            </p:cNvPr>
            <p:cNvSpPr/>
            <p:nvPr/>
          </p:nvSpPr>
          <p:spPr>
            <a:xfrm>
              <a:off x="4763500" y="1239650"/>
              <a:ext cx="2618400" cy="3235799"/>
            </a:xfrm>
            <a:custGeom>
              <a:avLst/>
              <a:gdLst/>
              <a:ahLst/>
              <a:cxnLst/>
              <a:rect l="l" t="t" r="r" b="b"/>
              <a:pathLst>
                <a:path w="120000" h="120000" extrusionOk="0">
                  <a:moveTo>
                    <a:pt x="0" y="0"/>
                  </a:moveTo>
                  <a:lnTo>
                    <a:pt x="0" y="120000"/>
                  </a:lnTo>
                  <a:lnTo>
                    <a:pt x="120000" y="120000"/>
                  </a:lnTo>
                  <a:lnTo>
                    <a:pt x="120000" y="0"/>
                  </a:lnTo>
                  <a:close/>
                </a:path>
              </a:pathLst>
            </a:custGeom>
            <a:solidFill>
              <a:srgbClr val="FFD9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nvGrpSpPr>
            <p:cNvPr id="32" name="Google Shape;23;p2">
              <a:extLst>
                <a:ext uri="{FF2B5EF4-FFF2-40B4-BE49-F238E27FC236}">
                  <a16:creationId xmlns:a16="http://schemas.microsoft.com/office/drawing/2014/main" id="{FEFD9D9E-6378-4446-98A4-1AB3C4B7D32C}"/>
                </a:ext>
              </a:extLst>
            </p:cNvPr>
            <p:cNvGrpSpPr/>
            <p:nvPr userDrawn="1"/>
          </p:nvGrpSpPr>
          <p:grpSpPr>
            <a:xfrm>
              <a:off x="5111949" y="2036274"/>
              <a:ext cx="1921499" cy="1642450"/>
              <a:chOff x="5111957" y="2036275"/>
              <a:chExt cx="1921504" cy="1642450"/>
            </a:xfrm>
          </p:grpSpPr>
          <p:sp>
            <p:nvSpPr>
              <p:cNvPr id="33" name="Google Shape;24;p2">
                <a:extLst>
                  <a:ext uri="{FF2B5EF4-FFF2-40B4-BE49-F238E27FC236}">
                    <a16:creationId xmlns:a16="http://schemas.microsoft.com/office/drawing/2014/main" id="{1C7F2690-2497-5941-8531-81F7BF2F8A6A}"/>
                  </a:ext>
                </a:extLst>
              </p:cNvPr>
              <p:cNvSpPr/>
              <p:nvPr/>
            </p:nvSpPr>
            <p:spPr>
              <a:xfrm>
                <a:off x="5111957" y="3461826"/>
                <a:ext cx="1921504" cy="216899"/>
              </a:xfrm>
              <a:custGeom>
                <a:avLst/>
                <a:gdLst/>
                <a:ahLst/>
                <a:cxnLst/>
                <a:rect l="l" t="t" r="r" b="b"/>
                <a:pathLst>
                  <a:path w="120000" h="120000" extrusionOk="0">
                    <a:moveTo>
                      <a:pt x="101489" y="17607"/>
                    </a:moveTo>
                    <a:lnTo>
                      <a:pt x="102301" y="18409"/>
                    </a:lnTo>
                    <a:lnTo>
                      <a:pt x="102933" y="20802"/>
                    </a:lnTo>
                    <a:lnTo>
                      <a:pt x="103205" y="22406"/>
                    </a:lnTo>
                    <a:lnTo>
                      <a:pt x="103475" y="24813"/>
                    </a:lnTo>
                    <a:lnTo>
                      <a:pt x="103565" y="27206"/>
                    </a:lnTo>
                    <a:lnTo>
                      <a:pt x="103747" y="29612"/>
                    </a:lnTo>
                    <a:lnTo>
                      <a:pt x="103836" y="36002"/>
                    </a:lnTo>
                    <a:lnTo>
                      <a:pt x="103747" y="40802"/>
                    </a:lnTo>
                    <a:lnTo>
                      <a:pt x="103565" y="45601"/>
                    </a:lnTo>
                    <a:lnTo>
                      <a:pt x="103294" y="48810"/>
                    </a:lnTo>
                    <a:lnTo>
                      <a:pt x="102933" y="52005"/>
                    </a:lnTo>
                    <a:lnTo>
                      <a:pt x="102482" y="54398"/>
                    </a:lnTo>
                    <a:lnTo>
                      <a:pt x="101850" y="56002"/>
                    </a:lnTo>
                    <a:lnTo>
                      <a:pt x="101127" y="56804"/>
                    </a:lnTo>
                    <a:lnTo>
                      <a:pt x="100315" y="57607"/>
                    </a:lnTo>
                    <a:lnTo>
                      <a:pt x="99231" y="56804"/>
                    </a:lnTo>
                    <a:lnTo>
                      <a:pt x="99231" y="17607"/>
                    </a:lnTo>
                    <a:close/>
                    <a:moveTo>
                      <a:pt x="85597" y="17607"/>
                    </a:moveTo>
                    <a:lnTo>
                      <a:pt x="86501" y="18409"/>
                    </a:lnTo>
                    <a:lnTo>
                      <a:pt x="87313" y="20013"/>
                    </a:lnTo>
                    <a:lnTo>
                      <a:pt x="88035" y="23208"/>
                    </a:lnTo>
                    <a:lnTo>
                      <a:pt x="88577" y="27206"/>
                    </a:lnTo>
                    <a:lnTo>
                      <a:pt x="89028" y="33609"/>
                    </a:lnTo>
                    <a:lnTo>
                      <a:pt x="89298" y="40802"/>
                    </a:lnTo>
                    <a:lnTo>
                      <a:pt x="89570" y="49598"/>
                    </a:lnTo>
                    <a:lnTo>
                      <a:pt x="89570" y="60000"/>
                    </a:lnTo>
                    <a:lnTo>
                      <a:pt x="89570" y="70401"/>
                    </a:lnTo>
                    <a:lnTo>
                      <a:pt x="89298" y="79197"/>
                    </a:lnTo>
                    <a:lnTo>
                      <a:pt x="89028" y="86403"/>
                    </a:lnTo>
                    <a:lnTo>
                      <a:pt x="88577" y="91991"/>
                    </a:lnTo>
                    <a:lnTo>
                      <a:pt x="88035" y="96791"/>
                    </a:lnTo>
                    <a:lnTo>
                      <a:pt x="87313" y="100000"/>
                    </a:lnTo>
                    <a:lnTo>
                      <a:pt x="86501" y="101590"/>
                    </a:lnTo>
                    <a:lnTo>
                      <a:pt x="85597" y="102392"/>
                    </a:lnTo>
                    <a:lnTo>
                      <a:pt x="84694" y="101590"/>
                    </a:lnTo>
                    <a:lnTo>
                      <a:pt x="83881" y="100000"/>
                    </a:lnTo>
                    <a:lnTo>
                      <a:pt x="83250" y="96791"/>
                    </a:lnTo>
                    <a:lnTo>
                      <a:pt x="82708" y="91991"/>
                    </a:lnTo>
                    <a:lnTo>
                      <a:pt x="82256" y="86403"/>
                    </a:lnTo>
                    <a:lnTo>
                      <a:pt x="81895" y="79197"/>
                    </a:lnTo>
                    <a:lnTo>
                      <a:pt x="81714" y="70401"/>
                    </a:lnTo>
                    <a:lnTo>
                      <a:pt x="81625" y="60000"/>
                    </a:lnTo>
                    <a:lnTo>
                      <a:pt x="81714" y="49598"/>
                    </a:lnTo>
                    <a:lnTo>
                      <a:pt x="81895" y="40802"/>
                    </a:lnTo>
                    <a:lnTo>
                      <a:pt x="82256" y="33609"/>
                    </a:lnTo>
                    <a:lnTo>
                      <a:pt x="82708" y="27206"/>
                    </a:lnTo>
                    <a:lnTo>
                      <a:pt x="83250" y="23208"/>
                    </a:lnTo>
                    <a:lnTo>
                      <a:pt x="83881" y="20013"/>
                    </a:lnTo>
                    <a:lnTo>
                      <a:pt x="84694" y="18409"/>
                    </a:lnTo>
                    <a:lnTo>
                      <a:pt x="85597" y="17607"/>
                    </a:lnTo>
                    <a:close/>
                    <a:moveTo>
                      <a:pt x="0" y="2406"/>
                    </a:moveTo>
                    <a:lnTo>
                      <a:pt x="0" y="6403"/>
                    </a:lnTo>
                    <a:lnTo>
                      <a:pt x="451" y="7206"/>
                    </a:lnTo>
                    <a:lnTo>
                      <a:pt x="902" y="9612"/>
                    </a:lnTo>
                    <a:lnTo>
                      <a:pt x="1174" y="12807"/>
                    </a:lnTo>
                    <a:lnTo>
                      <a:pt x="1264" y="14412"/>
                    </a:lnTo>
                    <a:lnTo>
                      <a:pt x="1355" y="16002"/>
                    </a:lnTo>
                    <a:lnTo>
                      <a:pt x="1355" y="115988"/>
                    </a:lnTo>
                    <a:lnTo>
                      <a:pt x="4694" y="115988"/>
                    </a:lnTo>
                    <a:lnTo>
                      <a:pt x="4694" y="2406"/>
                    </a:lnTo>
                    <a:close/>
                    <a:moveTo>
                      <a:pt x="7133" y="2406"/>
                    </a:moveTo>
                    <a:lnTo>
                      <a:pt x="7133" y="6403"/>
                    </a:lnTo>
                    <a:lnTo>
                      <a:pt x="7584" y="7206"/>
                    </a:lnTo>
                    <a:lnTo>
                      <a:pt x="7945" y="9612"/>
                    </a:lnTo>
                    <a:lnTo>
                      <a:pt x="8307" y="12807"/>
                    </a:lnTo>
                    <a:lnTo>
                      <a:pt x="8398" y="14412"/>
                    </a:lnTo>
                    <a:lnTo>
                      <a:pt x="8398" y="16002"/>
                    </a:lnTo>
                    <a:lnTo>
                      <a:pt x="8398" y="115988"/>
                    </a:lnTo>
                    <a:lnTo>
                      <a:pt x="10925" y="115988"/>
                    </a:lnTo>
                    <a:lnTo>
                      <a:pt x="10925" y="40802"/>
                    </a:lnTo>
                    <a:lnTo>
                      <a:pt x="17336" y="115988"/>
                    </a:lnTo>
                    <a:lnTo>
                      <a:pt x="21670" y="115988"/>
                    </a:lnTo>
                    <a:lnTo>
                      <a:pt x="21670" y="2406"/>
                    </a:lnTo>
                    <a:lnTo>
                      <a:pt x="19231" y="2406"/>
                    </a:lnTo>
                    <a:lnTo>
                      <a:pt x="19231" y="86403"/>
                    </a:lnTo>
                    <a:lnTo>
                      <a:pt x="12009" y="2406"/>
                    </a:lnTo>
                    <a:close/>
                    <a:moveTo>
                      <a:pt x="23837" y="2406"/>
                    </a:moveTo>
                    <a:lnTo>
                      <a:pt x="23837" y="6403"/>
                    </a:lnTo>
                    <a:lnTo>
                      <a:pt x="24288" y="8008"/>
                    </a:lnTo>
                    <a:lnTo>
                      <a:pt x="24740" y="9612"/>
                    </a:lnTo>
                    <a:lnTo>
                      <a:pt x="25011" y="12005"/>
                    </a:lnTo>
                    <a:lnTo>
                      <a:pt x="25281" y="15214"/>
                    </a:lnTo>
                    <a:lnTo>
                      <a:pt x="29706" y="115988"/>
                    </a:lnTo>
                    <a:lnTo>
                      <a:pt x="33317" y="115988"/>
                    </a:lnTo>
                    <a:lnTo>
                      <a:pt x="38644" y="2406"/>
                    </a:lnTo>
                    <a:lnTo>
                      <a:pt x="36117" y="2406"/>
                    </a:lnTo>
                    <a:lnTo>
                      <a:pt x="32234" y="85601"/>
                    </a:lnTo>
                    <a:lnTo>
                      <a:pt x="28532" y="2406"/>
                    </a:lnTo>
                    <a:close/>
                    <a:moveTo>
                      <a:pt x="40451" y="2406"/>
                    </a:moveTo>
                    <a:lnTo>
                      <a:pt x="40451" y="6403"/>
                    </a:lnTo>
                    <a:lnTo>
                      <a:pt x="40902" y="7206"/>
                    </a:lnTo>
                    <a:lnTo>
                      <a:pt x="41353" y="9612"/>
                    </a:lnTo>
                    <a:lnTo>
                      <a:pt x="41625" y="12005"/>
                    </a:lnTo>
                    <a:lnTo>
                      <a:pt x="41715" y="14412"/>
                    </a:lnTo>
                    <a:lnTo>
                      <a:pt x="41715" y="16002"/>
                    </a:lnTo>
                    <a:lnTo>
                      <a:pt x="41715" y="115988"/>
                    </a:lnTo>
                    <a:lnTo>
                      <a:pt x="50654" y="115988"/>
                    </a:lnTo>
                    <a:lnTo>
                      <a:pt x="50654" y="99197"/>
                    </a:lnTo>
                    <a:lnTo>
                      <a:pt x="45145" y="99197"/>
                    </a:lnTo>
                    <a:lnTo>
                      <a:pt x="45145" y="63997"/>
                    </a:lnTo>
                    <a:lnTo>
                      <a:pt x="50202" y="63997"/>
                    </a:lnTo>
                    <a:lnTo>
                      <a:pt x="50202" y="48008"/>
                    </a:lnTo>
                    <a:lnTo>
                      <a:pt x="45145" y="48008"/>
                    </a:lnTo>
                    <a:lnTo>
                      <a:pt x="45145" y="19211"/>
                    </a:lnTo>
                    <a:lnTo>
                      <a:pt x="50654" y="19211"/>
                    </a:lnTo>
                    <a:lnTo>
                      <a:pt x="50654" y="2406"/>
                    </a:lnTo>
                    <a:close/>
                    <a:moveTo>
                      <a:pt x="64740" y="2406"/>
                    </a:moveTo>
                    <a:lnTo>
                      <a:pt x="64740" y="19211"/>
                    </a:lnTo>
                    <a:lnTo>
                      <a:pt x="69344" y="19211"/>
                    </a:lnTo>
                    <a:lnTo>
                      <a:pt x="69344" y="115988"/>
                    </a:lnTo>
                    <a:lnTo>
                      <a:pt x="72685" y="115988"/>
                    </a:lnTo>
                    <a:lnTo>
                      <a:pt x="72685" y="19211"/>
                    </a:lnTo>
                    <a:lnTo>
                      <a:pt x="77291" y="19211"/>
                    </a:lnTo>
                    <a:lnTo>
                      <a:pt x="77291" y="2406"/>
                    </a:lnTo>
                    <a:close/>
                    <a:moveTo>
                      <a:pt x="94537" y="2406"/>
                    </a:moveTo>
                    <a:lnTo>
                      <a:pt x="94537" y="6403"/>
                    </a:lnTo>
                    <a:lnTo>
                      <a:pt x="94988" y="7206"/>
                    </a:lnTo>
                    <a:lnTo>
                      <a:pt x="95439" y="9612"/>
                    </a:lnTo>
                    <a:lnTo>
                      <a:pt x="95709" y="12005"/>
                    </a:lnTo>
                    <a:lnTo>
                      <a:pt x="95800" y="13609"/>
                    </a:lnTo>
                    <a:lnTo>
                      <a:pt x="95890" y="15214"/>
                    </a:lnTo>
                    <a:lnTo>
                      <a:pt x="95890" y="115988"/>
                    </a:lnTo>
                    <a:lnTo>
                      <a:pt x="99231" y="115988"/>
                    </a:lnTo>
                    <a:lnTo>
                      <a:pt x="99231" y="66403"/>
                    </a:lnTo>
                    <a:lnTo>
                      <a:pt x="99954" y="70401"/>
                    </a:lnTo>
                    <a:lnTo>
                      <a:pt x="100676" y="76002"/>
                    </a:lnTo>
                    <a:lnTo>
                      <a:pt x="101759" y="88796"/>
                    </a:lnTo>
                    <a:lnTo>
                      <a:pt x="104288" y="115988"/>
                    </a:lnTo>
                    <a:lnTo>
                      <a:pt x="108260" y="115988"/>
                    </a:lnTo>
                    <a:lnTo>
                      <a:pt x="105191" y="83195"/>
                    </a:lnTo>
                    <a:lnTo>
                      <a:pt x="104740" y="77593"/>
                    </a:lnTo>
                    <a:lnTo>
                      <a:pt x="104288" y="72793"/>
                    </a:lnTo>
                    <a:lnTo>
                      <a:pt x="103836" y="68008"/>
                    </a:lnTo>
                    <a:lnTo>
                      <a:pt x="103384" y="64799"/>
                    </a:lnTo>
                    <a:lnTo>
                      <a:pt x="104288" y="63208"/>
                    </a:lnTo>
                    <a:lnTo>
                      <a:pt x="105010" y="61604"/>
                    </a:lnTo>
                    <a:lnTo>
                      <a:pt x="105733" y="58409"/>
                    </a:lnTo>
                    <a:lnTo>
                      <a:pt x="106184" y="55200"/>
                    </a:lnTo>
                    <a:lnTo>
                      <a:pt x="106635" y="51203"/>
                    </a:lnTo>
                    <a:lnTo>
                      <a:pt x="106907" y="46403"/>
                    </a:lnTo>
                    <a:lnTo>
                      <a:pt x="107086" y="41604"/>
                    </a:lnTo>
                    <a:lnTo>
                      <a:pt x="107177" y="36002"/>
                    </a:lnTo>
                    <a:lnTo>
                      <a:pt x="107086" y="28008"/>
                    </a:lnTo>
                    <a:lnTo>
                      <a:pt x="106816" y="21604"/>
                    </a:lnTo>
                    <a:lnTo>
                      <a:pt x="106365" y="16002"/>
                    </a:lnTo>
                    <a:lnTo>
                      <a:pt x="105823" y="11203"/>
                    </a:lnTo>
                    <a:lnTo>
                      <a:pt x="105010" y="7206"/>
                    </a:lnTo>
                    <a:lnTo>
                      <a:pt x="104107" y="4813"/>
                    </a:lnTo>
                    <a:lnTo>
                      <a:pt x="103024" y="3208"/>
                    </a:lnTo>
                    <a:lnTo>
                      <a:pt x="101759" y="2406"/>
                    </a:lnTo>
                    <a:close/>
                    <a:moveTo>
                      <a:pt x="58871" y="816"/>
                    </a:moveTo>
                    <a:lnTo>
                      <a:pt x="57606" y="1604"/>
                    </a:lnTo>
                    <a:lnTo>
                      <a:pt x="56523" y="3208"/>
                    </a:lnTo>
                    <a:lnTo>
                      <a:pt x="55530" y="5615"/>
                    </a:lnTo>
                    <a:lnTo>
                      <a:pt x="54718" y="9612"/>
                    </a:lnTo>
                    <a:lnTo>
                      <a:pt x="54085" y="13609"/>
                    </a:lnTo>
                    <a:lnTo>
                      <a:pt x="53634" y="19211"/>
                    </a:lnTo>
                    <a:lnTo>
                      <a:pt x="53362" y="24813"/>
                    </a:lnTo>
                    <a:lnTo>
                      <a:pt x="53272" y="31203"/>
                    </a:lnTo>
                    <a:lnTo>
                      <a:pt x="53362" y="36804"/>
                    </a:lnTo>
                    <a:lnTo>
                      <a:pt x="53634" y="42406"/>
                    </a:lnTo>
                    <a:lnTo>
                      <a:pt x="53904" y="47206"/>
                    </a:lnTo>
                    <a:lnTo>
                      <a:pt x="54446" y="52005"/>
                    </a:lnTo>
                    <a:lnTo>
                      <a:pt x="55259" y="58409"/>
                    </a:lnTo>
                    <a:lnTo>
                      <a:pt x="56613" y="66403"/>
                    </a:lnTo>
                    <a:lnTo>
                      <a:pt x="58419" y="76002"/>
                    </a:lnTo>
                    <a:lnTo>
                      <a:pt x="58961" y="80000"/>
                    </a:lnTo>
                    <a:lnTo>
                      <a:pt x="59322" y="83997"/>
                    </a:lnTo>
                    <a:lnTo>
                      <a:pt x="59503" y="87192"/>
                    </a:lnTo>
                    <a:lnTo>
                      <a:pt x="59594" y="91203"/>
                    </a:lnTo>
                    <a:lnTo>
                      <a:pt x="59503" y="93596"/>
                    </a:lnTo>
                    <a:lnTo>
                      <a:pt x="59412" y="96002"/>
                    </a:lnTo>
                    <a:lnTo>
                      <a:pt x="59141" y="98395"/>
                    </a:lnTo>
                    <a:lnTo>
                      <a:pt x="58871" y="100000"/>
                    </a:lnTo>
                    <a:lnTo>
                      <a:pt x="58238" y="101590"/>
                    </a:lnTo>
                    <a:lnTo>
                      <a:pt x="56432" y="101590"/>
                    </a:lnTo>
                    <a:lnTo>
                      <a:pt x="55259" y="100000"/>
                    </a:lnTo>
                    <a:lnTo>
                      <a:pt x="54176" y="96791"/>
                    </a:lnTo>
                    <a:lnTo>
                      <a:pt x="53181" y="92793"/>
                    </a:lnTo>
                    <a:lnTo>
                      <a:pt x="53181" y="112793"/>
                    </a:lnTo>
                    <a:lnTo>
                      <a:pt x="54176" y="115200"/>
                    </a:lnTo>
                    <a:lnTo>
                      <a:pt x="55169" y="116791"/>
                    </a:lnTo>
                    <a:lnTo>
                      <a:pt x="56252" y="117593"/>
                    </a:lnTo>
                    <a:lnTo>
                      <a:pt x="57245" y="118395"/>
                    </a:lnTo>
                    <a:lnTo>
                      <a:pt x="58148" y="117593"/>
                    </a:lnTo>
                    <a:lnTo>
                      <a:pt x="58961" y="116791"/>
                    </a:lnTo>
                    <a:lnTo>
                      <a:pt x="59773" y="115988"/>
                    </a:lnTo>
                    <a:lnTo>
                      <a:pt x="60496" y="113596"/>
                    </a:lnTo>
                    <a:lnTo>
                      <a:pt x="61038" y="111189"/>
                    </a:lnTo>
                    <a:lnTo>
                      <a:pt x="61670" y="108796"/>
                    </a:lnTo>
                    <a:lnTo>
                      <a:pt x="62121" y="105601"/>
                    </a:lnTo>
                    <a:lnTo>
                      <a:pt x="62482" y="102392"/>
                    </a:lnTo>
                    <a:lnTo>
                      <a:pt x="62754" y="98395"/>
                    </a:lnTo>
                    <a:lnTo>
                      <a:pt x="62933" y="94398"/>
                    </a:lnTo>
                    <a:lnTo>
                      <a:pt x="63114" y="89598"/>
                    </a:lnTo>
                    <a:lnTo>
                      <a:pt x="63114" y="84799"/>
                    </a:lnTo>
                    <a:lnTo>
                      <a:pt x="63114" y="80802"/>
                    </a:lnTo>
                    <a:lnTo>
                      <a:pt x="62933" y="76804"/>
                    </a:lnTo>
                    <a:lnTo>
                      <a:pt x="62754" y="72793"/>
                    </a:lnTo>
                    <a:lnTo>
                      <a:pt x="62391" y="68796"/>
                    </a:lnTo>
                    <a:lnTo>
                      <a:pt x="61940" y="63997"/>
                    </a:lnTo>
                    <a:lnTo>
                      <a:pt x="61489" y="60000"/>
                    </a:lnTo>
                    <a:lnTo>
                      <a:pt x="60857" y="56002"/>
                    </a:lnTo>
                    <a:lnTo>
                      <a:pt x="60134" y="52005"/>
                    </a:lnTo>
                    <a:lnTo>
                      <a:pt x="58238" y="41604"/>
                    </a:lnTo>
                    <a:lnTo>
                      <a:pt x="57516" y="36804"/>
                    </a:lnTo>
                    <a:lnTo>
                      <a:pt x="57064" y="33609"/>
                    </a:lnTo>
                    <a:lnTo>
                      <a:pt x="56794" y="30401"/>
                    </a:lnTo>
                    <a:lnTo>
                      <a:pt x="56704" y="28008"/>
                    </a:lnTo>
                    <a:lnTo>
                      <a:pt x="56794" y="24813"/>
                    </a:lnTo>
                    <a:lnTo>
                      <a:pt x="57064" y="21604"/>
                    </a:lnTo>
                    <a:lnTo>
                      <a:pt x="57427" y="20013"/>
                    </a:lnTo>
                    <a:lnTo>
                      <a:pt x="57878" y="18409"/>
                    </a:lnTo>
                    <a:lnTo>
                      <a:pt x="58419" y="17607"/>
                    </a:lnTo>
                    <a:lnTo>
                      <a:pt x="59052" y="16804"/>
                    </a:lnTo>
                    <a:lnTo>
                      <a:pt x="59864" y="17607"/>
                    </a:lnTo>
                    <a:lnTo>
                      <a:pt x="60587" y="19211"/>
                    </a:lnTo>
                    <a:lnTo>
                      <a:pt x="61128" y="20802"/>
                    </a:lnTo>
                    <a:lnTo>
                      <a:pt x="61580" y="23208"/>
                    </a:lnTo>
                    <a:lnTo>
                      <a:pt x="61850" y="26403"/>
                    </a:lnTo>
                    <a:lnTo>
                      <a:pt x="62121" y="29612"/>
                    </a:lnTo>
                    <a:lnTo>
                      <a:pt x="62482" y="29612"/>
                    </a:lnTo>
                    <a:lnTo>
                      <a:pt x="62482" y="5615"/>
                    </a:lnTo>
                    <a:lnTo>
                      <a:pt x="61670" y="3208"/>
                    </a:lnTo>
                    <a:lnTo>
                      <a:pt x="60766" y="1604"/>
                    </a:lnTo>
                    <a:lnTo>
                      <a:pt x="59864" y="816"/>
                    </a:lnTo>
                    <a:close/>
                    <a:moveTo>
                      <a:pt x="115754" y="816"/>
                    </a:moveTo>
                    <a:lnTo>
                      <a:pt x="114491" y="1604"/>
                    </a:lnTo>
                    <a:lnTo>
                      <a:pt x="113317" y="3208"/>
                    </a:lnTo>
                    <a:lnTo>
                      <a:pt x="112413" y="5615"/>
                    </a:lnTo>
                    <a:lnTo>
                      <a:pt x="111601" y="9612"/>
                    </a:lnTo>
                    <a:lnTo>
                      <a:pt x="110969" y="13609"/>
                    </a:lnTo>
                    <a:lnTo>
                      <a:pt x="110518" y="19211"/>
                    </a:lnTo>
                    <a:lnTo>
                      <a:pt x="110248" y="24813"/>
                    </a:lnTo>
                    <a:lnTo>
                      <a:pt x="110157" y="31203"/>
                    </a:lnTo>
                    <a:lnTo>
                      <a:pt x="110248" y="36804"/>
                    </a:lnTo>
                    <a:lnTo>
                      <a:pt x="110427" y="42406"/>
                    </a:lnTo>
                    <a:lnTo>
                      <a:pt x="110788" y="47206"/>
                    </a:lnTo>
                    <a:lnTo>
                      <a:pt x="111330" y="52005"/>
                    </a:lnTo>
                    <a:lnTo>
                      <a:pt x="112143" y="58409"/>
                    </a:lnTo>
                    <a:lnTo>
                      <a:pt x="113497" y="66403"/>
                    </a:lnTo>
                    <a:lnTo>
                      <a:pt x="115303" y="76002"/>
                    </a:lnTo>
                    <a:lnTo>
                      <a:pt x="115845" y="80000"/>
                    </a:lnTo>
                    <a:lnTo>
                      <a:pt x="116206" y="83997"/>
                    </a:lnTo>
                    <a:lnTo>
                      <a:pt x="116387" y="87192"/>
                    </a:lnTo>
                    <a:lnTo>
                      <a:pt x="116477" y="91203"/>
                    </a:lnTo>
                    <a:lnTo>
                      <a:pt x="116387" y="93596"/>
                    </a:lnTo>
                    <a:lnTo>
                      <a:pt x="116296" y="96002"/>
                    </a:lnTo>
                    <a:lnTo>
                      <a:pt x="116026" y="98395"/>
                    </a:lnTo>
                    <a:lnTo>
                      <a:pt x="115754" y="100000"/>
                    </a:lnTo>
                    <a:lnTo>
                      <a:pt x="115122" y="101590"/>
                    </a:lnTo>
                    <a:lnTo>
                      <a:pt x="113227" y="101590"/>
                    </a:lnTo>
                    <a:lnTo>
                      <a:pt x="112143" y="100000"/>
                    </a:lnTo>
                    <a:lnTo>
                      <a:pt x="111060" y="96791"/>
                    </a:lnTo>
                    <a:lnTo>
                      <a:pt x="110067" y="92793"/>
                    </a:lnTo>
                    <a:lnTo>
                      <a:pt x="110067" y="112793"/>
                    </a:lnTo>
                    <a:lnTo>
                      <a:pt x="111060" y="115200"/>
                    </a:lnTo>
                    <a:lnTo>
                      <a:pt x="112053" y="116791"/>
                    </a:lnTo>
                    <a:lnTo>
                      <a:pt x="113046" y="117593"/>
                    </a:lnTo>
                    <a:lnTo>
                      <a:pt x="114129" y="118395"/>
                    </a:lnTo>
                    <a:lnTo>
                      <a:pt x="115033" y="117593"/>
                    </a:lnTo>
                    <a:lnTo>
                      <a:pt x="115845" y="116791"/>
                    </a:lnTo>
                    <a:lnTo>
                      <a:pt x="116658" y="115988"/>
                    </a:lnTo>
                    <a:lnTo>
                      <a:pt x="117289" y="113596"/>
                    </a:lnTo>
                    <a:lnTo>
                      <a:pt x="117921" y="111189"/>
                    </a:lnTo>
                    <a:lnTo>
                      <a:pt x="118463" y="108796"/>
                    </a:lnTo>
                    <a:lnTo>
                      <a:pt x="118914" y="105601"/>
                    </a:lnTo>
                    <a:lnTo>
                      <a:pt x="119367" y="102392"/>
                    </a:lnTo>
                    <a:lnTo>
                      <a:pt x="119637" y="98395"/>
                    </a:lnTo>
                    <a:lnTo>
                      <a:pt x="119818" y="94398"/>
                    </a:lnTo>
                    <a:lnTo>
                      <a:pt x="119998" y="89598"/>
                    </a:lnTo>
                    <a:lnTo>
                      <a:pt x="119998" y="84799"/>
                    </a:lnTo>
                    <a:lnTo>
                      <a:pt x="119909" y="80802"/>
                    </a:lnTo>
                    <a:lnTo>
                      <a:pt x="119818" y="76804"/>
                    </a:lnTo>
                    <a:lnTo>
                      <a:pt x="119547" y="72793"/>
                    </a:lnTo>
                    <a:lnTo>
                      <a:pt x="119277" y="68796"/>
                    </a:lnTo>
                    <a:lnTo>
                      <a:pt x="118825" y="63997"/>
                    </a:lnTo>
                    <a:lnTo>
                      <a:pt x="118373" y="60000"/>
                    </a:lnTo>
                    <a:lnTo>
                      <a:pt x="117742" y="56002"/>
                    </a:lnTo>
                    <a:lnTo>
                      <a:pt x="117019" y="52005"/>
                    </a:lnTo>
                    <a:lnTo>
                      <a:pt x="115033" y="41604"/>
                    </a:lnTo>
                    <a:lnTo>
                      <a:pt x="114401" y="36804"/>
                    </a:lnTo>
                    <a:lnTo>
                      <a:pt x="113950" y="33609"/>
                    </a:lnTo>
                    <a:lnTo>
                      <a:pt x="113678" y="30401"/>
                    </a:lnTo>
                    <a:lnTo>
                      <a:pt x="113587" y="28008"/>
                    </a:lnTo>
                    <a:lnTo>
                      <a:pt x="113678" y="24813"/>
                    </a:lnTo>
                    <a:lnTo>
                      <a:pt x="113950" y="21604"/>
                    </a:lnTo>
                    <a:lnTo>
                      <a:pt x="114310" y="20013"/>
                    </a:lnTo>
                    <a:lnTo>
                      <a:pt x="114761" y="18409"/>
                    </a:lnTo>
                    <a:lnTo>
                      <a:pt x="115303" y="17607"/>
                    </a:lnTo>
                    <a:lnTo>
                      <a:pt x="115935" y="16804"/>
                    </a:lnTo>
                    <a:lnTo>
                      <a:pt x="116747" y="17607"/>
                    </a:lnTo>
                    <a:lnTo>
                      <a:pt x="117470" y="19211"/>
                    </a:lnTo>
                    <a:lnTo>
                      <a:pt x="118012" y="20802"/>
                    </a:lnTo>
                    <a:lnTo>
                      <a:pt x="118463" y="23208"/>
                    </a:lnTo>
                    <a:lnTo>
                      <a:pt x="118735" y="26403"/>
                    </a:lnTo>
                    <a:lnTo>
                      <a:pt x="118914" y="29612"/>
                    </a:lnTo>
                    <a:lnTo>
                      <a:pt x="119367" y="29612"/>
                    </a:lnTo>
                    <a:lnTo>
                      <a:pt x="119367" y="5615"/>
                    </a:lnTo>
                    <a:lnTo>
                      <a:pt x="118463" y="3208"/>
                    </a:lnTo>
                    <a:lnTo>
                      <a:pt x="117651" y="1604"/>
                    </a:lnTo>
                    <a:lnTo>
                      <a:pt x="116747" y="816"/>
                    </a:lnTo>
                    <a:close/>
                    <a:moveTo>
                      <a:pt x="84785" y="13"/>
                    </a:moveTo>
                    <a:lnTo>
                      <a:pt x="83971" y="816"/>
                    </a:lnTo>
                    <a:lnTo>
                      <a:pt x="83160" y="2406"/>
                    </a:lnTo>
                    <a:lnTo>
                      <a:pt x="82527" y="4813"/>
                    </a:lnTo>
                    <a:lnTo>
                      <a:pt x="81804" y="7206"/>
                    </a:lnTo>
                    <a:lnTo>
                      <a:pt x="81172" y="10414"/>
                    </a:lnTo>
                    <a:lnTo>
                      <a:pt x="80630" y="13609"/>
                    </a:lnTo>
                    <a:lnTo>
                      <a:pt x="80179" y="17607"/>
                    </a:lnTo>
                    <a:lnTo>
                      <a:pt x="79728" y="21604"/>
                    </a:lnTo>
                    <a:lnTo>
                      <a:pt x="79277" y="26403"/>
                    </a:lnTo>
                    <a:lnTo>
                      <a:pt x="78916" y="31203"/>
                    </a:lnTo>
                    <a:lnTo>
                      <a:pt x="78644" y="36804"/>
                    </a:lnTo>
                    <a:lnTo>
                      <a:pt x="78463" y="41604"/>
                    </a:lnTo>
                    <a:lnTo>
                      <a:pt x="78284" y="48008"/>
                    </a:lnTo>
                    <a:lnTo>
                      <a:pt x="78193" y="53609"/>
                    </a:lnTo>
                    <a:lnTo>
                      <a:pt x="78103" y="60000"/>
                    </a:lnTo>
                    <a:lnTo>
                      <a:pt x="78193" y="65601"/>
                    </a:lnTo>
                    <a:lnTo>
                      <a:pt x="78284" y="72005"/>
                    </a:lnTo>
                    <a:lnTo>
                      <a:pt x="78463" y="77593"/>
                    </a:lnTo>
                    <a:lnTo>
                      <a:pt x="78644" y="83195"/>
                    </a:lnTo>
                    <a:lnTo>
                      <a:pt x="78916" y="88796"/>
                    </a:lnTo>
                    <a:lnTo>
                      <a:pt x="79277" y="93596"/>
                    </a:lnTo>
                    <a:lnTo>
                      <a:pt x="79728" y="98395"/>
                    </a:lnTo>
                    <a:lnTo>
                      <a:pt x="80179" y="102392"/>
                    </a:lnTo>
                    <a:lnTo>
                      <a:pt x="80630" y="106390"/>
                    </a:lnTo>
                    <a:lnTo>
                      <a:pt x="81172" y="109598"/>
                    </a:lnTo>
                    <a:lnTo>
                      <a:pt x="81804" y="112793"/>
                    </a:lnTo>
                    <a:lnTo>
                      <a:pt x="82527" y="115200"/>
                    </a:lnTo>
                    <a:lnTo>
                      <a:pt x="83160" y="116791"/>
                    </a:lnTo>
                    <a:lnTo>
                      <a:pt x="83971" y="118395"/>
                    </a:lnTo>
                    <a:lnTo>
                      <a:pt x="84785" y="119197"/>
                    </a:lnTo>
                    <a:lnTo>
                      <a:pt x="85597" y="120000"/>
                    </a:lnTo>
                    <a:lnTo>
                      <a:pt x="86501" y="119197"/>
                    </a:lnTo>
                    <a:lnTo>
                      <a:pt x="87222" y="118395"/>
                    </a:lnTo>
                    <a:lnTo>
                      <a:pt x="88035" y="116791"/>
                    </a:lnTo>
                    <a:lnTo>
                      <a:pt x="88757" y="115200"/>
                    </a:lnTo>
                    <a:lnTo>
                      <a:pt x="89389" y="112793"/>
                    </a:lnTo>
                    <a:lnTo>
                      <a:pt x="90021" y="109598"/>
                    </a:lnTo>
                    <a:lnTo>
                      <a:pt x="90563" y="106390"/>
                    </a:lnTo>
                    <a:lnTo>
                      <a:pt x="91105" y="102392"/>
                    </a:lnTo>
                    <a:lnTo>
                      <a:pt x="91556" y="98395"/>
                    </a:lnTo>
                    <a:lnTo>
                      <a:pt x="91918" y="93596"/>
                    </a:lnTo>
                    <a:lnTo>
                      <a:pt x="92279" y="88796"/>
                    </a:lnTo>
                    <a:lnTo>
                      <a:pt x="92549" y="83195"/>
                    </a:lnTo>
                    <a:lnTo>
                      <a:pt x="92821" y="77593"/>
                    </a:lnTo>
                    <a:lnTo>
                      <a:pt x="92911" y="72005"/>
                    </a:lnTo>
                    <a:lnTo>
                      <a:pt x="93091" y="65601"/>
                    </a:lnTo>
                    <a:lnTo>
                      <a:pt x="93091" y="60000"/>
                    </a:lnTo>
                    <a:lnTo>
                      <a:pt x="93091" y="53609"/>
                    </a:lnTo>
                    <a:lnTo>
                      <a:pt x="92911" y="48008"/>
                    </a:lnTo>
                    <a:lnTo>
                      <a:pt x="92821" y="41604"/>
                    </a:lnTo>
                    <a:lnTo>
                      <a:pt x="92549" y="36804"/>
                    </a:lnTo>
                    <a:lnTo>
                      <a:pt x="92279" y="31203"/>
                    </a:lnTo>
                    <a:lnTo>
                      <a:pt x="91918" y="26403"/>
                    </a:lnTo>
                    <a:lnTo>
                      <a:pt x="91556" y="21604"/>
                    </a:lnTo>
                    <a:lnTo>
                      <a:pt x="91105" y="17607"/>
                    </a:lnTo>
                    <a:lnTo>
                      <a:pt x="90563" y="13609"/>
                    </a:lnTo>
                    <a:lnTo>
                      <a:pt x="90021" y="10414"/>
                    </a:lnTo>
                    <a:lnTo>
                      <a:pt x="89389" y="7206"/>
                    </a:lnTo>
                    <a:lnTo>
                      <a:pt x="88757" y="4813"/>
                    </a:lnTo>
                    <a:lnTo>
                      <a:pt x="88035" y="2406"/>
                    </a:lnTo>
                    <a:lnTo>
                      <a:pt x="87222" y="816"/>
                    </a:lnTo>
                    <a:lnTo>
                      <a:pt x="86501" y="13"/>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4" name="Google Shape;25;p2">
                <a:extLst>
                  <a:ext uri="{FF2B5EF4-FFF2-40B4-BE49-F238E27FC236}">
                    <a16:creationId xmlns:a16="http://schemas.microsoft.com/office/drawing/2014/main" id="{FBD9C83F-8A7C-134E-9094-D2FDF31A11CD}"/>
                  </a:ext>
                </a:extLst>
              </p:cNvPr>
              <p:cNvSpPr/>
              <p:nvPr/>
            </p:nvSpPr>
            <p:spPr>
              <a:xfrm>
                <a:off x="5111957" y="3466175"/>
                <a:ext cx="75301" cy="205200"/>
              </a:xfrm>
              <a:custGeom>
                <a:avLst/>
                <a:gdLst/>
                <a:ahLst/>
                <a:cxnLst/>
                <a:rect l="l" t="t" r="r" b="b"/>
                <a:pathLst>
                  <a:path w="120000" h="120000" fill="none" extrusionOk="0">
                    <a:moveTo>
                      <a:pt x="0" y="4222"/>
                    </a:moveTo>
                    <a:lnTo>
                      <a:pt x="0" y="4222"/>
                    </a:lnTo>
                    <a:lnTo>
                      <a:pt x="11529" y="5070"/>
                    </a:lnTo>
                    <a:lnTo>
                      <a:pt x="23058" y="7612"/>
                    </a:lnTo>
                    <a:lnTo>
                      <a:pt x="23058" y="7612"/>
                    </a:lnTo>
                    <a:lnTo>
                      <a:pt x="30000" y="10987"/>
                    </a:lnTo>
                    <a:lnTo>
                      <a:pt x="32313" y="12682"/>
                    </a:lnTo>
                    <a:lnTo>
                      <a:pt x="34627" y="14362"/>
                    </a:lnTo>
                    <a:lnTo>
                      <a:pt x="34627" y="119985"/>
                    </a:lnTo>
                    <a:lnTo>
                      <a:pt x="119960" y="119985"/>
                    </a:lnTo>
                    <a:lnTo>
                      <a:pt x="119960"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5" name="Google Shape;26;p2">
                <a:extLst>
                  <a:ext uri="{FF2B5EF4-FFF2-40B4-BE49-F238E27FC236}">
                    <a16:creationId xmlns:a16="http://schemas.microsoft.com/office/drawing/2014/main" id="{888FCF2A-EA89-7340-8C4B-2B6C18C33C43}"/>
                  </a:ext>
                </a:extLst>
              </p:cNvPr>
              <p:cNvSpPr/>
              <p:nvPr/>
            </p:nvSpPr>
            <p:spPr>
              <a:xfrm>
                <a:off x="5226157" y="3466175"/>
                <a:ext cx="232800" cy="205200"/>
              </a:xfrm>
              <a:custGeom>
                <a:avLst/>
                <a:gdLst/>
                <a:ahLst/>
                <a:cxnLst/>
                <a:rect l="l" t="t" r="r" b="b"/>
                <a:pathLst>
                  <a:path w="120000" h="120000" fill="none" extrusionOk="0">
                    <a:moveTo>
                      <a:pt x="99871" y="88732"/>
                    </a:moveTo>
                    <a:lnTo>
                      <a:pt x="40257" y="0"/>
                    </a:lnTo>
                    <a:lnTo>
                      <a:pt x="12" y="0"/>
                    </a:lnTo>
                    <a:lnTo>
                      <a:pt x="12" y="4222"/>
                    </a:lnTo>
                    <a:lnTo>
                      <a:pt x="12" y="4222"/>
                    </a:lnTo>
                    <a:lnTo>
                      <a:pt x="3737" y="5070"/>
                    </a:lnTo>
                    <a:lnTo>
                      <a:pt x="6713" y="7612"/>
                    </a:lnTo>
                    <a:lnTo>
                      <a:pt x="6713" y="7612"/>
                    </a:lnTo>
                    <a:lnTo>
                      <a:pt x="9703" y="10987"/>
                    </a:lnTo>
                    <a:lnTo>
                      <a:pt x="10451" y="12682"/>
                    </a:lnTo>
                    <a:lnTo>
                      <a:pt x="10451" y="14362"/>
                    </a:lnTo>
                    <a:lnTo>
                      <a:pt x="10451" y="119985"/>
                    </a:lnTo>
                    <a:lnTo>
                      <a:pt x="31314" y="119985"/>
                    </a:lnTo>
                    <a:lnTo>
                      <a:pt x="31314" y="40560"/>
                    </a:lnTo>
                    <a:lnTo>
                      <a:pt x="84226" y="119985"/>
                    </a:lnTo>
                    <a:lnTo>
                      <a:pt x="120000" y="119985"/>
                    </a:lnTo>
                    <a:lnTo>
                      <a:pt x="120000" y="0"/>
                    </a:lnTo>
                    <a:lnTo>
                      <a:pt x="99871" y="0"/>
                    </a:lnTo>
                    <a:lnTo>
                      <a:pt x="99871" y="8873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6" name="Google Shape;27;p2">
                <a:extLst>
                  <a:ext uri="{FF2B5EF4-FFF2-40B4-BE49-F238E27FC236}">
                    <a16:creationId xmlns:a16="http://schemas.microsoft.com/office/drawing/2014/main" id="{B43237F5-A0F3-924B-A42D-236C091811BA}"/>
                  </a:ext>
                </a:extLst>
              </p:cNvPr>
              <p:cNvSpPr/>
              <p:nvPr/>
            </p:nvSpPr>
            <p:spPr>
              <a:xfrm>
                <a:off x="5493632" y="3466175"/>
                <a:ext cx="236999" cy="205200"/>
              </a:xfrm>
              <a:custGeom>
                <a:avLst/>
                <a:gdLst/>
                <a:ahLst/>
                <a:cxnLst/>
                <a:rect l="l" t="t" r="r" b="b"/>
                <a:pathLst>
                  <a:path w="120000" h="120000" fill="none" extrusionOk="0">
                    <a:moveTo>
                      <a:pt x="68045" y="87885"/>
                    </a:moveTo>
                    <a:lnTo>
                      <a:pt x="38051" y="0"/>
                    </a:lnTo>
                    <a:lnTo>
                      <a:pt x="12" y="0"/>
                    </a:lnTo>
                    <a:lnTo>
                      <a:pt x="12" y="4222"/>
                    </a:lnTo>
                    <a:lnTo>
                      <a:pt x="12" y="4222"/>
                    </a:lnTo>
                    <a:lnTo>
                      <a:pt x="3668" y="5917"/>
                    </a:lnTo>
                    <a:lnTo>
                      <a:pt x="7324" y="7612"/>
                    </a:lnTo>
                    <a:lnTo>
                      <a:pt x="9525" y="10140"/>
                    </a:lnTo>
                    <a:lnTo>
                      <a:pt x="11714" y="13529"/>
                    </a:lnTo>
                    <a:lnTo>
                      <a:pt x="47564" y="119985"/>
                    </a:lnTo>
                    <a:lnTo>
                      <a:pt x="76824" y="119985"/>
                    </a:lnTo>
                    <a:lnTo>
                      <a:pt x="119987" y="0"/>
                    </a:lnTo>
                    <a:lnTo>
                      <a:pt x="99506" y="0"/>
                    </a:lnTo>
                    <a:lnTo>
                      <a:pt x="68045" y="8788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7" name="Google Shape;28;p2">
                <a:extLst>
                  <a:ext uri="{FF2B5EF4-FFF2-40B4-BE49-F238E27FC236}">
                    <a16:creationId xmlns:a16="http://schemas.microsoft.com/office/drawing/2014/main" id="{665BE985-84B6-2448-8600-85403D1EF56E}"/>
                  </a:ext>
                </a:extLst>
              </p:cNvPr>
              <p:cNvSpPr/>
              <p:nvPr/>
            </p:nvSpPr>
            <p:spPr>
              <a:xfrm>
                <a:off x="5759684" y="3466175"/>
                <a:ext cx="163501" cy="205200"/>
              </a:xfrm>
              <a:custGeom>
                <a:avLst/>
                <a:gdLst/>
                <a:ahLst/>
                <a:cxnLst/>
                <a:rect l="l" t="t" r="r" b="b"/>
                <a:pathLst>
                  <a:path w="120000" h="120000" fill="none" extrusionOk="0">
                    <a:moveTo>
                      <a:pt x="0" y="4222"/>
                    </a:moveTo>
                    <a:lnTo>
                      <a:pt x="0" y="4222"/>
                    </a:lnTo>
                    <a:lnTo>
                      <a:pt x="5305" y="5070"/>
                    </a:lnTo>
                    <a:lnTo>
                      <a:pt x="10611" y="7612"/>
                    </a:lnTo>
                    <a:lnTo>
                      <a:pt x="10611" y="7612"/>
                    </a:lnTo>
                    <a:lnTo>
                      <a:pt x="13806" y="10140"/>
                    </a:lnTo>
                    <a:lnTo>
                      <a:pt x="14871" y="12682"/>
                    </a:lnTo>
                    <a:lnTo>
                      <a:pt x="14871" y="14362"/>
                    </a:lnTo>
                    <a:lnTo>
                      <a:pt x="14871" y="119985"/>
                    </a:lnTo>
                    <a:lnTo>
                      <a:pt x="119981" y="119985"/>
                    </a:lnTo>
                    <a:lnTo>
                      <a:pt x="119981" y="102247"/>
                    </a:lnTo>
                    <a:lnTo>
                      <a:pt x="55208" y="102247"/>
                    </a:lnTo>
                    <a:lnTo>
                      <a:pt x="55208" y="65062"/>
                    </a:lnTo>
                    <a:lnTo>
                      <a:pt x="114675" y="65062"/>
                    </a:lnTo>
                    <a:lnTo>
                      <a:pt x="114675" y="48172"/>
                    </a:lnTo>
                    <a:lnTo>
                      <a:pt x="55208" y="48172"/>
                    </a:lnTo>
                    <a:lnTo>
                      <a:pt x="55208" y="17752"/>
                    </a:lnTo>
                    <a:lnTo>
                      <a:pt x="119981" y="17752"/>
                    </a:lnTo>
                    <a:lnTo>
                      <a:pt x="119981"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8" name="Google Shape;29;p2">
                <a:extLst>
                  <a:ext uri="{FF2B5EF4-FFF2-40B4-BE49-F238E27FC236}">
                    <a16:creationId xmlns:a16="http://schemas.microsoft.com/office/drawing/2014/main" id="{D2256EB1-B38F-814D-9F92-ACAD3DD9988E}"/>
                  </a:ext>
                </a:extLst>
              </p:cNvPr>
              <p:cNvSpPr/>
              <p:nvPr/>
            </p:nvSpPr>
            <p:spPr>
              <a:xfrm>
                <a:off x="5963535" y="3463276"/>
                <a:ext cx="159001" cy="212400"/>
              </a:xfrm>
              <a:custGeom>
                <a:avLst/>
                <a:gdLst/>
                <a:ahLst/>
                <a:cxnLst/>
                <a:rect l="l" t="t" r="r" b="b"/>
                <a:pathLst>
                  <a:path w="120000" h="120000" fill="none" extrusionOk="0">
                    <a:moveTo>
                      <a:pt x="83992" y="52251"/>
                    </a:moveTo>
                    <a:lnTo>
                      <a:pt x="83992" y="52251"/>
                    </a:lnTo>
                    <a:lnTo>
                      <a:pt x="61093" y="41637"/>
                    </a:lnTo>
                    <a:lnTo>
                      <a:pt x="61093" y="41637"/>
                    </a:lnTo>
                    <a:lnTo>
                      <a:pt x="52360" y="36739"/>
                    </a:lnTo>
                    <a:lnTo>
                      <a:pt x="46909" y="33479"/>
                    </a:lnTo>
                    <a:lnTo>
                      <a:pt x="43646" y="30204"/>
                    </a:lnTo>
                    <a:lnTo>
                      <a:pt x="42552" y="27762"/>
                    </a:lnTo>
                    <a:lnTo>
                      <a:pt x="42552" y="27762"/>
                    </a:lnTo>
                    <a:lnTo>
                      <a:pt x="43646" y="24502"/>
                    </a:lnTo>
                    <a:lnTo>
                      <a:pt x="46909" y="21227"/>
                    </a:lnTo>
                    <a:lnTo>
                      <a:pt x="46909" y="21227"/>
                    </a:lnTo>
                    <a:lnTo>
                      <a:pt x="51285" y="19604"/>
                    </a:lnTo>
                    <a:lnTo>
                      <a:pt x="56736" y="17967"/>
                    </a:lnTo>
                    <a:lnTo>
                      <a:pt x="63281" y="17148"/>
                    </a:lnTo>
                    <a:lnTo>
                      <a:pt x="70921" y="16330"/>
                    </a:lnTo>
                    <a:lnTo>
                      <a:pt x="70921" y="16330"/>
                    </a:lnTo>
                    <a:lnTo>
                      <a:pt x="80729" y="17148"/>
                    </a:lnTo>
                    <a:lnTo>
                      <a:pt x="89462" y="18786"/>
                    </a:lnTo>
                    <a:lnTo>
                      <a:pt x="89462" y="18786"/>
                    </a:lnTo>
                    <a:lnTo>
                      <a:pt x="96007" y="20409"/>
                    </a:lnTo>
                    <a:lnTo>
                      <a:pt x="101458" y="22865"/>
                    </a:lnTo>
                    <a:lnTo>
                      <a:pt x="104721" y="26125"/>
                    </a:lnTo>
                    <a:lnTo>
                      <a:pt x="108003" y="29400"/>
                    </a:lnTo>
                    <a:lnTo>
                      <a:pt x="112360" y="29400"/>
                    </a:lnTo>
                    <a:lnTo>
                      <a:pt x="112360" y="4911"/>
                    </a:lnTo>
                    <a:lnTo>
                      <a:pt x="112360" y="4911"/>
                    </a:lnTo>
                    <a:lnTo>
                      <a:pt x="102552" y="2455"/>
                    </a:lnTo>
                    <a:lnTo>
                      <a:pt x="91631" y="818"/>
                    </a:lnTo>
                    <a:lnTo>
                      <a:pt x="80729" y="14"/>
                    </a:lnTo>
                    <a:lnTo>
                      <a:pt x="68733" y="14"/>
                    </a:lnTo>
                    <a:lnTo>
                      <a:pt x="68733" y="14"/>
                    </a:lnTo>
                    <a:lnTo>
                      <a:pt x="53454" y="818"/>
                    </a:lnTo>
                    <a:lnTo>
                      <a:pt x="40364" y="2455"/>
                    </a:lnTo>
                    <a:lnTo>
                      <a:pt x="28368" y="4911"/>
                    </a:lnTo>
                    <a:lnTo>
                      <a:pt x="18560" y="8990"/>
                    </a:lnTo>
                    <a:lnTo>
                      <a:pt x="18560" y="8990"/>
                    </a:lnTo>
                    <a:lnTo>
                      <a:pt x="10921" y="13069"/>
                    </a:lnTo>
                    <a:lnTo>
                      <a:pt x="5469" y="18786"/>
                    </a:lnTo>
                    <a:lnTo>
                      <a:pt x="2187" y="24502"/>
                    </a:lnTo>
                    <a:lnTo>
                      <a:pt x="1093" y="31023"/>
                    </a:lnTo>
                    <a:lnTo>
                      <a:pt x="1093" y="31023"/>
                    </a:lnTo>
                    <a:lnTo>
                      <a:pt x="2187" y="36739"/>
                    </a:lnTo>
                    <a:lnTo>
                      <a:pt x="5469" y="42455"/>
                    </a:lnTo>
                    <a:lnTo>
                      <a:pt x="8733" y="47353"/>
                    </a:lnTo>
                    <a:lnTo>
                      <a:pt x="15278" y="52251"/>
                    </a:lnTo>
                    <a:lnTo>
                      <a:pt x="15278" y="52251"/>
                    </a:lnTo>
                    <a:lnTo>
                      <a:pt x="25105" y="58786"/>
                    </a:lnTo>
                    <a:lnTo>
                      <a:pt x="41458" y="66944"/>
                    </a:lnTo>
                    <a:lnTo>
                      <a:pt x="41458" y="66944"/>
                    </a:lnTo>
                    <a:lnTo>
                      <a:pt x="63281" y="76739"/>
                    </a:lnTo>
                    <a:lnTo>
                      <a:pt x="63281" y="76739"/>
                    </a:lnTo>
                    <a:lnTo>
                      <a:pt x="69827" y="80818"/>
                    </a:lnTo>
                    <a:lnTo>
                      <a:pt x="74184" y="84897"/>
                    </a:lnTo>
                    <a:lnTo>
                      <a:pt x="76372" y="88158"/>
                    </a:lnTo>
                    <a:lnTo>
                      <a:pt x="77466" y="92251"/>
                    </a:lnTo>
                    <a:lnTo>
                      <a:pt x="77466" y="92251"/>
                    </a:lnTo>
                    <a:lnTo>
                      <a:pt x="76372" y="94693"/>
                    </a:lnTo>
                    <a:lnTo>
                      <a:pt x="75278" y="97148"/>
                    </a:lnTo>
                    <a:lnTo>
                      <a:pt x="71996" y="99590"/>
                    </a:lnTo>
                    <a:lnTo>
                      <a:pt x="68733" y="101227"/>
                    </a:lnTo>
                    <a:lnTo>
                      <a:pt x="68733" y="101227"/>
                    </a:lnTo>
                    <a:lnTo>
                      <a:pt x="61093" y="102851"/>
                    </a:lnTo>
                    <a:lnTo>
                      <a:pt x="53454" y="102851"/>
                    </a:lnTo>
                    <a:lnTo>
                      <a:pt x="53454" y="102851"/>
                    </a:lnTo>
                    <a:lnTo>
                      <a:pt x="39270" y="102851"/>
                    </a:lnTo>
                    <a:lnTo>
                      <a:pt x="25105" y="101227"/>
                    </a:lnTo>
                    <a:lnTo>
                      <a:pt x="12015" y="97953"/>
                    </a:lnTo>
                    <a:lnTo>
                      <a:pt x="0" y="93874"/>
                    </a:lnTo>
                    <a:lnTo>
                      <a:pt x="0" y="114283"/>
                    </a:lnTo>
                    <a:lnTo>
                      <a:pt x="0" y="114283"/>
                    </a:lnTo>
                    <a:lnTo>
                      <a:pt x="12015" y="116739"/>
                    </a:lnTo>
                    <a:lnTo>
                      <a:pt x="24011" y="118362"/>
                    </a:lnTo>
                    <a:lnTo>
                      <a:pt x="37101" y="119181"/>
                    </a:lnTo>
                    <a:lnTo>
                      <a:pt x="49097" y="120000"/>
                    </a:lnTo>
                    <a:lnTo>
                      <a:pt x="49097" y="120000"/>
                    </a:lnTo>
                    <a:lnTo>
                      <a:pt x="59999" y="119181"/>
                    </a:lnTo>
                    <a:lnTo>
                      <a:pt x="69827" y="118362"/>
                    </a:lnTo>
                    <a:lnTo>
                      <a:pt x="79635" y="117544"/>
                    </a:lnTo>
                    <a:lnTo>
                      <a:pt x="88368" y="115102"/>
                    </a:lnTo>
                    <a:lnTo>
                      <a:pt x="88368" y="115102"/>
                    </a:lnTo>
                    <a:lnTo>
                      <a:pt x="94913" y="112646"/>
                    </a:lnTo>
                    <a:lnTo>
                      <a:pt x="102552" y="110204"/>
                    </a:lnTo>
                    <a:lnTo>
                      <a:pt x="108003" y="106944"/>
                    </a:lnTo>
                    <a:lnTo>
                      <a:pt x="112360" y="103669"/>
                    </a:lnTo>
                    <a:lnTo>
                      <a:pt x="115642" y="99590"/>
                    </a:lnTo>
                    <a:lnTo>
                      <a:pt x="117812" y="95511"/>
                    </a:lnTo>
                    <a:lnTo>
                      <a:pt x="119999" y="90613"/>
                    </a:lnTo>
                    <a:lnTo>
                      <a:pt x="119999" y="85716"/>
                    </a:lnTo>
                    <a:lnTo>
                      <a:pt x="119999" y="85716"/>
                    </a:lnTo>
                    <a:lnTo>
                      <a:pt x="119999" y="81637"/>
                    </a:lnTo>
                    <a:lnTo>
                      <a:pt x="117812" y="77558"/>
                    </a:lnTo>
                    <a:lnTo>
                      <a:pt x="115642" y="73465"/>
                    </a:lnTo>
                    <a:lnTo>
                      <a:pt x="111266" y="69386"/>
                    </a:lnTo>
                    <a:lnTo>
                      <a:pt x="105815" y="64488"/>
                    </a:lnTo>
                    <a:lnTo>
                      <a:pt x="100364" y="60409"/>
                    </a:lnTo>
                    <a:lnTo>
                      <a:pt x="92725" y="56330"/>
                    </a:lnTo>
                    <a:lnTo>
                      <a:pt x="83992"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9" name="Google Shape;30;p2">
                <a:extLst>
                  <a:ext uri="{FF2B5EF4-FFF2-40B4-BE49-F238E27FC236}">
                    <a16:creationId xmlns:a16="http://schemas.microsoft.com/office/drawing/2014/main" id="{F165A157-B21E-5447-B2ED-72FE051BA848}"/>
                  </a:ext>
                </a:extLst>
              </p:cNvPr>
              <p:cNvSpPr/>
              <p:nvPr/>
            </p:nvSpPr>
            <p:spPr>
              <a:xfrm>
                <a:off x="6148584" y="3466175"/>
                <a:ext cx="201000" cy="205200"/>
              </a:xfrm>
              <a:custGeom>
                <a:avLst/>
                <a:gdLst/>
                <a:ahLst/>
                <a:cxnLst/>
                <a:rect l="l" t="t" r="r" b="b"/>
                <a:pathLst>
                  <a:path w="120000" h="120000" fill="none" extrusionOk="0">
                    <a:moveTo>
                      <a:pt x="14" y="17752"/>
                    </a:moveTo>
                    <a:lnTo>
                      <a:pt x="44029" y="17752"/>
                    </a:lnTo>
                    <a:lnTo>
                      <a:pt x="44029" y="119985"/>
                    </a:lnTo>
                    <a:lnTo>
                      <a:pt x="75970" y="119985"/>
                    </a:lnTo>
                    <a:lnTo>
                      <a:pt x="75970" y="17752"/>
                    </a:lnTo>
                    <a:lnTo>
                      <a:pt x="120000" y="17752"/>
                    </a:lnTo>
                    <a:lnTo>
                      <a:pt x="120000" y="0"/>
                    </a:lnTo>
                    <a:lnTo>
                      <a:pt x="14" y="0"/>
                    </a:lnTo>
                    <a:lnTo>
                      <a:pt x="14" y="1775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0" name="Google Shape;31;p2">
                <a:extLst>
                  <a:ext uri="{FF2B5EF4-FFF2-40B4-BE49-F238E27FC236}">
                    <a16:creationId xmlns:a16="http://schemas.microsoft.com/office/drawing/2014/main" id="{09B2F371-A158-FE4C-BCF9-07AF3D53DBB4}"/>
                  </a:ext>
                </a:extLst>
              </p:cNvPr>
              <p:cNvSpPr/>
              <p:nvPr/>
            </p:nvSpPr>
            <p:spPr>
              <a:xfrm>
                <a:off x="6625710" y="3466175"/>
                <a:ext cx="219899" cy="205200"/>
              </a:xfrm>
              <a:custGeom>
                <a:avLst/>
                <a:gdLst/>
                <a:ahLst/>
                <a:cxnLst/>
                <a:rect l="l" t="t" r="r" b="b"/>
                <a:pathLst>
                  <a:path w="120000" h="120000" fill="none" extrusionOk="0">
                    <a:moveTo>
                      <a:pt x="89208" y="79425"/>
                    </a:moveTo>
                    <a:lnTo>
                      <a:pt x="89208" y="79425"/>
                    </a:lnTo>
                    <a:lnTo>
                      <a:pt x="85263" y="74355"/>
                    </a:lnTo>
                    <a:lnTo>
                      <a:pt x="85263" y="74355"/>
                    </a:lnTo>
                    <a:lnTo>
                      <a:pt x="81305" y="69299"/>
                    </a:lnTo>
                    <a:lnTo>
                      <a:pt x="77361" y="65910"/>
                    </a:lnTo>
                    <a:lnTo>
                      <a:pt x="77361" y="65910"/>
                    </a:lnTo>
                    <a:lnTo>
                      <a:pt x="85263" y="64229"/>
                    </a:lnTo>
                    <a:lnTo>
                      <a:pt x="91569" y="62535"/>
                    </a:lnTo>
                    <a:lnTo>
                      <a:pt x="97888" y="59159"/>
                    </a:lnTo>
                    <a:lnTo>
                      <a:pt x="101833" y="55770"/>
                    </a:lnTo>
                    <a:lnTo>
                      <a:pt x="105777" y="51547"/>
                    </a:lnTo>
                    <a:lnTo>
                      <a:pt x="108152" y="46477"/>
                    </a:lnTo>
                    <a:lnTo>
                      <a:pt x="109722" y="41407"/>
                    </a:lnTo>
                    <a:lnTo>
                      <a:pt x="110514" y="35490"/>
                    </a:lnTo>
                    <a:lnTo>
                      <a:pt x="110514" y="35490"/>
                    </a:lnTo>
                    <a:lnTo>
                      <a:pt x="109722" y="27044"/>
                    </a:lnTo>
                    <a:lnTo>
                      <a:pt x="107361" y="20280"/>
                    </a:lnTo>
                    <a:lnTo>
                      <a:pt x="103416" y="14362"/>
                    </a:lnTo>
                    <a:lnTo>
                      <a:pt x="98680" y="9292"/>
                    </a:lnTo>
                    <a:lnTo>
                      <a:pt x="91569" y="5070"/>
                    </a:lnTo>
                    <a:lnTo>
                      <a:pt x="83680" y="2542"/>
                    </a:lnTo>
                    <a:lnTo>
                      <a:pt x="74208" y="847"/>
                    </a:lnTo>
                    <a:lnTo>
                      <a:pt x="63152" y="0"/>
                    </a:lnTo>
                    <a:lnTo>
                      <a:pt x="13" y="0"/>
                    </a:lnTo>
                    <a:lnTo>
                      <a:pt x="13" y="4222"/>
                    </a:lnTo>
                    <a:lnTo>
                      <a:pt x="13" y="4222"/>
                    </a:lnTo>
                    <a:lnTo>
                      <a:pt x="3958" y="5070"/>
                    </a:lnTo>
                    <a:lnTo>
                      <a:pt x="7902" y="7612"/>
                    </a:lnTo>
                    <a:lnTo>
                      <a:pt x="7902" y="7612"/>
                    </a:lnTo>
                    <a:lnTo>
                      <a:pt x="10263" y="10140"/>
                    </a:lnTo>
                    <a:lnTo>
                      <a:pt x="11055" y="11834"/>
                    </a:lnTo>
                    <a:lnTo>
                      <a:pt x="11847" y="13529"/>
                    </a:lnTo>
                    <a:lnTo>
                      <a:pt x="11847" y="119985"/>
                    </a:lnTo>
                    <a:lnTo>
                      <a:pt x="41055" y="119985"/>
                    </a:lnTo>
                    <a:lnTo>
                      <a:pt x="41055" y="67605"/>
                    </a:lnTo>
                    <a:lnTo>
                      <a:pt x="41055" y="67605"/>
                    </a:lnTo>
                    <a:lnTo>
                      <a:pt x="47374" y="71827"/>
                    </a:lnTo>
                    <a:lnTo>
                      <a:pt x="53680" y="77745"/>
                    </a:lnTo>
                    <a:lnTo>
                      <a:pt x="53680" y="77745"/>
                    </a:lnTo>
                    <a:lnTo>
                      <a:pt x="63152" y="91260"/>
                    </a:lnTo>
                    <a:lnTo>
                      <a:pt x="85263" y="119985"/>
                    </a:lnTo>
                    <a:lnTo>
                      <a:pt x="119986" y="119985"/>
                    </a:lnTo>
                    <a:lnTo>
                      <a:pt x="93152" y="85342"/>
                    </a:lnTo>
                    <a:lnTo>
                      <a:pt x="89208" y="794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1" name="Google Shape;32;p2">
                <a:extLst>
                  <a:ext uri="{FF2B5EF4-FFF2-40B4-BE49-F238E27FC236}">
                    <a16:creationId xmlns:a16="http://schemas.microsoft.com/office/drawing/2014/main" id="{F287A59A-CD4F-6045-ADED-D50CD4BFC574}"/>
                  </a:ext>
                </a:extLst>
              </p:cNvPr>
              <p:cNvSpPr/>
              <p:nvPr/>
            </p:nvSpPr>
            <p:spPr>
              <a:xfrm>
                <a:off x="6700885" y="3493650"/>
                <a:ext cx="73801" cy="72300"/>
              </a:xfrm>
              <a:custGeom>
                <a:avLst/>
                <a:gdLst/>
                <a:ahLst/>
                <a:cxnLst/>
                <a:rect l="l" t="t" r="r" b="b"/>
                <a:pathLst>
                  <a:path w="120000" h="120000" fill="none" extrusionOk="0">
                    <a:moveTo>
                      <a:pt x="28261" y="120000"/>
                    </a:moveTo>
                    <a:lnTo>
                      <a:pt x="28261" y="120000"/>
                    </a:lnTo>
                    <a:lnTo>
                      <a:pt x="40" y="117593"/>
                    </a:lnTo>
                    <a:lnTo>
                      <a:pt x="40" y="0"/>
                    </a:lnTo>
                    <a:lnTo>
                      <a:pt x="30620" y="0"/>
                    </a:lnTo>
                    <a:lnTo>
                      <a:pt x="30620" y="0"/>
                    </a:lnTo>
                    <a:lnTo>
                      <a:pt x="58841" y="0"/>
                    </a:lnTo>
                    <a:lnTo>
                      <a:pt x="79986" y="2406"/>
                    </a:lnTo>
                    <a:lnTo>
                      <a:pt x="79986" y="2406"/>
                    </a:lnTo>
                    <a:lnTo>
                      <a:pt x="96455" y="9585"/>
                    </a:lnTo>
                    <a:lnTo>
                      <a:pt x="103531" y="14398"/>
                    </a:lnTo>
                    <a:lnTo>
                      <a:pt x="110565" y="21618"/>
                    </a:lnTo>
                    <a:lnTo>
                      <a:pt x="112924" y="28796"/>
                    </a:lnTo>
                    <a:lnTo>
                      <a:pt x="117641" y="36016"/>
                    </a:lnTo>
                    <a:lnTo>
                      <a:pt x="119959" y="55186"/>
                    </a:lnTo>
                    <a:lnTo>
                      <a:pt x="119959" y="55186"/>
                    </a:lnTo>
                    <a:lnTo>
                      <a:pt x="117641" y="69585"/>
                    </a:lnTo>
                    <a:lnTo>
                      <a:pt x="112924" y="83983"/>
                    </a:lnTo>
                    <a:lnTo>
                      <a:pt x="105848" y="93609"/>
                    </a:lnTo>
                    <a:lnTo>
                      <a:pt x="96455" y="103195"/>
                    </a:lnTo>
                    <a:lnTo>
                      <a:pt x="84703" y="110373"/>
                    </a:lnTo>
                    <a:lnTo>
                      <a:pt x="68234" y="115186"/>
                    </a:lnTo>
                    <a:lnTo>
                      <a:pt x="49406" y="117593"/>
                    </a:lnTo>
                    <a:lnTo>
                      <a:pt x="28261" y="12000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2" name="Google Shape;33;p2">
                <a:extLst>
                  <a:ext uri="{FF2B5EF4-FFF2-40B4-BE49-F238E27FC236}">
                    <a16:creationId xmlns:a16="http://schemas.microsoft.com/office/drawing/2014/main" id="{E4C4C9B2-5511-FB42-BF93-8F7742E76389}"/>
                  </a:ext>
                </a:extLst>
              </p:cNvPr>
              <p:cNvSpPr/>
              <p:nvPr/>
            </p:nvSpPr>
            <p:spPr>
              <a:xfrm>
                <a:off x="6874386" y="3463276"/>
                <a:ext cx="159001" cy="212400"/>
              </a:xfrm>
              <a:custGeom>
                <a:avLst/>
                <a:gdLst/>
                <a:ahLst/>
                <a:cxnLst/>
                <a:rect l="l" t="t" r="r" b="b"/>
                <a:pathLst>
                  <a:path w="120000" h="120000" fill="none" extrusionOk="0">
                    <a:moveTo>
                      <a:pt x="83998" y="52251"/>
                    </a:moveTo>
                    <a:lnTo>
                      <a:pt x="83998" y="52251"/>
                    </a:lnTo>
                    <a:lnTo>
                      <a:pt x="60009" y="41637"/>
                    </a:lnTo>
                    <a:lnTo>
                      <a:pt x="60009" y="41637"/>
                    </a:lnTo>
                    <a:lnTo>
                      <a:pt x="52371" y="36739"/>
                    </a:lnTo>
                    <a:lnTo>
                      <a:pt x="46921" y="33479"/>
                    </a:lnTo>
                    <a:lnTo>
                      <a:pt x="43639" y="30204"/>
                    </a:lnTo>
                    <a:lnTo>
                      <a:pt x="42545" y="27762"/>
                    </a:lnTo>
                    <a:lnTo>
                      <a:pt x="42545" y="27762"/>
                    </a:lnTo>
                    <a:lnTo>
                      <a:pt x="43639" y="24502"/>
                    </a:lnTo>
                    <a:lnTo>
                      <a:pt x="46921" y="21227"/>
                    </a:lnTo>
                    <a:lnTo>
                      <a:pt x="46921" y="21227"/>
                    </a:lnTo>
                    <a:lnTo>
                      <a:pt x="51277" y="19604"/>
                    </a:lnTo>
                    <a:lnTo>
                      <a:pt x="56727" y="17967"/>
                    </a:lnTo>
                    <a:lnTo>
                      <a:pt x="63272" y="17148"/>
                    </a:lnTo>
                    <a:lnTo>
                      <a:pt x="70909" y="16330"/>
                    </a:lnTo>
                    <a:lnTo>
                      <a:pt x="70909" y="16330"/>
                    </a:lnTo>
                    <a:lnTo>
                      <a:pt x="80716" y="17148"/>
                    </a:lnTo>
                    <a:lnTo>
                      <a:pt x="89448" y="18786"/>
                    </a:lnTo>
                    <a:lnTo>
                      <a:pt x="89448" y="18786"/>
                    </a:lnTo>
                    <a:lnTo>
                      <a:pt x="95992" y="20409"/>
                    </a:lnTo>
                    <a:lnTo>
                      <a:pt x="101442" y="22865"/>
                    </a:lnTo>
                    <a:lnTo>
                      <a:pt x="104724" y="26125"/>
                    </a:lnTo>
                    <a:lnTo>
                      <a:pt x="106892" y="29400"/>
                    </a:lnTo>
                    <a:lnTo>
                      <a:pt x="112362" y="29400"/>
                    </a:lnTo>
                    <a:lnTo>
                      <a:pt x="112362" y="4911"/>
                    </a:lnTo>
                    <a:lnTo>
                      <a:pt x="112362" y="4911"/>
                    </a:lnTo>
                    <a:lnTo>
                      <a:pt x="101442" y="2455"/>
                    </a:lnTo>
                    <a:lnTo>
                      <a:pt x="91636" y="818"/>
                    </a:lnTo>
                    <a:lnTo>
                      <a:pt x="80716" y="14"/>
                    </a:lnTo>
                    <a:lnTo>
                      <a:pt x="68722" y="14"/>
                    </a:lnTo>
                    <a:lnTo>
                      <a:pt x="68722" y="14"/>
                    </a:lnTo>
                    <a:lnTo>
                      <a:pt x="53465" y="818"/>
                    </a:lnTo>
                    <a:lnTo>
                      <a:pt x="39283" y="2455"/>
                    </a:lnTo>
                    <a:lnTo>
                      <a:pt x="28363" y="4911"/>
                    </a:lnTo>
                    <a:lnTo>
                      <a:pt x="18557" y="8990"/>
                    </a:lnTo>
                    <a:lnTo>
                      <a:pt x="18557" y="8990"/>
                    </a:lnTo>
                    <a:lnTo>
                      <a:pt x="10919" y="13069"/>
                    </a:lnTo>
                    <a:lnTo>
                      <a:pt x="5469" y="18786"/>
                    </a:lnTo>
                    <a:lnTo>
                      <a:pt x="2206" y="24502"/>
                    </a:lnTo>
                    <a:lnTo>
                      <a:pt x="1112" y="31023"/>
                    </a:lnTo>
                    <a:lnTo>
                      <a:pt x="1112" y="31023"/>
                    </a:lnTo>
                    <a:lnTo>
                      <a:pt x="2206" y="36739"/>
                    </a:lnTo>
                    <a:lnTo>
                      <a:pt x="4375" y="42455"/>
                    </a:lnTo>
                    <a:lnTo>
                      <a:pt x="8731" y="47353"/>
                    </a:lnTo>
                    <a:lnTo>
                      <a:pt x="15275" y="52251"/>
                    </a:lnTo>
                    <a:lnTo>
                      <a:pt x="15275" y="52251"/>
                    </a:lnTo>
                    <a:lnTo>
                      <a:pt x="25101" y="58786"/>
                    </a:lnTo>
                    <a:lnTo>
                      <a:pt x="41452" y="66944"/>
                    </a:lnTo>
                    <a:lnTo>
                      <a:pt x="41452" y="66944"/>
                    </a:lnTo>
                    <a:lnTo>
                      <a:pt x="63272" y="76739"/>
                    </a:lnTo>
                    <a:lnTo>
                      <a:pt x="63272" y="76739"/>
                    </a:lnTo>
                    <a:lnTo>
                      <a:pt x="69816" y="80818"/>
                    </a:lnTo>
                    <a:lnTo>
                      <a:pt x="74172" y="84897"/>
                    </a:lnTo>
                    <a:lnTo>
                      <a:pt x="76360" y="88158"/>
                    </a:lnTo>
                    <a:lnTo>
                      <a:pt x="77454" y="92251"/>
                    </a:lnTo>
                    <a:lnTo>
                      <a:pt x="77454" y="92251"/>
                    </a:lnTo>
                    <a:lnTo>
                      <a:pt x="76360" y="94693"/>
                    </a:lnTo>
                    <a:lnTo>
                      <a:pt x="75266" y="97148"/>
                    </a:lnTo>
                    <a:lnTo>
                      <a:pt x="72003" y="99590"/>
                    </a:lnTo>
                    <a:lnTo>
                      <a:pt x="68722" y="101227"/>
                    </a:lnTo>
                    <a:lnTo>
                      <a:pt x="68722" y="101227"/>
                    </a:lnTo>
                    <a:lnTo>
                      <a:pt x="61084" y="102851"/>
                    </a:lnTo>
                    <a:lnTo>
                      <a:pt x="52371" y="102851"/>
                    </a:lnTo>
                    <a:lnTo>
                      <a:pt x="52371" y="102851"/>
                    </a:lnTo>
                    <a:lnTo>
                      <a:pt x="38189" y="102851"/>
                    </a:lnTo>
                    <a:lnTo>
                      <a:pt x="25101" y="101227"/>
                    </a:lnTo>
                    <a:lnTo>
                      <a:pt x="12013" y="97953"/>
                    </a:lnTo>
                    <a:lnTo>
                      <a:pt x="18" y="93874"/>
                    </a:lnTo>
                    <a:lnTo>
                      <a:pt x="18" y="114283"/>
                    </a:lnTo>
                    <a:lnTo>
                      <a:pt x="18" y="114283"/>
                    </a:lnTo>
                    <a:lnTo>
                      <a:pt x="12013" y="116739"/>
                    </a:lnTo>
                    <a:lnTo>
                      <a:pt x="24007" y="118362"/>
                    </a:lnTo>
                    <a:lnTo>
                      <a:pt x="36001" y="119181"/>
                    </a:lnTo>
                    <a:lnTo>
                      <a:pt x="49090" y="120000"/>
                    </a:lnTo>
                    <a:lnTo>
                      <a:pt x="49090" y="120000"/>
                    </a:lnTo>
                    <a:lnTo>
                      <a:pt x="60009" y="119181"/>
                    </a:lnTo>
                    <a:lnTo>
                      <a:pt x="69816" y="118362"/>
                    </a:lnTo>
                    <a:lnTo>
                      <a:pt x="79641" y="117544"/>
                    </a:lnTo>
                    <a:lnTo>
                      <a:pt x="87260" y="115102"/>
                    </a:lnTo>
                    <a:lnTo>
                      <a:pt x="87260" y="115102"/>
                    </a:lnTo>
                    <a:lnTo>
                      <a:pt x="94898" y="112646"/>
                    </a:lnTo>
                    <a:lnTo>
                      <a:pt x="101442" y="110204"/>
                    </a:lnTo>
                    <a:lnTo>
                      <a:pt x="106892" y="106944"/>
                    </a:lnTo>
                    <a:lnTo>
                      <a:pt x="112362" y="103669"/>
                    </a:lnTo>
                    <a:lnTo>
                      <a:pt x="115624" y="99590"/>
                    </a:lnTo>
                    <a:lnTo>
                      <a:pt x="117812" y="95511"/>
                    </a:lnTo>
                    <a:lnTo>
                      <a:pt x="119981" y="90613"/>
                    </a:lnTo>
                    <a:lnTo>
                      <a:pt x="119981" y="85716"/>
                    </a:lnTo>
                    <a:lnTo>
                      <a:pt x="119981" y="85716"/>
                    </a:lnTo>
                    <a:lnTo>
                      <a:pt x="118906" y="81637"/>
                    </a:lnTo>
                    <a:lnTo>
                      <a:pt x="117812" y="77558"/>
                    </a:lnTo>
                    <a:lnTo>
                      <a:pt x="114530" y="73465"/>
                    </a:lnTo>
                    <a:lnTo>
                      <a:pt x="111268" y="69386"/>
                    </a:lnTo>
                    <a:lnTo>
                      <a:pt x="105818" y="64488"/>
                    </a:lnTo>
                    <a:lnTo>
                      <a:pt x="100348" y="60409"/>
                    </a:lnTo>
                    <a:lnTo>
                      <a:pt x="92729" y="56330"/>
                    </a:lnTo>
                    <a:lnTo>
                      <a:pt x="83998"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3" name="Google Shape;34;p2">
                <a:extLst>
                  <a:ext uri="{FF2B5EF4-FFF2-40B4-BE49-F238E27FC236}">
                    <a16:creationId xmlns:a16="http://schemas.microsoft.com/office/drawing/2014/main" id="{93814E34-F2D8-9E47-AC03-6E369D4C75BB}"/>
                  </a:ext>
                </a:extLst>
              </p:cNvPr>
              <p:cNvSpPr/>
              <p:nvPr/>
            </p:nvSpPr>
            <p:spPr>
              <a:xfrm>
                <a:off x="6362585" y="3461826"/>
                <a:ext cx="240001" cy="216899"/>
              </a:xfrm>
              <a:custGeom>
                <a:avLst/>
                <a:gdLst/>
                <a:ahLst/>
                <a:cxnLst/>
                <a:rect l="l" t="t" r="r" b="b"/>
                <a:pathLst>
                  <a:path w="120000" h="120000" fill="none" extrusionOk="0">
                    <a:moveTo>
                      <a:pt x="59993" y="13"/>
                    </a:moveTo>
                    <a:lnTo>
                      <a:pt x="59993" y="13"/>
                    </a:lnTo>
                    <a:lnTo>
                      <a:pt x="53494" y="13"/>
                    </a:lnTo>
                    <a:lnTo>
                      <a:pt x="46982" y="816"/>
                    </a:lnTo>
                    <a:lnTo>
                      <a:pt x="40483" y="2406"/>
                    </a:lnTo>
                    <a:lnTo>
                      <a:pt x="35421" y="4813"/>
                    </a:lnTo>
                    <a:lnTo>
                      <a:pt x="29634" y="7206"/>
                    </a:lnTo>
                    <a:lnTo>
                      <a:pt x="24572" y="10414"/>
                    </a:lnTo>
                    <a:lnTo>
                      <a:pt x="20235" y="13609"/>
                    </a:lnTo>
                    <a:lnTo>
                      <a:pt x="16623" y="17607"/>
                    </a:lnTo>
                    <a:lnTo>
                      <a:pt x="13011" y="21604"/>
                    </a:lnTo>
                    <a:lnTo>
                      <a:pt x="9399" y="26403"/>
                    </a:lnTo>
                    <a:lnTo>
                      <a:pt x="6511" y="31203"/>
                    </a:lnTo>
                    <a:lnTo>
                      <a:pt x="4337" y="36804"/>
                    </a:lnTo>
                    <a:lnTo>
                      <a:pt x="2887" y="41604"/>
                    </a:lnTo>
                    <a:lnTo>
                      <a:pt x="1449" y="48008"/>
                    </a:lnTo>
                    <a:lnTo>
                      <a:pt x="724" y="53609"/>
                    </a:lnTo>
                    <a:lnTo>
                      <a:pt x="0" y="60000"/>
                    </a:lnTo>
                    <a:lnTo>
                      <a:pt x="0" y="60000"/>
                    </a:lnTo>
                    <a:lnTo>
                      <a:pt x="724" y="65601"/>
                    </a:lnTo>
                    <a:lnTo>
                      <a:pt x="1449" y="72005"/>
                    </a:lnTo>
                    <a:lnTo>
                      <a:pt x="2887" y="77593"/>
                    </a:lnTo>
                    <a:lnTo>
                      <a:pt x="4337" y="83195"/>
                    </a:lnTo>
                    <a:lnTo>
                      <a:pt x="6511" y="88796"/>
                    </a:lnTo>
                    <a:lnTo>
                      <a:pt x="9399" y="93596"/>
                    </a:lnTo>
                    <a:lnTo>
                      <a:pt x="13011" y="98395"/>
                    </a:lnTo>
                    <a:lnTo>
                      <a:pt x="16623" y="102392"/>
                    </a:lnTo>
                    <a:lnTo>
                      <a:pt x="20235" y="106390"/>
                    </a:lnTo>
                    <a:lnTo>
                      <a:pt x="24572" y="109598"/>
                    </a:lnTo>
                    <a:lnTo>
                      <a:pt x="29634" y="112793"/>
                    </a:lnTo>
                    <a:lnTo>
                      <a:pt x="35421" y="115200"/>
                    </a:lnTo>
                    <a:lnTo>
                      <a:pt x="40483" y="116791"/>
                    </a:lnTo>
                    <a:lnTo>
                      <a:pt x="46982" y="118395"/>
                    </a:lnTo>
                    <a:lnTo>
                      <a:pt x="53494" y="119197"/>
                    </a:lnTo>
                    <a:lnTo>
                      <a:pt x="59993" y="120000"/>
                    </a:lnTo>
                    <a:lnTo>
                      <a:pt x="59993" y="120000"/>
                    </a:lnTo>
                    <a:lnTo>
                      <a:pt x="67230" y="119197"/>
                    </a:lnTo>
                    <a:lnTo>
                      <a:pt x="73004" y="118395"/>
                    </a:lnTo>
                    <a:lnTo>
                      <a:pt x="79516" y="116791"/>
                    </a:lnTo>
                    <a:lnTo>
                      <a:pt x="85291" y="115200"/>
                    </a:lnTo>
                    <a:lnTo>
                      <a:pt x="90353" y="112793"/>
                    </a:lnTo>
                    <a:lnTo>
                      <a:pt x="95415" y="109598"/>
                    </a:lnTo>
                    <a:lnTo>
                      <a:pt x="99752" y="106390"/>
                    </a:lnTo>
                    <a:lnTo>
                      <a:pt x="104089" y="102392"/>
                    </a:lnTo>
                    <a:lnTo>
                      <a:pt x="107701" y="98395"/>
                    </a:lnTo>
                    <a:lnTo>
                      <a:pt x="110600" y="93596"/>
                    </a:lnTo>
                    <a:lnTo>
                      <a:pt x="113488" y="88796"/>
                    </a:lnTo>
                    <a:lnTo>
                      <a:pt x="115650" y="83195"/>
                    </a:lnTo>
                    <a:lnTo>
                      <a:pt x="117825" y="77593"/>
                    </a:lnTo>
                    <a:lnTo>
                      <a:pt x="118550" y="72005"/>
                    </a:lnTo>
                    <a:lnTo>
                      <a:pt x="119987" y="65601"/>
                    </a:lnTo>
                    <a:lnTo>
                      <a:pt x="119987" y="60000"/>
                    </a:lnTo>
                    <a:lnTo>
                      <a:pt x="119987" y="60000"/>
                    </a:lnTo>
                    <a:lnTo>
                      <a:pt x="119987" y="53609"/>
                    </a:lnTo>
                    <a:lnTo>
                      <a:pt x="118550" y="48008"/>
                    </a:lnTo>
                    <a:lnTo>
                      <a:pt x="117825" y="41604"/>
                    </a:lnTo>
                    <a:lnTo>
                      <a:pt x="115650" y="36804"/>
                    </a:lnTo>
                    <a:lnTo>
                      <a:pt x="113488" y="31203"/>
                    </a:lnTo>
                    <a:lnTo>
                      <a:pt x="110600" y="26403"/>
                    </a:lnTo>
                    <a:lnTo>
                      <a:pt x="107701" y="21604"/>
                    </a:lnTo>
                    <a:lnTo>
                      <a:pt x="104089" y="17607"/>
                    </a:lnTo>
                    <a:lnTo>
                      <a:pt x="99752" y="13609"/>
                    </a:lnTo>
                    <a:lnTo>
                      <a:pt x="95415" y="10414"/>
                    </a:lnTo>
                    <a:lnTo>
                      <a:pt x="90353" y="7206"/>
                    </a:lnTo>
                    <a:lnTo>
                      <a:pt x="85291" y="4813"/>
                    </a:lnTo>
                    <a:lnTo>
                      <a:pt x="79516" y="2406"/>
                    </a:lnTo>
                    <a:lnTo>
                      <a:pt x="73004" y="816"/>
                    </a:lnTo>
                    <a:lnTo>
                      <a:pt x="67230" y="13"/>
                    </a:lnTo>
                    <a:lnTo>
                      <a:pt x="59993" y="13"/>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4" name="Google Shape;35;p2">
                <a:extLst>
                  <a:ext uri="{FF2B5EF4-FFF2-40B4-BE49-F238E27FC236}">
                    <a16:creationId xmlns:a16="http://schemas.microsoft.com/office/drawing/2014/main" id="{657BF3B5-A412-D94D-B607-3166ADA975D5}"/>
                  </a:ext>
                </a:extLst>
              </p:cNvPr>
              <p:cNvSpPr/>
              <p:nvPr/>
            </p:nvSpPr>
            <p:spPr>
              <a:xfrm>
                <a:off x="6418959" y="3493650"/>
                <a:ext cx="127201" cy="153301"/>
              </a:xfrm>
              <a:custGeom>
                <a:avLst/>
                <a:gdLst/>
                <a:ahLst/>
                <a:cxnLst/>
                <a:rect l="l" t="t" r="r" b="b"/>
                <a:pathLst>
                  <a:path w="120000" h="120000" fill="none" extrusionOk="0">
                    <a:moveTo>
                      <a:pt x="60000" y="119980"/>
                    </a:moveTo>
                    <a:lnTo>
                      <a:pt x="60000" y="119980"/>
                    </a:lnTo>
                    <a:lnTo>
                      <a:pt x="46373" y="118845"/>
                    </a:lnTo>
                    <a:lnTo>
                      <a:pt x="34090" y="116594"/>
                    </a:lnTo>
                    <a:lnTo>
                      <a:pt x="24565" y="112053"/>
                    </a:lnTo>
                    <a:lnTo>
                      <a:pt x="16385" y="105261"/>
                    </a:lnTo>
                    <a:lnTo>
                      <a:pt x="9548" y="97354"/>
                    </a:lnTo>
                    <a:lnTo>
                      <a:pt x="4102" y="87157"/>
                    </a:lnTo>
                    <a:lnTo>
                      <a:pt x="1367" y="74708"/>
                    </a:lnTo>
                    <a:lnTo>
                      <a:pt x="23" y="59990"/>
                    </a:lnTo>
                    <a:lnTo>
                      <a:pt x="23" y="59990"/>
                    </a:lnTo>
                    <a:lnTo>
                      <a:pt x="1367" y="45271"/>
                    </a:lnTo>
                    <a:lnTo>
                      <a:pt x="4102" y="32823"/>
                    </a:lnTo>
                    <a:lnTo>
                      <a:pt x="9548" y="22645"/>
                    </a:lnTo>
                    <a:lnTo>
                      <a:pt x="16385" y="13583"/>
                    </a:lnTo>
                    <a:lnTo>
                      <a:pt x="24565" y="7926"/>
                    </a:lnTo>
                    <a:lnTo>
                      <a:pt x="34090" y="3405"/>
                    </a:lnTo>
                    <a:lnTo>
                      <a:pt x="46373" y="1135"/>
                    </a:lnTo>
                    <a:lnTo>
                      <a:pt x="60000" y="0"/>
                    </a:lnTo>
                    <a:lnTo>
                      <a:pt x="60000" y="0"/>
                    </a:lnTo>
                    <a:lnTo>
                      <a:pt x="73650" y="1135"/>
                    </a:lnTo>
                    <a:lnTo>
                      <a:pt x="85909" y="3405"/>
                    </a:lnTo>
                    <a:lnTo>
                      <a:pt x="96825" y="7926"/>
                    </a:lnTo>
                    <a:lnTo>
                      <a:pt x="105005" y="13583"/>
                    </a:lnTo>
                    <a:lnTo>
                      <a:pt x="111819" y="22645"/>
                    </a:lnTo>
                    <a:lnTo>
                      <a:pt x="115897" y="32823"/>
                    </a:lnTo>
                    <a:lnTo>
                      <a:pt x="120000" y="45271"/>
                    </a:lnTo>
                    <a:lnTo>
                      <a:pt x="120000" y="59990"/>
                    </a:lnTo>
                    <a:lnTo>
                      <a:pt x="120000" y="59990"/>
                    </a:lnTo>
                    <a:lnTo>
                      <a:pt x="120000" y="74708"/>
                    </a:lnTo>
                    <a:lnTo>
                      <a:pt x="115897" y="87157"/>
                    </a:lnTo>
                    <a:lnTo>
                      <a:pt x="111819" y="97354"/>
                    </a:lnTo>
                    <a:lnTo>
                      <a:pt x="105005" y="105261"/>
                    </a:lnTo>
                    <a:lnTo>
                      <a:pt x="96825" y="112053"/>
                    </a:lnTo>
                    <a:lnTo>
                      <a:pt x="85909" y="116594"/>
                    </a:lnTo>
                    <a:lnTo>
                      <a:pt x="73650" y="118845"/>
                    </a:lnTo>
                    <a:lnTo>
                      <a:pt x="60000" y="11998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5" name="Google Shape;36;p2">
                <a:extLst>
                  <a:ext uri="{FF2B5EF4-FFF2-40B4-BE49-F238E27FC236}">
                    <a16:creationId xmlns:a16="http://schemas.microsoft.com/office/drawing/2014/main" id="{9E0D4379-6DA0-F04A-A960-284935822B89}"/>
                  </a:ext>
                </a:extLst>
              </p:cNvPr>
              <p:cNvSpPr/>
              <p:nvPr/>
            </p:nvSpPr>
            <p:spPr>
              <a:xfrm>
                <a:off x="5123508" y="2991950"/>
                <a:ext cx="1876804" cy="365701"/>
              </a:xfrm>
              <a:custGeom>
                <a:avLst/>
                <a:gdLst/>
                <a:ahLst/>
                <a:cxnLst/>
                <a:rect l="l" t="t" r="r" b="b"/>
                <a:pathLst>
                  <a:path w="120000" h="120000" extrusionOk="0">
                    <a:moveTo>
                      <a:pt x="13128" y="25136"/>
                    </a:moveTo>
                    <a:lnTo>
                      <a:pt x="16733" y="72096"/>
                    </a:lnTo>
                    <a:lnTo>
                      <a:pt x="9060" y="72096"/>
                    </a:lnTo>
                    <a:lnTo>
                      <a:pt x="13128" y="25136"/>
                    </a:lnTo>
                    <a:close/>
                    <a:moveTo>
                      <a:pt x="106316" y="25136"/>
                    </a:moveTo>
                    <a:lnTo>
                      <a:pt x="109922" y="72096"/>
                    </a:lnTo>
                    <a:lnTo>
                      <a:pt x="102248" y="72096"/>
                    </a:lnTo>
                    <a:lnTo>
                      <a:pt x="106316" y="25136"/>
                    </a:lnTo>
                    <a:close/>
                    <a:moveTo>
                      <a:pt x="7489" y="0"/>
                    </a:moveTo>
                    <a:lnTo>
                      <a:pt x="7489" y="3797"/>
                    </a:lnTo>
                    <a:lnTo>
                      <a:pt x="8136" y="4748"/>
                    </a:lnTo>
                    <a:lnTo>
                      <a:pt x="8505" y="5691"/>
                    </a:lnTo>
                    <a:lnTo>
                      <a:pt x="8876" y="6642"/>
                    </a:lnTo>
                    <a:lnTo>
                      <a:pt x="9153" y="8069"/>
                    </a:lnTo>
                    <a:lnTo>
                      <a:pt x="9338" y="9488"/>
                    </a:lnTo>
                    <a:lnTo>
                      <a:pt x="9338" y="11858"/>
                    </a:lnTo>
                    <a:lnTo>
                      <a:pt x="9153" y="14229"/>
                    </a:lnTo>
                    <a:lnTo>
                      <a:pt x="1" y="120000"/>
                    </a:lnTo>
                    <a:lnTo>
                      <a:pt x="4808" y="120000"/>
                    </a:lnTo>
                    <a:lnTo>
                      <a:pt x="7767" y="86801"/>
                    </a:lnTo>
                    <a:lnTo>
                      <a:pt x="17935" y="86801"/>
                    </a:lnTo>
                    <a:lnTo>
                      <a:pt x="20432" y="120000"/>
                    </a:lnTo>
                    <a:lnTo>
                      <a:pt x="26810" y="120000"/>
                    </a:lnTo>
                    <a:lnTo>
                      <a:pt x="17659" y="0"/>
                    </a:lnTo>
                    <a:close/>
                    <a:moveTo>
                      <a:pt x="24777" y="0"/>
                    </a:moveTo>
                    <a:lnTo>
                      <a:pt x="24777" y="3797"/>
                    </a:lnTo>
                    <a:lnTo>
                      <a:pt x="25517" y="4748"/>
                    </a:lnTo>
                    <a:lnTo>
                      <a:pt x="26256" y="6642"/>
                    </a:lnTo>
                    <a:lnTo>
                      <a:pt x="26627" y="7594"/>
                    </a:lnTo>
                    <a:lnTo>
                      <a:pt x="26903" y="9488"/>
                    </a:lnTo>
                    <a:lnTo>
                      <a:pt x="27180" y="11383"/>
                    </a:lnTo>
                    <a:lnTo>
                      <a:pt x="27365" y="13761"/>
                    </a:lnTo>
                    <a:lnTo>
                      <a:pt x="35593" y="120000"/>
                    </a:lnTo>
                    <a:lnTo>
                      <a:pt x="42249" y="120000"/>
                    </a:lnTo>
                    <a:lnTo>
                      <a:pt x="51957" y="0"/>
                    </a:lnTo>
                    <a:lnTo>
                      <a:pt x="47334" y="0"/>
                    </a:lnTo>
                    <a:lnTo>
                      <a:pt x="40216" y="87744"/>
                    </a:lnTo>
                    <a:lnTo>
                      <a:pt x="33374" y="0"/>
                    </a:lnTo>
                    <a:close/>
                    <a:moveTo>
                      <a:pt x="55285" y="0"/>
                    </a:moveTo>
                    <a:lnTo>
                      <a:pt x="55285" y="3797"/>
                    </a:lnTo>
                    <a:lnTo>
                      <a:pt x="55840" y="4748"/>
                    </a:lnTo>
                    <a:lnTo>
                      <a:pt x="56671" y="6167"/>
                    </a:lnTo>
                    <a:lnTo>
                      <a:pt x="57041" y="7594"/>
                    </a:lnTo>
                    <a:lnTo>
                      <a:pt x="57319" y="9488"/>
                    </a:lnTo>
                    <a:lnTo>
                      <a:pt x="57504" y="11383"/>
                    </a:lnTo>
                    <a:lnTo>
                      <a:pt x="57595" y="13761"/>
                    </a:lnTo>
                    <a:lnTo>
                      <a:pt x="57595" y="120000"/>
                    </a:lnTo>
                    <a:lnTo>
                      <a:pt x="63790" y="120000"/>
                    </a:lnTo>
                    <a:lnTo>
                      <a:pt x="63790" y="0"/>
                    </a:lnTo>
                    <a:close/>
                    <a:moveTo>
                      <a:pt x="67396" y="0"/>
                    </a:moveTo>
                    <a:lnTo>
                      <a:pt x="67396" y="3797"/>
                    </a:lnTo>
                    <a:lnTo>
                      <a:pt x="68227" y="4748"/>
                    </a:lnTo>
                    <a:lnTo>
                      <a:pt x="68967" y="6642"/>
                    </a:lnTo>
                    <a:lnTo>
                      <a:pt x="69244" y="7594"/>
                    </a:lnTo>
                    <a:lnTo>
                      <a:pt x="69615" y="9488"/>
                    </a:lnTo>
                    <a:lnTo>
                      <a:pt x="69799" y="11383"/>
                    </a:lnTo>
                    <a:lnTo>
                      <a:pt x="70077" y="13761"/>
                    </a:lnTo>
                    <a:lnTo>
                      <a:pt x="78305" y="120000"/>
                    </a:lnTo>
                    <a:lnTo>
                      <a:pt x="84868" y="120000"/>
                    </a:lnTo>
                    <a:lnTo>
                      <a:pt x="94575" y="0"/>
                    </a:lnTo>
                    <a:lnTo>
                      <a:pt x="90046" y="0"/>
                    </a:lnTo>
                    <a:lnTo>
                      <a:pt x="82835" y="87744"/>
                    </a:lnTo>
                    <a:lnTo>
                      <a:pt x="76086" y="0"/>
                    </a:lnTo>
                    <a:close/>
                    <a:moveTo>
                      <a:pt x="100676" y="0"/>
                    </a:moveTo>
                    <a:lnTo>
                      <a:pt x="100676" y="3797"/>
                    </a:lnTo>
                    <a:lnTo>
                      <a:pt x="101324" y="4748"/>
                    </a:lnTo>
                    <a:lnTo>
                      <a:pt x="101693" y="5691"/>
                    </a:lnTo>
                    <a:lnTo>
                      <a:pt x="102064" y="6642"/>
                    </a:lnTo>
                    <a:lnTo>
                      <a:pt x="102340" y="8069"/>
                    </a:lnTo>
                    <a:lnTo>
                      <a:pt x="102433" y="9488"/>
                    </a:lnTo>
                    <a:lnTo>
                      <a:pt x="102526" y="11858"/>
                    </a:lnTo>
                    <a:lnTo>
                      <a:pt x="102340" y="14229"/>
                    </a:lnTo>
                    <a:lnTo>
                      <a:pt x="93189" y="120000"/>
                    </a:lnTo>
                    <a:lnTo>
                      <a:pt x="97995" y="120000"/>
                    </a:lnTo>
                    <a:lnTo>
                      <a:pt x="100862" y="86801"/>
                    </a:lnTo>
                    <a:lnTo>
                      <a:pt x="111032" y="86801"/>
                    </a:lnTo>
                    <a:lnTo>
                      <a:pt x="113620" y="120000"/>
                    </a:lnTo>
                    <a:lnTo>
                      <a:pt x="119998" y="120000"/>
                    </a:lnTo>
                    <a:lnTo>
                      <a:pt x="110846"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6" name="Google Shape;37;p2">
                <a:extLst>
                  <a:ext uri="{FF2B5EF4-FFF2-40B4-BE49-F238E27FC236}">
                    <a16:creationId xmlns:a16="http://schemas.microsoft.com/office/drawing/2014/main" id="{FF4145FC-6C0C-2E43-AF9D-1466A93CF413}"/>
                  </a:ext>
                </a:extLst>
              </p:cNvPr>
              <p:cNvSpPr/>
              <p:nvPr/>
            </p:nvSpPr>
            <p:spPr>
              <a:xfrm>
                <a:off x="6196309" y="2036275"/>
                <a:ext cx="130200" cy="669299"/>
              </a:xfrm>
              <a:custGeom>
                <a:avLst/>
                <a:gdLst/>
                <a:ahLst/>
                <a:cxnLst/>
                <a:rect l="l" t="t" r="r" b="b"/>
                <a:pathLst>
                  <a:path w="120000" h="120000" extrusionOk="0">
                    <a:moveTo>
                      <a:pt x="60000" y="0"/>
                    </a:moveTo>
                    <a:lnTo>
                      <a:pt x="0" y="120000"/>
                    </a:lnTo>
                    <a:lnTo>
                      <a:pt x="60000" y="118700"/>
                    </a:lnTo>
                    <a:lnTo>
                      <a:pt x="119976" y="117925"/>
                    </a:lnTo>
                    <a:lnTo>
                      <a:pt x="60000" y="0"/>
                    </a:lnTo>
                    <a:close/>
                  </a:path>
                </a:pathLst>
              </a:custGeom>
              <a:solidFill>
                <a:srgbClr val="FFDD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7" name="Google Shape;38;p2">
                <a:extLst>
                  <a:ext uri="{FF2B5EF4-FFF2-40B4-BE49-F238E27FC236}">
                    <a16:creationId xmlns:a16="http://schemas.microsoft.com/office/drawing/2014/main" id="{CC6717A6-435F-E548-9E34-55534855C5E7}"/>
                  </a:ext>
                </a:extLst>
              </p:cNvPr>
              <p:cNvSpPr/>
              <p:nvPr/>
            </p:nvSpPr>
            <p:spPr>
              <a:xfrm>
                <a:off x="6196309" y="2036275"/>
                <a:ext cx="130200" cy="669299"/>
              </a:xfrm>
              <a:custGeom>
                <a:avLst/>
                <a:gdLst/>
                <a:ahLst/>
                <a:cxnLst/>
                <a:rect l="l" t="t" r="r" b="b"/>
                <a:pathLst>
                  <a:path w="120000" h="120000" fill="none" extrusionOk="0">
                    <a:moveTo>
                      <a:pt x="119976" y="117925"/>
                    </a:moveTo>
                    <a:lnTo>
                      <a:pt x="60000" y="0"/>
                    </a:lnTo>
                    <a:lnTo>
                      <a:pt x="0" y="120000"/>
                    </a:lnTo>
                    <a:lnTo>
                      <a:pt x="0" y="120000"/>
                    </a:lnTo>
                    <a:lnTo>
                      <a:pt x="60000" y="118700"/>
                    </a:lnTo>
                    <a:lnTo>
                      <a:pt x="119976" y="1179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8" name="Google Shape;39;p2">
                <a:extLst>
                  <a:ext uri="{FF2B5EF4-FFF2-40B4-BE49-F238E27FC236}">
                    <a16:creationId xmlns:a16="http://schemas.microsoft.com/office/drawing/2014/main" id="{AD034C1E-7439-FC44-B679-50DB39D3DB99}"/>
                  </a:ext>
                </a:extLst>
              </p:cNvPr>
              <p:cNvSpPr/>
              <p:nvPr/>
            </p:nvSpPr>
            <p:spPr>
              <a:xfrm>
                <a:off x="6261356" y="2036275"/>
                <a:ext cx="221101" cy="657900"/>
              </a:xfrm>
              <a:custGeom>
                <a:avLst/>
                <a:gdLst/>
                <a:ahLst/>
                <a:cxnLst/>
                <a:rect l="l" t="t" r="r" b="b"/>
                <a:pathLst>
                  <a:path w="120000" h="120000" extrusionOk="0">
                    <a:moveTo>
                      <a:pt x="13" y="0"/>
                    </a:moveTo>
                    <a:lnTo>
                      <a:pt x="35294" y="120000"/>
                    </a:lnTo>
                    <a:lnTo>
                      <a:pt x="76854" y="119471"/>
                    </a:lnTo>
                    <a:lnTo>
                      <a:pt x="119986" y="119206"/>
                    </a:lnTo>
                    <a:lnTo>
                      <a:pt x="119986" y="0"/>
                    </a:lnTo>
                    <a:close/>
                  </a:path>
                </a:pathLst>
              </a:custGeom>
              <a:solidFill>
                <a:srgbClr val="5EB62D"/>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9" name="Google Shape;40;p2">
                <a:extLst>
                  <a:ext uri="{FF2B5EF4-FFF2-40B4-BE49-F238E27FC236}">
                    <a16:creationId xmlns:a16="http://schemas.microsoft.com/office/drawing/2014/main" id="{B9BE138E-AD69-7049-93A4-8A0296C0E7A1}"/>
                  </a:ext>
                </a:extLst>
              </p:cNvPr>
              <p:cNvSpPr/>
              <p:nvPr/>
            </p:nvSpPr>
            <p:spPr>
              <a:xfrm>
                <a:off x="6261350" y="2036275"/>
                <a:ext cx="221101" cy="657900"/>
              </a:xfrm>
              <a:custGeom>
                <a:avLst/>
                <a:gdLst/>
                <a:ahLst/>
                <a:cxnLst/>
                <a:rect l="l" t="t" r="r" b="b"/>
                <a:pathLst>
                  <a:path w="120000" h="120000" fill="none" extrusionOk="0">
                    <a:moveTo>
                      <a:pt x="119986" y="119206"/>
                    </a:moveTo>
                    <a:lnTo>
                      <a:pt x="119986" y="0"/>
                    </a:lnTo>
                    <a:lnTo>
                      <a:pt x="13" y="0"/>
                    </a:lnTo>
                    <a:lnTo>
                      <a:pt x="13" y="0"/>
                    </a:lnTo>
                    <a:lnTo>
                      <a:pt x="35294" y="120000"/>
                    </a:lnTo>
                    <a:lnTo>
                      <a:pt x="35294" y="120000"/>
                    </a:lnTo>
                    <a:lnTo>
                      <a:pt x="76854" y="119471"/>
                    </a:lnTo>
                    <a:lnTo>
                      <a:pt x="119986" y="11920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50" name="Google Shape;41;p2">
                <a:extLst>
                  <a:ext uri="{FF2B5EF4-FFF2-40B4-BE49-F238E27FC236}">
                    <a16:creationId xmlns:a16="http://schemas.microsoft.com/office/drawing/2014/main" id="{10040BEF-6F39-2140-AA6A-12BD82B641A2}"/>
                  </a:ext>
                </a:extLst>
              </p:cNvPr>
              <p:cNvSpPr/>
              <p:nvPr/>
            </p:nvSpPr>
            <p:spPr>
              <a:xfrm>
                <a:off x="5685926" y="2036275"/>
                <a:ext cx="575399" cy="795300"/>
              </a:xfrm>
              <a:custGeom>
                <a:avLst/>
                <a:gdLst/>
                <a:ahLst/>
                <a:cxnLst/>
                <a:rect l="l" t="t" r="r" b="b"/>
                <a:pathLst>
                  <a:path w="120000" h="120000" extrusionOk="0">
                    <a:moveTo>
                      <a:pt x="5" y="0"/>
                    </a:move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lnTo>
                      <a:pt x="120000"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51" name="Google Shape;42;p2">
                <a:extLst>
                  <a:ext uri="{FF2B5EF4-FFF2-40B4-BE49-F238E27FC236}">
                    <a16:creationId xmlns:a16="http://schemas.microsoft.com/office/drawing/2014/main" id="{8B42EB4D-3D24-F148-B57B-AD3E6BED09A0}"/>
                  </a:ext>
                </a:extLst>
              </p:cNvPr>
              <p:cNvSpPr/>
              <p:nvPr/>
            </p:nvSpPr>
            <p:spPr>
              <a:xfrm>
                <a:off x="5685926" y="2036275"/>
                <a:ext cx="575399" cy="795300"/>
              </a:xfrm>
              <a:custGeom>
                <a:avLst/>
                <a:gdLst/>
                <a:ahLst/>
                <a:cxnLst/>
                <a:rect l="l" t="t" r="r" b="b"/>
                <a:pathLst>
                  <a:path w="120000" h="120000" fill="none" extrusionOk="0">
                    <a:moveTo>
                      <a:pt x="106429" y="101016"/>
                    </a:moveTo>
                    <a:lnTo>
                      <a:pt x="120000" y="0"/>
                    </a:lnTo>
                    <a:lnTo>
                      <a:pt x="120000" y="0"/>
                    </a:lnTo>
                    <a:lnTo>
                      <a:pt x="5" y="0"/>
                    </a:lnTo>
                    <a:lnTo>
                      <a:pt x="5" y="119996"/>
                    </a:ln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33520264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secHead" preserve="1">
  <p:cSld name="Divider Slide Dark">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688AED4-22AD-3941-81FD-58895A5481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05050" y="0"/>
            <a:ext cx="9886950" cy="6858000"/>
          </a:xfrm>
          <a:prstGeom prst="rect">
            <a:avLst/>
          </a:prstGeom>
        </p:spPr>
      </p:pic>
      <p:sp>
        <p:nvSpPr>
          <p:cNvPr id="2" name="Title 1">
            <a:extLst>
              <a:ext uri="{FF2B5EF4-FFF2-40B4-BE49-F238E27FC236}">
                <a16:creationId xmlns:a16="http://schemas.microsoft.com/office/drawing/2014/main" id="{99B31A7C-542A-4545-9E04-E38BD247503D}"/>
              </a:ext>
            </a:extLst>
          </p:cNvPr>
          <p:cNvSpPr>
            <a:spLocks noGrp="1"/>
          </p:cNvSpPr>
          <p:nvPr>
            <p:ph type="title"/>
          </p:nvPr>
        </p:nvSpPr>
        <p:spPr>
          <a:xfrm>
            <a:off x="1099106" y="3436526"/>
            <a:ext cx="4572000" cy="1880471"/>
          </a:xfrm>
        </p:spPr>
        <p:txBody>
          <a:bodyPr anchor="b"/>
          <a:lstStyle>
            <a:lvl1pPr>
              <a:lnSpc>
                <a:spcPct val="100000"/>
              </a:lnSpc>
              <a:defRPr sz="3600">
                <a:solidFill>
                  <a:schemeClr val="bg1"/>
                </a:solidFill>
              </a:defRPr>
            </a:lvl1pPr>
            <a:lvl2pPr>
              <a:defRPr sz="3600" b="1">
                <a:solidFill>
                  <a:schemeClr val="bg1"/>
                </a:solidFill>
                <a:latin typeface="+mn-lt"/>
              </a:defRPr>
            </a:lvl2pPr>
            <a:lvl3pPr>
              <a:defRPr sz="2800">
                <a:solidFill>
                  <a:schemeClr val="bg1"/>
                </a:solidFill>
                <a:latin typeface="+mn-lt"/>
              </a:defRPr>
            </a:lvl3p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4FE3AC6C-1A0E-4706-8193-6A65C54EE764}"/>
              </a:ext>
            </a:extLst>
          </p:cNvPr>
          <p:cNvSpPr>
            <a:spLocks noGrp="1"/>
          </p:cNvSpPr>
          <p:nvPr>
            <p:ph type="body" idx="1"/>
          </p:nvPr>
        </p:nvSpPr>
        <p:spPr>
          <a:xfrm>
            <a:off x="1099106" y="5976000"/>
            <a:ext cx="4572000" cy="440675"/>
          </a:xfrm>
        </p:spPr>
        <p:txBody>
          <a:bodyPr/>
          <a:lstStyle>
            <a:lvl1pPr marL="0" indent="0">
              <a:buNone/>
              <a:defRPr sz="2000">
                <a:solidFill>
                  <a:schemeClr val="bg1"/>
                </a:solidFill>
              </a:defRPr>
            </a:lvl1pPr>
            <a:lvl2pPr marL="0" indent="0">
              <a:buNone/>
              <a:defRPr sz="1800" b="0">
                <a:solidFill>
                  <a:schemeClr val="bg1"/>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Google Shape;191;p17">
            <a:extLst>
              <a:ext uri="{FF2B5EF4-FFF2-40B4-BE49-F238E27FC236}">
                <a16:creationId xmlns:a16="http://schemas.microsoft.com/office/drawing/2014/main" id="{0DA1802E-7696-4EE9-83C9-C0ABC185DB6A}"/>
              </a:ext>
            </a:extLst>
          </p:cNvPr>
          <p:cNvSpPr/>
          <p:nvPr userDrawn="1"/>
        </p:nvSpPr>
        <p:spPr>
          <a:xfrm>
            <a:off x="1099399" y="565011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grpSp>
        <p:nvGrpSpPr>
          <p:cNvPr id="30" name="Google Shape;21;p2">
            <a:extLst>
              <a:ext uri="{FF2B5EF4-FFF2-40B4-BE49-F238E27FC236}">
                <a16:creationId xmlns:a16="http://schemas.microsoft.com/office/drawing/2014/main" id="{F811F8B4-432A-CC42-9EA5-E6E43F39D160}"/>
              </a:ext>
            </a:extLst>
          </p:cNvPr>
          <p:cNvGrpSpPr/>
          <p:nvPr userDrawn="1"/>
        </p:nvGrpSpPr>
        <p:grpSpPr>
          <a:xfrm>
            <a:off x="1099106" y="-14"/>
            <a:ext cx="958858" cy="1185166"/>
            <a:chOff x="4763500" y="1239650"/>
            <a:chExt cx="2618400" cy="3235799"/>
          </a:xfrm>
        </p:grpSpPr>
        <p:sp>
          <p:nvSpPr>
            <p:cNvPr id="31" name="Google Shape;22;p2">
              <a:extLst>
                <a:ext uri="{FF2B5EF4-FFF2-40B4-BE49-F238E27FC236}">
                  <a16:creationId xmlns:a16="http://schemas.microsoft.com/office/drawing/2014/main" id="{0CE3A472-E00A-4E43-A9E1-AE7062A1929E}"/>
                </a:ext>
              </a:extLst>
            </p:cNvPr>
            <p:cNvSpPr/>
            <p:nvPr/>
          </p:nvSpPr>
          <p:spPr>
            <a:xfrm>
              <a:off x="4763500" y="1239650"/>
              <a:ext cx="2618400" cy="3235799"/>
            </a:xfrm>
            <a:custGeom>
              <a:avLst/>
              <a:gdLst/>
              <a:ahLst/>
              <a:cxnLst/>
              <a:rect l="l" t="t" r="r" b="b"/>
              <a:pathLst>
                <a:path w="120000" h="120000" extrusionOk="0">
                  <a:moveTo>
                    <a:pt x="0" y="0"/>
                  </a:moveTo>
                  <a:lnTo>
                    <a:pt x="0" y="120000"/>
                  </a:lnTo>
                  <a:lnTo>
                    <a:pt x="120000" y="120000"/>
                  </a:lnTo>
                  <a:lnTo>
                    <a:pt x="120000" y="0"/>
                  </a:lnTo>
                  <a:close/>
                </a:path>
              </a:pathLst>
            </a:custGeom>
            <a:solidFill>
              <a:srgbClr val="FFD9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nvGrpSpPr>
            <p:cNvPr id="32" name="Google Shape;23;p2">
              <a:extLst>
                <a:ext uri="{FF2B5EF4-FFF2-40B4-BE49-F238E27FC236}">
                  <a16:creationId xmlns:a16="http://schemas.microsoft.com/office/drawing/2014/main" id="{FEFD9D9E-6378-4446-98A4-1AB3C4B7D32C}"/>
                </a:ext>
              </a:extLst>
            </p:cNvPr>
            <p:cNvGrpSpPr/>
            <p:nvPr userDrawn="1"/>
          </p:nvGrpSpPr>
          <p:grpSpPr>
            <a:xfrm>
              <a:off x="5111949" y="2036274"/>
              <a:ext cx="1921499" cy="1642450"/>
              <a:chOff x="5111957" y="2036275"/>
              <a:chExt cx="1921504" cy="1642450"/>
            </a:xfrm>
          </p:grpSpPr>
          <p:sp>
            <p:nvSpPr>
              <p:cNvPr id="33" name="Google Shape;24;p2">
                <a:extLst>
                  <a:ext uri="{FF2B5EF4-FFF2-40B4-BE49-F238E27FC236}">
                    <a16:creationId xmlns:a16="http://schemas.microsoft.com/office/drawing/2014/main" id="{1C7F2690-2497-5941-8531-81F7BF2F8A6A}"/>
                  </a:ext>
                </a:extLst>
              </p:cNvPr>
              <p:cNvSpPr/>
              <p:nvPr/>
            </p:nvSpPr>
            <p:spPr>
              <a:xfrm>
                <a:off x="5111957" y="3461826"/>
                <a:ext cx="1921504" cy="216899"/>
              </a:xfrm>
              <a:custGeom>
                <a:avLst/>
                <a:gdLst/>
                <a:ahLst/>
                <a:cxnLst/>
                <a:rect l="l" t="t" r="r" b="b"/>
                <a:pathLst>
                  <a:path w="120000" h="120000" extrusionOk="0">
                    <a:moveTo>
                      <a:pt x="101489" y="17607"/>
                    </a:moveTo>
                    <a:lnTo>
                      <a:pt x="102301" y="18409"/>
                    </a:lnTo>
                    <a:lnTo>
                      <a:pt x="102933" y="20802"/>
                    </a:lnTo>
                    <a:lnTo>
                      <a:pt x="103205" y="22406"/>
                    </a:lnTo>
                    <a:lnTo>
                      <a:pt x="103475" y="24813"/>
                    </a:lnTo>
                    <a:lnTo>
                      <a:pt x="103565" y="27206"/>
                    </a:lnTo>
                    <a:lnTo>
                      <a:pt x="103747" y="29612"/>
                    </a:lnTo>
                    <a:lnTo>
                      <a:pt x="103836" y="36002"/>
                    </a:lnTo>
                    <a:lnTo>
                      <a:pt x="103747" y="40802"/>
                    </a:lnTo>
                    <a:lnTo>
                      <a:pt x="103565" y="45601"/>
                    </a:lnTo>
                    <a:lnTo>
                      <a:pt x="103294" y="48810"/>
                    </a:lnTo>
                    <a:lnTo>
                      <a:pt x="102933" y="52005"/>
                    </a:lnTo>
                    <a:lnTo>
                      <a:pt x="102482" y="54398"/>
                    </a:lnTo>
                    <a:lnTo>
                      <a:pt x="101850" y="56002"/>
                    </a:lnTo>
                    <a:lnTo>
                      <a:pt x="101127" y="56804"/>
                    </a:lnTo>
                    <a:lnTo>
                      <a:pt x="100315" y="57607"/>
                    </a:lnTo>
                    <a:lnTo>
                      <a:pt x="99231" y="56804"/>
                    </a:lnTo>
                    <a:lnTo>
                      <a:pt x="99231" y="17607"/>
                    </a:lnTo>
                    <a:close/>
                    <a:moveTo>
                      <a:pt x="85597" y="17607"/>
                    </a:moveTo>
                    <a:lnTo>
                      <a:pt x="86501" y="18409"/>
                    </a:lnTo>
                    <a:lnTo>
                      <a:pt x="87313" y="20013"/>
                    </a:lnTo>
                    <a:lnTo>
                      <a:pt x="88035" y="23208"/>
                    </a:lnTo>
                    <a:lnTo>
                      <a:pt x="88577" y="27206"/>
                    </a:lnTo>
                    <a:lnTo>
                      <a:pt x="89028" y="33609"/>
                    </a:lnTo>
                    <a:lnTo>
                      <a:pt x="89298" y="40802"/>
                    </a:lnTo>
                    <a:lnTo>
                      <a:pt x="89570" y="49598"/>
                    </a:lnTo>
                    <a:lnTo>
                      <a:pt x="89570" y="60000"/>
                    </a:lnTo>
                    <a:lnTo>
                      <a:pt x="89570" y="70401"/>
                    </a:lnTo>
                    <a:lnTo>
                      <a:pt x="89298" y="79197"/>
                    </a:lnTo>
                    <a:lnTo>
                      <a:pt x="89028" y="86403"/>
                    </a:lnTo>
                    <a:lnTo>
                      <a:pt x="88577" y="91991"/>
                    </a:lnTo>
                    <a:lnTo>
                      <a:pt x="88035" y="96791"/>
                    </a:lnTo>
                    <a:lnTo>
                      <a:pt x="87313" y="100000"/>
                    </a:lnTo>
                    <a:lnTo>
                      <a:pt x="86501" y="101590"/>
                    </a:lnTo>
                    <a:lnTo>
                      <a:pt x="85597" y="102392"/>
                    </a:lnTo>
                    <a:lnTo>
                      <a:pt x="84694" y="101590"/>
                    </a:lnTo>
                    <a:lnTo>
                      <a:pt x="83881" y="100000"/>
                    </a:lnTo>
                    <a:lnTo>
                      <a:pt x="83250" y="96791"/>
                    </a:lnTo>
                    <a:lnTo>
                      <a:pt x="82708" y="91991"/>
                    </a:lnTo>
                    <a:lnTo>
                      <a:pt x="82256" y="86403"/>
                    </a:lnTo>
                    <a:lnTo>
                      <a:pt x="81895" y="79197"/>
                    </a:lnTo>
                    <a:lnTo>
                      <a:pt x="81714" y="70401"/>
                    </a:lnTo>
                    <a:lnTo>
                      <a:pt x="81625" y="60000"/>
                    </a:lnTo>
                    <a:lnTo>
                      <a:pt x="81714" y="49598"/>
                    </a:lnTo>
                    <a:lnTo>
                      <a:pt x="81895" y="40802"/>
                    </a:lnTo>
                    <a:lnTo>
                      <a:pt x="82256" y="33609"/>
                    </a:lnTo>
                    <a:lnTo>
                      <a:pt x="82708" y="27206"/>
                    </a:lnTo>
                    <a:lnTo>
                      <a:pt x="83250" y="23208"/>
                    </a:lnTo>
                    <a:lnTo>
                      <a:pt x="83881" y="20013"/>
                    </a:lnTo>
                    <a:lnTo>
                      <a:pt x="84694" y="18409"/>
                    </a:lnTo>
                    <a:lnTo>
                      <a:pt x="85597" y="17607"/>
                    </a:lnTo>
                    <a:close/>
                    <a:moveTo>
                      <a:pt x="0" y="2406"/>
                    </a:moveTo>
                    <a:lnTo>
                      <a:pt x="0" y="6403"/>
                    </a:lnTo>
                    <a:lnTo>
                      <a:pt x="451" y="7206"/>
                    </a:lnTo>
                    <a:lnTo>
                      <a:pt x="902" y="9612"/>
                    </a:lnTo>
                    <a:lnTo>
                      <a:pt x="1174" y="12807"/>
                    </a:lnTo>
                    <a:lnTo>
                      <a:pt x="1264" y="14412"/>
                    </a:lnTo>
                    <a:lnTo>
                      <a:pt x="1355" y="16002"/>
                    </a:lnTo>
                    <a:lnTo>
                      <a:pt x="1355" y="115988"/>
                    </a:lnTo>
                    <a:lnTo>
                      <a:pt x="4694" y="115988"/>
                    </a:lnTo>
                    <a:lnTo>
                      <a:pt x="4694" y="2406"/>
                    </a:lnTo>
                    <a:close/>
                    <a:moveTo>
                      <a:pt x="7133" y="2406"/>
                    </a:moveTo>
                    <a:lnTo>
                      <a:pt x="7133" y="6403"/>
                    </a:lnTo>
                    <a:lnTo>
                      <a:pt x="7584" y="7206"/>
                    </a:lnTo>
                    <a:lnTo>
                      <a:pt x="7945" y="9612"/>
                    </a:lnTo>
                    <a:lnTo>
                      <a:pt x="8307" y="12807"/>
                    </a:lnTo>
                    <a:lnTo>
                      <a:pt x="8398" y="14412"/>
                    </a:lnTo>
                    <a:lnTo>
                      <a:pt x="8398" y="16002"/>
                    </a:lnTo>
                    <a:lnTo>
                      <a:pt x="8398" y="115988"/>
                    </a:lnTo>
                    <a:lnTo>
                      <a:pt x="10925" y="115988"/>
                    </a:lnTo>
                    <a:lnTo>
                      <a:pt x="10925" y="40802"/>
                    </a:lnTo>
                    <a:lnTo>
                      <a:pt x="17336" y="115988"/>
                    </a:lnTo>
                    <a:lnTo>
                      <a:pt x="21670" y="115988"/>
                    </a:lnTo>
                    <a:lnTo>
                      <a:pt x="21670" y="2406"/>
                    </a:lnTo>
                    <a:lnTo>
                      <a:pt x="19231" y="2406"/>
                    </a:lnTo>
                    <a:lnTo>
                      <a:pt x="19231" y="86403"/>
                    </a:lnTo>
                    <a:lnTo>
                      <a:pt x="12009" y="2406"/>
                    </a:lnTo>
                    <a:close/>
                    <a:moveTo>
                      <a:pt x="23837" y="2406"/>
                    </a:moveTo>
                    <a:lnTo>
                      <a:pt x="23837" y="6403"/>
                    </a:lnTo>
                    <a:lnTo>
                      <a:pt x="24288" y="8008"/>
                    </a:lnTo>
                    <a:lnTo>
                      <a:pt x="24740" y="9612"/>
                    </a:lnTo>
                    <a:lnTo>
                      <a:pt x="25011" y="12005"/>
                    </a:lnTo>
                    <a:lnTo>
                      <a:pt x="25281" y="15214"/>
                    </a:lnTo>
                    <a:lnTo>
                      <a:pt x="29706" y="115988"/>
                    </a:lnTo>
                    <a:lnTo>
                      <a:pt x="33317" y="115988"/>
                    </a:lnTo>
                    <a:lnTo>
                      <a:pt x="38644" y="2406"/>
                    </a:lnTo>
                    <a:lnTo>
                      <a:pt x="36117" y="2406"/>
                    </a:lnTo>
                    <a:lnTo>
                      <a:pt x="32234" y="85601"/>
                    </a:lnTo>
                    <a:lnTo>
                      <a:pt x="28532" y="2406"/>
                    </a:lnTo>
                    <a:close/>
                    <a:moveTo>
                      <a:pt x="40451" y="2406"/>
                    </a:moveTo>
                    <a:lnTo>
                      <a:pt x="40451" y="6403"/>
                    </a:lnTo>
                    <a:lnTo>
                      <a:pt x="40902" y="7206"/>
                    </a:lnTo>
                    <a:lnTo>
                      <a:pt x="41353" y="9612"/>
                    </a:lnTo>
                    <a:lnTo>
                      <a:pt x="41625" y="12005"/>
                    </a:lnTo>
                    <a:lnTo>
                      <a:pt x="41715" y="14412"/>
                    </a:lnTo>
                    <a:lnTo>
                      <a:pt x="41715" y="16002"/>
                    </a:lnTo>
                    <a:lnTo>
                      <a:pt x="41715" y="115988"/>
                    </a:lnTo>
                    <a:lnTo>
                      <a:pt x="50654" y="115988"/>
                    </a:lnTo>
                    <a:lnTo>
                      <a:pt x="50654" y="99197"/>
                    </a:lnTo>
                    <a:lnTo>
                      <a:pt x="45145" y="99197"/>
                    </a:lnTo>
                    <a:lnTo>
                      <a:pt x="45145" y="63997"/>
                    </a:lnTo>
                    <a:lnTo>
                      <a:pt x="50202" y="63997"/>
                    </a:lnTo>
                    <a:lnTo>
                      <a:pt x="50202" y="48008"/>
                    </a:lnTo>
                    <a:lnTo>
                      <a:pt x="45145" y="48008"/>
                    </a:lnTo>
                    <a:lnTo>
                      <a:pt x="45145" y="19211"/>
                    </a:lnTo>
                    <a:lnTo>
                      <a:pt x="50654" y="19211"/>
                    </a:lnTo>
                    <a:lnTo>
                      <a:pt x="50654" y="2406"/>
                    </a:lnTo>
                    <a:close/>
                    <a:moveTo>
                      <a:pt x="64740" y="2406"/>
                    </a:moveTo>
                    <a:lnTo>
                      <a:pt x="64740" y="19211"/>
                    </a:lnTo>
                    <a:lnTo>
                      <a:pt x="69344" y="19211"/>
                    </a:lnTo>
                    <a:lnTo>
                      <a:pt x="69344" y="115988"/>
                    </a:lnTo>
                    <a:lnTo>
                      <a:pt x="72685" y="115988"/>
                    </a:lnTo>
                    <a:lnTo>
                      <a:pt x="72685" y="19211"/>
                    </a:lnTo>
                    <a:lnTo>
                      <a:pt x="77291" y="19211"/>
                    </a:lnTo>
                    <a:lnTo>
                      <a:pt x="77291" y="2406"/>
                    </a:lnTo>
                    <a:close/>
                    <a:moveTo>
                      <a:pt x="94537" y="2406"/>
                    </a:moveTo>
                    <a:lnTo>
                      <a:pt x="94537" y="6403"/>
                    </a:lnTo>
                    <a:lnTo>
                      <a:pt x="94988" y="7206"/>
                    </a:lnTo>
                    <a:lnTo>
                      <a:pt x="95439" y="9612"/>
                    </a:lnTo>
                    <a:lnTo>
                      <a:pt x="95709" y="12005"/>
                    </a:lnTo>
                    <a:lnTo>
                      <a:pt x="95800" y="13609"/>
                    </a:lnTo>
                    <a:lnTo>
                      <a:pt x="95890" y="15214"/>
                    </a:lnTo>
                    <a:lnTo>
                      <a:pt x="95890" y="115988"/>
                    </a:lnTo>
                    <a:lnTo>
                      <a:pt x="99231" y="115988"/>
                    </a:lnTo>
                    <a:lnTo>
                      <a:pt x="99231" y="66403"/>
                    </a:lnTo>
                    <a:lnTo>
                      <a:pt x="99954" y="70401"/>
                    </a:lnTo>
                    <a:lnTo>
                      <a:pt x="100676" y="76002"/>
                    </a:lnTo>
                    <a:lnTo>
                      <a:pt x="101759" y="88796"/>
                    </a:lnTo>
                    <a:lnTo>
                      <a:pt x="104288" y="115988"/>
                    </a:lnTo>
                    <a:lnTo>
                      <a:pt x="108260" y="115988"/>
                    </a:lnTo>
                    <a:lnTo>
                      <a:pt x="105191" y="83195"/>
                    </a:lnTo>
                    <a:lnTo>
                      <a:pt x="104740" y="77593"/>
                    </a:lnTo>
                    <a:lnTo>
                      <a:pt x="104288" y="72793"/>
                    </a:lnTo>
                    <a:lnTo>
                      <a:pt x="103836" y="68008"/>
                    </a:lnTo>
                    <a:lnTo>
                      <a:pt x="103384" y="64799"/>
                    </a:lnTo>
                    <a:lnTo>
                      <a:pt x="104288" y="63208"/>
                    </a:lnTo>
                    <a:lnTo>
                      <a:pt x="105010" y="61604"/>
                    </a:lnTo>
                    <a:lnTo>
                      <a:pt x="105733" y="58409"/>
                    </a:lnTo>
                    <a:lnTo>
                      <a:pt x="106184" y="55200"/>
                    </a:lnTo>
                    <a:lnTo>
                      <a:pt x="106635" y="51203"/>
                    </a:lnTo>
                    <a:lnTo>
                      <a:pt x="106907" y="46403"/>
                    </a:lnTo>
                    <a:lnTo>
                      <a:pt x="107086" y="41604"/>
                    </a:lnTo>
                    <a:lnTo>
                      <a:pt x="107177" y="36002"/>
                    </a:lnTo>
                    <a:lnTo>
                      <a:pt x="107086" y="28008"/>
                    </a:lnTo>
                    <a:lnTo>
                      <a:pt x="106816" y="21604"/>
                    </a:lnTo>
                    <a:lnTo>
                      <a:pt x="106365" y="16002"/>
                    </a:lnTo>
                    <a:lnTo>
                      <a:pt x="105823" y="11203"/>
                    </a:lnTo>
                    <a:lnTo>
                      <a:pt x="105010" y="7206"/>
                    </a:lnTo>
                    <a:lnTo>
                      <a:pt x="104107" y="4813"/>
                    </a:lnTo>
                    <a:lnTo>
                      <a:pt x="103024" y="3208"/>
                    </a:lnTo>
                    <a:lnTo>
                      <a:pt x="101759" y="2406"/>
                    </a:lnTo>
                    <a:close/>
                    <a:moveTo>
                      <a:pt x="58871" y="816"/>
                    </a:moveTo>
                    <a:lnTo>
                      <a:pt x="57606" y="1604"/>
                    </a:lnTo>
                    <a:lnTo>
                      <a:pt x="56523" y="3208"/>
                    </a:lnTo>
                    <a:lnTo>
                      <a:pt x="55530" y="5615"/>
                    </a:lnTo>
                    <a:lnTo>
                      <a:pt x="54718" y="9612"/>
                    </a:lnTo>
                    <a:lnTo>
                      <a:pt x="54085" y="13609"/>
                    </a:lnTo>
                    <a:lnTo>
                      <a:pt x="53634" y="19211"/>
                    </a:lnTo>
                    <a:lnTo>
                      <a:pt x="53362" y="24813"/>
                    </a:lnTo>
                    <a:lnTo>
                      <a:pt x="53272" y="31203"/>
                    </a:lnTo>
                    <a:lnTo>
                      <a:pt x="53362" y="36804"/>
                    </a:lnTo>
                    <a:lnTo>
                      <a:pt x="53634" y="42406"/>
                    </a:lnTo>
                    <a:lnTo>
                      <a:pt x="53904" y="47206"/>
                    </a:lnTo>
                    <a:lnTo>
                      <a:pt x="54446" y="52005"/>
                    </a:lnTo>
                    <a:lnTo>
                      <a:pt x="55259" y="58409"/>
                    </a:lnTo>
                    <a:lnTo>
                      <a:pt x="56613" y="66403"/>
                    </a:lnTo>
                    <a:lnTo>
                      <a:pt x="58419" y="76002"/>
                    </a:lnTo>
                    <a:lnTo>
                      <a:pt x="58961" y="80000"/>
                    </a:lnTo>
                    <a:lnTo>
                      <a:pt x="59322" y="83997"/>
                    </a:lnTo>
                    <a:lnTo>
                      <a:pt x="59503" y="87192"/>
                    </a:lnTo>
                    <a:lnTo>
                      <a:pt x="59594" y="91203"/>
                    </a:lnTo>
                    <a:lnTo>
                      <a:pt x="59503" y="93596"/>
                    </a:lnTo>
                    <a:lnTo>
                      <a:pt x="59412" y="96002"/>
                    </a:lnTo>
                    <a:lnTo>
                      <a:pt x="59141" y="98395"/>
                    </a:lnTo>
                    <a:lnTo>
                      <a:pt x="58871" y="100000"/>
                    </a:lnTo>
                    <a:lnTo>
                      <a:pt x="58238" y="101590"/>
                    </a:lnTo>
                    <a:lnTo>
                      <a:pt x="56432" y="101590"/>
                    </a:lnTo>
                    <a:lnTo>
                      <a:pt x="55259" y="100000"/>
                    </a:lnTo>
                    <a:lnTo>
                      <a:pt x="54176" y="96791"/>
                    </a:lnTo>
                    <a:lnTo>
                      <a:pt x="53181" y="92793"/>
                    </a:lnTo>
                    <a:lnTo>
                      <a:pt x="53181" y="112793"/>
                    </a:lnTo>
                    <a:lnTo>
                      <a:pt x="54176" y="115200"/>
                    </a:lnTo>
                    <a:lnTo>
                      <a:pt x="55169" y="116791"/>
                    </a:lnTo>
                    <a:lnTo>
                      <a:pt x="56252" y="117593"/>
                    </a:lnTo>
                    <a:lnTo>
                      <a:pt x="57245" y="118395"/>
                    </a:lnTo>
                    <a:lnTo>
                      <a:pt x="58148" y="117593"/>
                    </a:lnTo>
                    <a:lnTo>
                      <a:pt x="58961" y="116791"/>
                    </a:lnTo>
                    <a:lnTo>
                      <a:pt x="59773" y="115988"/>
                    </a:lnTo>
                    <a:lnTo>
                      <a:pt x="60496" y="113596"/>
                    </a:lnTo>
                    <a:lnTo>
                      <a:pt x="61038" y="111189"/>
                    </a:lnTo>
                    <a:lnTo>
                      <a:pt x="61670" y="108796"/>
                    </a:lnTo>
                    <a:lnTo>
                      <a:pt x="62121" y="105601"/>
                    </a:lnTo>
                    <a:lnTo>
                      <a:pt x="62482" y="102392"/>
                    </a:lnTo>
                    <a:lnTo>
                      <a:pt x="62754" y="98395"/>
                    </a:lnTo>
                    <a:lnTo>
                      <a:pt x="62933" y="94398"/>
                    </a:lnTo>
                    <a:lnTo>
                      <a:pt x="63114" y="89598"/>
                    </a:lnTo>
                    <a:lnTo>
                      <a:pt x="63114" y="84799"/>
                    </a:lnTo>
                    <a:lnTo>
                      <a:pt x="63114" y="80802"/>
                    </a:lnTo>
                    <a:lnTo>
                      <a:pt x="62933" y="76804"/>
                    </a:lnTo>
                    <a:lnTo>
                      <a:pt x="62754" y="72793"/>
                    </a:lnTo>
                    <a:lnTo>
                      <a:pt x="62391" y="68796"/>
                    </a:lnTo>
                    <a:lnTo>
                      <a:pt x="61940" y="63997"/>
                    </a:lnTo>
                    <a:lnTo>
                      <a:pt x="61489" y="60000"/>
                    </a:lnTo>
                    <a:lnTo>
                      <a:pt x="60857" y="56002"/>
                    </a:lnTo>
                    <a:lnTo>
                      <a:pt x="60134" y="52005"/>
                    </a:lnTo>
                    <a:lnTo>
                      <a:pt x="58238" y="41604"/>
                    </a:lnTo>
                    <a:lnTo>
                      <a:pt x="57516" y="36804"/>
                    </a:lnTo>
                    <a:lnTo>
                      <a:pt x="57064" y="33609"/>
                    </a:lnTo>
                    <a:lnTo>
                      <a:pt x="56794" y="30401"/>
                    </a:lnTo>
                    <a:lnTo>
                      <a:pt x="56704" y="28008"/>
                    </a:lnTo>
                    <a:lnTo>
                      <a:pt x="56794" y="24813"/>
                    </a:lnTo>
                    <a:lnTo>
                      <a:pt x="57064" y="21604"/>
                    </a:lnTo>
                    <a:lnTo>
                      <a:pt x="57427" y="20013"/>
                    </a:lnTo>
                    <a:lnTo>
                      <a:pt x="57878" y="18409"/>
                    </a:lnTo>
                    <a:lnTo>
                      <a:pt x="58419" y="17607"/>
                    </a:lnTo>
                    <a:lnTo>
                      <a:pt x="59052" y="16804"/>
                    </a:lnTo>
                    <a:lnTo>
                      <a:pt x="59864" y="17607"/>
                    </a:lnTo>
                    <a:lnTo>
                      <a:pt x="60587" y="19211"/>
                    </a:lnTo>
                    <a:lnTo>
                      <a:pt x="61128" y="20802"/>
                    </a:lnTo>
                    <a:lnTo>
                      <a:pt x="61580" y="23208"/>
                    </a:lnTo>
                    <a:lnTo>
                      <a:pt x="61850" y="26403"/>
                    </a:lnTo>
                    <a:lnTo>
                      <a:pt x="62121" y="29612"/>
                    </a:lnTo>
                    <a:lnTo>
                      <a:pt x="62482" y="29612"/>
                    </a:lnTo>
                    <a:lnTo>
                      <a:pt x="62482" y="5615"/>
                    </a:lnTo>
                    <a:lnTo>
                      <a:pt x="61670" y="3208"/>
                    </a:lnTo>
                    <a:lnTo>
                      <a:pt x="60766" y="1604"/>
                    </a:lnTo>
                    <a:lnTo>
                      <a:pt x="59864" y="816"/>
                    </a:lnTo>
                    <a:close/>
                    <a:moveTo>
                      <a:pt x="115754" y="816"/>
                    </a:moveTo>
                    <a:lnTo>
                      <a:pt x="114491" y="1604"/>
                    </a:lnTo>
                    <a:lnTo>
                      <a:pt x="113317" y="3208"/>
                    </a:lnTo>
                    <a:lnTo>
                      <a:pt x="112413" y="5615"/>
                    </a:lnTo>
                    <a:lnTo>
                      <a:pt x="111601" y="9612"/>
                    </a:lnTo>
                    <a:lnTo>
                      <a:pt x="110969" y="13609"/>
                    </a:lnTo>
                    <a:lnTo>
                      <a:pt x="110518" y="19211"/>
                    </a:lnTo>
                    <a:lnTo>
                      <a:pt x="110248" y="24813"/>
                    </a:lnTo>
                    <a:lnTo>
                      <a:pt x="110157" y="31203"/>
                    </a:lnTo>
                    <a:lnTo>
                      <a:pt x="110248" y="36804"/>
                    </a:lnTo>
                    <a:lnTo>
                      <a:pt x="110427" y="42406"/>
                    </a:lnTo>
                    <a:lnTo>
                      <a:pt x="110788" y="47206"/>
                    </a:lnTo>
                    <a:lnTo>
                      <a:pt x="111330" y="52005"/>
                    </a:lnTo>
                    <a:lnTo>
                      <a:pt x="112143" y="58409"/>
                    </a:lnTo>
                    <a:lnTo>
                      <a:pt x="113497" y="66403"/>
                    </a:lnTo>
                    <a:lnTo>
                      <a:pt x="115303" y="76002"/>
                    </a:lnTo>
                    <a:lnTo>
                      <a:pt x="115845" y="80000"/>
                    </a:lnTo>
                    <a:lnTo>
                      <a:pt x="116206" y="83997"/>
                    </a:lnTo>
                    <a:lnTo>
                      <a:pt x="116387" y="87192"/>
                    </a:lnTo>
                    <a:lnTo>
                      <a:pt x="116477" y="91203"/>
                    </a:lnTo>
                    <a:lnTo>
                      <a:pt x="116387" y="93596"/>
                    </a:lnTo>
                    <a:lnTo>
                      <a:pt x="116296" y="96002"/>
                    </a:lnTo>
                    <a:lnTo>
                      <a:pt x="116026" y="98395"/>
                    </a:lnTo>
                    <a:lnTo>
                      <a:pt x="115754" y="100000"/>
                    </a:lnTo>
                    <a:lnTo>
                      <a:pt x="115122" y="101590"/>
                    </a:lnTo>
                    <a:lnTo>
                      <a:pt x="113227" y="101590"/>
                    </a:lnTo>
                    <a:lnTo>
                      <a:pt x="112143" y="100000"/>
                    </a:lnTo>
                    <a:lnTo>
                      <a:pt x="111060" y="96791"/>
                    </a:lnTo>
                    <a:lnTo>
                      <a:pt x="110067" y="92793"/>
                    </a:lnTo>
                    <a:lnTo>
                      <a:pt x="110067" y="112793"/>
                    </a:lnTo>
                    <a:lnTo>
                      <a:pt x="111060" y="115200"/>
                    </a:lnTo>
                    <a:lnTo>
                      <a:pt x="112053" y="116791"/>
                    </a:lnTo>
                    <a:lnTo>
                      <a:pt x="113046" y="117593"/>
                    </a:lnTo>
                    <a:lnTo>
                      <a:pt x="114129" y="118395"/>
                    </a:lnTo>
                    <a:lnTo>
                      <a:pt x="115033" y="117593"/>
                    </a:lnTo>
                    <a:lnTo>
                      <a:pt x="115845" y="116791"/>
                    </a:lnTo>
                    <a:lnTo>
                      <a:pt x="116658" y="115988"/>
                    </a:lnTo>
                    <a:lnTo>
                      <a:pt x="117289" y="113596"/>
                    </a:lnTo>
                    <a:lnTo>
                      <a:pt x="117921" y="111189"/>
                    </a:lnTo>
                    <a:lnTo>
                      <a:pt x="118463" y="108796"/>
                    </a:lnTo>
                    <a:lnTo>
                      <a:pt x="118914" y="105601"/>
                    </a:lnTo>
                    <a:lnTo>
                      <a:pt x="119367" y="102392"/>
                    </a:lnTo>
                    <a:lnTo>
                      <a:pt x="119637" y="98395"/>
                    </a:lnTo>
                    <a:lnTo>
                      <a:pt x="119818" y="94398"/>
                    </a:lnTo>
                    <a:lnTo>
                      <a:pt x="119998" y="89598"/>
                    </a:lnTo>
                    <a:lnTo>
                      <a:pt x="119998" y="84799"/>
                    </a:lnTo>
                    <a:lnTo>
                      <a:pt x="119909" y="80802"/>
                    </a:lnTo>
                    <a:lnTo>
                      <a:pt x="119818" y="76804"/>
                    </a:lnTo>
                    <a:lnTo>
                      <a:pt x="119547" y="72793"/>
                    </a:lnTo>
                    <a:lnTo>
                      <a:pt x="119277" y="68796"/>
                    </a:lnTo>
                    <a:lnTo>
                      <a:pt x="118825" y="63997"/>
                    </a:lnTo>
                    <a:lnTo>
                      <a:pt x="118373" y="60000"/>
                    </a:lnTo>
                    <a:lnTo>
                      <a:pt x="117742" y="56002"/>
                    </a:lnTo>
                    <a:lnTo>
                      <a:pt x="117019" y="52005"/>
                    </a:lnTo>
                    <a:lnTo>
                      <a:pt x="115033" y="41604"/>
                    </a:lnTo>
                    <a:lnTo>
                      <a:pt x="114401" y="36804"/>
                    </a:lnTo>
                    <a:lnTo>
                      <a:pt x="113950" y="33609"/>
                    </a:lnTo>
                    <a:lnTo>
                      <a:pt x="113678" y="30401"/>
                    </a:lnTo>
                    <a:lnTo>
                      <a:pt x="113587" y="28008"/>
                    </a:lnTo>
                    <a:lnTo>
                      <a:pt x="113678" y="24813"/>
                    </a:lnTo>
                    <a:lnTo>
                      <a:pt x="113950" y="21604"/>
                    </a:lnTo>
                    <a:lnTo>
                      <a:pt x="114310" y="20013"/>
                    </a:lnTo>
                    <a:lnTo>
                      <a:pt x="114761" y="18409"/>
                    </a:lnTo>
                    <a:lnTo>
                      <a:pt x="115303" y="17607"/>
                    </a:lnTo>
                    <a:lnTo>
                      <a:pt x="115935" y="16804"/>
                    </a:lnTo>
                    <a:lnTo>
                      <a:pt x="116747" y="17607"/>
                    </a:lnTo>
                    <a:lnTo>
                      <a:pt x="117470" y="19211"/>
                    </a:lnTo>
                    <a:lnTo>
                      <a:pt x="118012" y="20802"/>
                    </a:lnTo>
                    <a:lnTo>
                      <a:pt x="118463" y="23208"/>
                    </a:lnTo>
                    <a:lnTo>
                      <a:pt x="118735" y="26403"/>
                    </a:lnTo>
                    <a:lnTo>
                      <a:pt x="118914" y="29612"/>
                    </a:lnTo>
                    <a:lnTo>
                      <a:pt x="119367" y="29612"/>
                    </a:lnTo>
                    <a:lnTo>
                      <a:pt x="119367" y="5615"/>
                    </a:lnTo>
                    <a:lnTo>
                      <a:pt x="118463" y="3208"/>
                    </a:lnTo>
                    <a:lnTo>
                      <a:pt x="117651" y="1604"/>
                    </a:lnTo>
                    <a:lnTo>
                      <a:pt x="116747" y="816"/>
                    </a:lnTo>
                    <a:close/>
                    <a:moveTo>
                      <a:pt x="84785" y="13"/>
                    </a:moveTo>
                    <a:lnTo>
                      <a:pt x="83971" y="816"/>
                    </a:lnTo>
                    <a:lnTo>
                      <a:pt x="83160" y="2406"/>
                    </a:lnTo>
                    <a:lnTo>
                      <a:pt x="82527" y="4813"/>
                    </a:lnTo>
                    <a:lnTo>
                      <a:pt x="81804" y="7206"/>
                    </a:lnTo>
                    <a:lnTo>
                      <a:pt x="81172" y="10414"/>
                    </a:lnTo>
                    <a:lnTo>
                      <a:pt x="80630" y="13609"/>
                    </a:lnTo>
                    <a:lnTo>
                      <a:pt x="80179" y="17607"/>
                    </a:lnTo>
                    <a:lnTo>
                      <a:pt x="79728" y="21604"/>
                    </a:lnTo>
                    <a:lnTo>
                      <a:pt x="79277" y="26403"/>
                    </a:lnTo>
                    <a:lnTo>
                      <a:pt x="78916" y="31203"/>
                    </a:lnTo>
                    <a:lnTo>
                      <a:pt x="78644" y="36804"/>
                    </a:lnTo>
                    <a:lnTo>
                      <a:pt x="78463" y="41604"/>
                    </a:lnTo>
                    <a:lnTo>
                      <a:pt x="78284" y="48008"/>
                    </a:lnTo>
                    <a:lnTo>
                      <a:pt x="78193" y="53609"/>
                    </a:lnTo>
                    <a:lnTo>
                      <a:pt x="78103" y="60000"/>
                    </a:lnTo>
                    <a:lnTo>
                      <a:pt x="78193" y="65601"/>
                    </a:lnTo>
                    <a:lnTo>
                      <a:pt x="78284" y="72005"/>
                    </a:lnTo>
                    <a:lnTo>
                      <a:pt x="78463" y="77593"/>
                    </a:lnTo>
                    <a:lnTo>
                      <a:pt x="78644" y="83195"/>
                    </a:lnTo>
                    <a:lnTo>
                      <a:pt x="78916" y="88796"/>
                    </a:lnTo>
                    <a:lnTo>
                      <a:pt x="79277" y="93596"/>
                    </a:lnTo>
                    <a:lnTo>
                      <a:pt x="79728" y="98395"/>
                    </a:lnTo>
                    <a:lnTo>
                      <a:pt x="80179" y="102392"/>
                    </a:lnTo>
                    <a:lnTo>
                      <a:pt x="80630" y="106390"/>
                    </a:lnTo>
                    <a:lnTo>
                      <a:pt x="81172" y="109598"/>
                    </a:lnTo>
                    <a:lnTo>
                      <a:pt x="81804" y="112793"/>
                    </a:lnTo>
                    <a:lnTo>
                      <a:pt x="82527" y="115200"/>
                    </a:lnTo>
                    <a:lnTo>
                      <a:pt x="83160" y="116791"/>
                    </a:lnTo>
                    <a:lnTo>
                      <a:pt x="83971" y="118395"/>
                    </a:lnTo>
                    <a:lnTo>
                      <a:pt x="84785" y="119197"/>
                    </a:lnTo>
                    <a:lnTo>
                      <a:pt x="85597" y="120000"/>
                    </a:lnTo>
                    <a:lnTo>
                      <a:pt x="86501" y="119197"/>
                    </a:lnTo>
                    <a:lnTo>
                      <a:pt x="87222" y="118395"/>
                    </a:lnTo>
                    <a:lnTo>
                      <a:pt x="88035" y="116791"/>
                    </a:lnTo>
                    <a:lnTo>
                      <a:pt x="88757" y="115200"/>
                    </a:lnTo>
                    <a:lnTo>
                      <a:pt x="89389" y="112793"/>
                    </a:lnTo>
                    <a:lnTo>
                      <a:pt x="90021" y="109598"/>
                    </a:lnTo>
                    <a:lnTo>
                      <a:pt x="90563" y="106390"/>
                    </a:lnTo>
                    <a:lnTo>
                      <a:pt x="91105" y="102392"/>
                    </a:lnTo>
                    <a:lnTo>
                      <a:pt x="91556" y="98395"/>
                    </a:lnTo>
                    <a:lnTo>
                      <a:pt x="91918" y="93596"/>
                    </a:lnTo>
                    <a:lnTo>
                      <a:pt x="92279" y="88796"/>
                    </a:lnTo>
                    <a:lnTo>
                      <a:pt x="92549" y="83195"/>
                    </a:lnTo>
                    <a:lnTo>
                      <a:pt x="92821" y="77593"/>
                    </a:lnTo>
                    <a:lnTo>
                      <a:pt x="92911" y="72005"/>
                    </a:lnTo>
                    <a:lnTo>
                      <a:pt x="93091" y="65601"/>
                    </a:lnTo>
                    <a:lnTo>
                      <a:pt x="93091" y="60000"/>
                    </a:lnTo>
                    <a:lnTo>
                      <a:pt x="93091" y="53609"/>
                    </a:lnTo>
                    <a:lnTo>
                      <a:pt x="92911" y="48008"/>
                    </a:lnTo>
                    <a:lnTo>
                      <a:pt x="92821" y="41604"/>
                    </a:lnTo>
                    <a:lnTo>
                      <a:pt x="92549" y="36804"/>
                    </a:lnTo>
                    <a:lnTo>
                      <a:pt x="92279" y="31203"/>
                    </a:lnTo>
                    <a:lnTo>
                      <a:pt x="91918" y="26403"/>
                    </a:lnTo>
                    <a:lnTo>
                      <a:pt x="91556" y="21604"/>
                    </a:lnTo>
                    <a:lnTo>
                      <a:pt x="91105" y="17607"/>
                    </a:lnTo>
                    <a:lnTo>
                      <a:pt x="90563" y="13609"/>
                    </a:lnTo>
                    <a:lnTo>
                      <a:pt x="90021" y="10414"/>
                    </a:lnTo>
                    <a:lnTo>
                      <a:pt x="89389" y="7206"/>
                    </a:lnTo>
                    <a:lnTo>
                      <a:pt x="88757" y="4813"/>
                    </a:lnTo>
                    <a:lnTo>
                      <a:pt x="88035" y="2406"/>
                    </a:lnTo>
                    <a:lnTo>
                      <a:pt x="87222" y="816"/>
                    </a:lnTo>
                    <a:lnTo>
                      <a:pt x="86501" y="13"/>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4" name="Google Shape;25;p2">
                <a:extLst>
                  <a:ext uri="{FF2B5EF4-FFF2-40B4-BE49-F238E27FC236}">
                    <a16:creationId xmlns:a16="http://schemas.microsoft.com/office/drawing/2014/main" id="{FBD9C83F-8A7C-134E-9094-D2FDF31A11CD}"/>
                  </a:ext>
                </a:extLst>
              </p:cNvPr>
              <p:cNvSpPr/>
              <p:nvPr/>
            </p:nvSpPr>
            <p:spPr>
              <a:xfrm>
                <a:off x="5111957" y="3466175"/>
                <a:ext cx="75301" cy="205200"/>
              </a:xfrm>
              <a:custGeom>
                <a:avLst/>
                <a:gdLst/>
                <a:ahLst/>
                <a:cxnLst/>
                <a:rect l="l" t="t" r="r" b="b"/>
                <a:pathLst>
                  <a:path w="120000" h="120000" fill="none" extrusionOk="0">
                    <a:moveTo>
                      <a:pt x="0" y="4222"/>
                    </a:moveTo>
                    <a:lnTo>
                      <a:pt x="0" y="4222"/>
                    </a:lnTo>
                    <a:lnTo>
                      <a:pt x="11529" y="5070"/>
                    </a:lnTo>
                    <a:lnTo>
                      <a:pt x="23058" y="7612"/>
                    </a:lnTo>
                    <a:lnTo>
                      <a:pt x="23058" y="7612"/>
                    </a:lnTo>
                    <a:lnTo>
                      <a:pt x="30000" y="10987"/>
                    </a:lnTo>
                    <a:lnTo>
                      <a:pt x="32313" y="12682"/>
                    </a:lnTo>
                    <a:lnTo>
                      <a:pt x="34627" y="14362"/>
                    </a:lnTo>
                    <a:lnTo>
                      <a:pt x="34627" y="119985"/>
                    </a:lnTo>
                    <a:lnTo>
                      <a:pt x="119960" y="119985"/>
                    </a:lnTo>
                    <a:lnTo>
                      <a:pt x="119960"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5" name="Google Shape;26;p2">
                <a:extLst>
                  <a:ext uri="{FF2B5EF4-FFF2-40B4-BE49-F238E27FC236}">
                    <a16:creationId xmlns:a16="http://schemas.microsoft.com/office/drawing/2014/main" id="{888FCF2A-EA89-7340-8C4B-2B6C18C33C43}"/>
                  </a:ext>
                </a:extLst>
              </p:cNvPr>
              <p:cNvSpPr/>
              <p:nvPr/>
            </p:nvSpPr>
            <p:spPr>
              <a:xfrm>
                <a:off x="5226157" y="3466175"/>
                <a:ext cx="232800" cy="205200"/>
              </a:xfrm>
              <a:custGeom>
                <a:avLst/>
                <a:gdLst/>
                <a:ahLst/>
                <a:cxnLst/>
                <a:rect l="l" t="t" r="r" b="b"/>
                <a:pathLst>
                  <a:path w="120000" h="120000" fill="none" extrusionOk="0">
                    <a:moveTo>
                      <a:pt x="99871" y="88732"/>
                    </a:moveTo>
                    <a:lnTo>
                      <a:pt x="40257" y="0"/>
                    </a:lnTo>
                    <a:lnTo>
                      <a:pt x="12" y="0"/>
                    </a:lnTo>
                    <a:lnTo>
                      <a:pt x="12" y="4222"/>
                    </a:lnTo>
                    <a:lnTo>
                      <a:pt x="12" y="4222"/>
                    </a:lnTo>
                    <a:lnTo>
                      <a:pt x="3737" y="5070"/>
                    </a:lnTo>
                    <a:lnTo>
                      <a:pt x="6713" y="7612"/>
                    </a:lnTo>
                    <a:lnTo>
                      <a:pt x="6713" y="7612"/>
                    </a:lnTo>
                    <a:lnTo>
                      <a:pt x="9703" y="10987"/>
                    </a:lnTo>
                    <a:lnTo>
                      <a:pt x="10451" y="12682"/>
                    </a:lnTo>
                    <a:lnTo>
                      <a:pt x="10451" y="14362"/>
                    </a:lnTo>
                    <a:lnTo>
                      <a:pt x="10451" y="119985"/>
                    </a:lnTo>
                    <a:lnTo>
                      <a:pt x="31314" y="119985"/>
                    </a:lnTo>
                    <a:lnTo>
                      <a:pt x="31314" y="40560"/>
                    </a:lnTo>
                    <a:lnTo>
                      <a:pt x="84226" y="119985"/>
                    </a:lnTo>
                    <a:lnTo>
                      <a:pt x="120000" y="119985"/>
                    </a:lnTo>
                    <a:lnTo>
                      <a:pt x="120000" y="0"/>
                    </a:lnTo>
                    <a:lnTo>
                      <a:pt x="99871" y="0"/>
                    </a:lnTo>
                    <a:lnTo>
                      <a:pt x="99871" y="8873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6" name="Google Shape;27;p2">
                <a:extLst>
                  <a:ext uri="{FF2B5EF4-FFF2-40B4-BE49-F238E27FC236}">
                    <a16:creationId xmlns:a16="http://schemas.microsoft.com/office/drawing/2014/main" id="{B43237F5-A0F3-924B-A42D-236C091811BA}"/>
                  </a:ext>
                </a:extLst>
              </p:cNvPr>
              <p:cNvSpPr/>
              <p:nvPr/>
            </p:nvSpPr>
            <p:spPr>
              <a:xfrm>
                <a:off x="5493632" y="3466175"/>
                <a:ext cx="236999" cy="205200"/>
              </a:xfrm>
              <a:custGeom>
                <a:avLst/>
                <a:gdLst/>
                <a:ahLst/>
                <a:cxnLst/>
                <a:rect l="l" t="t" r="r" b="b"/>
                <a:pathLst>
                  <a:path w="120000" h="120000" fill="none" extrusionOk="0">
                    <a:moveTo>
                      <a:pt x="68045" y="87885"/>
                    </a:moveTo>
                    <a:lnTo>
                      <a:pt x="38051" y="0"/>
                    </a:lnTo>
                    <a:lnTo>
                      <a:pt x="12" y="0"/>
                    </a:lnTo>
                    <a:lnTo>
                      <a:pt x="12" y="4222"/>
                    </a:lnTo>
                    <a:lnTo>
                      <a:pt x="12" y="4222"/>
                    </a:lnTo>
                    <a:lnTo>
                      <a:pt x="3668" y="5917"/>
                    </a:lnTo>
                    <a:lnTo>
                      <a:pt x="7324" y="7612"/>
                    </a:lnTo>
                    <a:lnTo>
                      <a:pt x="9525" y="10140"/>
                    </a:lnTo>
                    <a:lnTo>
                      <a:pt x="11714" y="13529"/>
                    </a:lnTo>
                    <a:lnTo>
                      <a:pt x="47564" y="119985"/>
                    </a:lnTo>
                    <a:lnTo>
                      <a:pt x="76824" y="119985"/>
                    </a:lnTo>
                    <a:lnTo>
                      <a:pt x="119987" y="0"/>
                    </a:lnTo>
                    <a:lnTo>
                      <a:pt x="99506" y="0"/>
                    </a:lnTo>
                    <a:lnTo>
                      <a:pt x="68045" y="8788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7" name="Google Shape;28;p2">
                <a:extLst>
                  <a:ext uri="{FF2B5EF4-FFF2-40B4-BE49-F238E27FC236}">
                    <a16:creationId xmlns:a16="http://schemas.microsoft.com/office/drawing/2014/main" id="{665BE985-84B6-2448-8600-85403D1EF56E}"/>
                  </a:ext>
                </a:extLst>
              </p:cNvPr>
              <p:cNvSpPr/>
              <p:nvPr/>
            </p:nvSpPr>
            <p:spPr>
              <a:xfrm>
                <a:off x="5759684" y="3466175"/>
                <a:ext cx="163501" cy="205200"/>
              </a:xfrm>
              <a:custGeom>
                <a:avLst/>
                <a:gdLst/>
                <a:ahLst/>
                <a:cxnLst/>
                <a:rect l="l" t="t" r="r" b="b"/>
                <a:pathLst>
                  <a:path w="120000" h="120000" fill="none" extrusionOk="0">
                    <a:moveTo>
                      <a:pt x="0" y="4222"/>
                    </a:moveTo>
                    <a:lnTo>
                      <a:pt x="0" y="4222"/>
                    </a:lnTo>
                    <a:lnTo>
                      <a:pt x="5305" y="5070"/>
                    </a:lnTo>
                    <a:lnTo>
                      <a:pt x="10611" y="7612"/>
                    </a:lnTo>
                    <a:lnTo>
                      <a:pt x="10611" y="7612"/>
                    </a:lnTo>
                    <a:lnTo>
                      <a:pt x="13806" y="10140"/>
                    </a:lnTo>
                    <a:lnTo>
                      <a:pt x="14871" y="12682"/>
                    </a:lnTo>
                    <a:lnTo>
                      <a:pt x="14871" y="14362"/>
                    </a:lnTo>
                    <a:lnTo>
                      <a:pt x="14871" y="119985"/>
                    </a:lnTo>
                    <a:lnTo>
                      <a:pt x="119981" y="119985"/>
                    </a:lnTo>
                    <a:lnTo>
                      <a:pt x="119981" y="102247"/>
                    </a:lnTo>
                    <a:lnTo>
                      <a:pt x="55208" y="102247"/>
                    </a:lnTo>
                    <a:lnTo>
                      <a:pt x="55208" y="65062"/>
                    </a:lnTo>
                    <a:lnTo>
                      <a:pt x="114675" y="65062"/>
                    </a:lnTo>
                    <a:lnTo>
                      <a:pt x="114675" y="48172"/>
                    </a:lnTo>
                    <a:lnTo>
                      <a:pt x="55208" y="48172"/>
                    </a:lnTo>
                    <a:lnTo>
                      <a:pt x="55208" y="17752"/>
                    </a:lnTo>
                    <a:lnTo>
                      <a:pt x="119981" y="17752"/>
                    </a:lnTo>
                    <a:lnTo>
                      <a:pt x="119981"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8" name="Google Shape;29;p2">
                <a:extLst>
                  <a:ext uri="{FF2B5EF4-FFF2-40B4-BE49-F238E27FC236}">
                    <a16:creationId xmlns:a16="http://schemas.microsoft.com/office/drawing/2014/main" id="{D2256EB1-B38F-814D-9F92-ACAD3DD9988E}"/>
                  </a:ext>
                </a:extLst>
              </p:cNvPr>
              <p:cNvSpPr/>
              <p:nvPr/>
            </p:nvSpPr>
            <p:spPr>
              <a:xfrm>
                <a:off x="5963535" y="3463276"/>
                <a:ext cx="159001" cy="212400"/>
              </a:xfrm>
              <a:custGeom>
                <a:avLst/>
                <a:gdLst/>
                <a:ahLst/>
                <a:cxnLst/>
                <a:rect l="l" t="t" r="r" b="b"/>
                <a:pathLst>
                  <a:path w="120000" h="120000" fill="none" extrusionOk="0">
                    <a:moveTo>
                      <a:pt x="83992" y="52251"/>
                    </a:moveTo>
                    <a:lnTo>
                      <a:pt x="83992" y="52251"/>
                    </a:lnTo>
                    <a:lnTo>
                      <a:pt x="61093" y="41637"/>
                    </a:lnTo>
                    <a:lnTo>
                      <a:pt x="61093" y="41637"/>
                    </a:lnTo>
                    <a:lnTo>
                      <a:pt x="52360" y="36739"/>
                    </a:lnTo>
                    <a:lnTo>
                      <a:pt x="46909" y="33479"/>
                    </a:lnTo>
                    <a:lnTo>
                      <a:pt x="43646" y="30204"/>
                    </a:lnTo>
                    <a:lnTo>
                      <a:pt x="42552" y="27762"/>
                    </a:lnTo>
                    <a:lnTo>
                      <a:pt x="42552" y="27762"/>
                    </a:lnTo>
                    <a:lnTo>
                      <a:pt x="43646" y="24502"/>
                    </a:lnTo>
                    <a:lnTo>
                      <a:pt x="46909" y="21227"/>
                    </a:lnTo>
                    <a:lnTo>
                      <a:pt x="46909" y="21227"/>
                    </a:lnTo>
                    <a:lnTo>
                      <a:pt x="51285" y="19604"/>
                    </a:lnTo>
                    <a:lnTo>
                      <a:pt x="56736" y="17967"/>
                    </a:lnTo>
                    <a:lnTo>
                      <a:pt x="63281" y="17148"/>
                    </a:lnTo>
                    <a:lnTo>
                      <a:pt x="70921" y="16330"/>
                    </a:lnTo>
                    <a:lnTo>
                      <a:pt x="70921" y="16330"/>
                    </a:lnTo>
                    <a:lnTo>
                      <a:pt x="80729" y="17148"/>
                    </a:lnTo>
                    <a:lnTo>
                      <a:pt x="89462" y="18786"/>
                    </a:lnTo>
                    <a:lnTo>
                      <a:pt x="89462" y="18786"/>
                    </a:lnTo>
                    <a:lnTo>
                      <a:pt x="96007" y="20409"/>
                    </a:lnTo>
                    <a:lnTo>
                      <a:pt x="101458" y="22865"/>
                    </a:lnTo>
                    <a:lnTo>
                      <a:pt x="104721" y="26125"/>
                    </a:lnTo>
                    <a:lnTo>
                      <a:pt x="108003" y="29400"/>
                    </a:lnTo>
                    <a:lnTo>
                      <a:pt x="112360" y="29400"/>
                    </a:lnTo>
                    <a:lnTo>
                      <a:pt x="112360" y="4911"/>
                    </a:lnTo>
                    <a:lnTo>
                      <a:pt x="112360" y="4911"/>
                    </a:lnTo>
                    <a:lnTo>
                      <a:pt x="102552" y="2455"/>
                    </a:lnTo>
                    <a:lnTo>
                      <a:pt x="91631" y="818"/>
                    </a:lnTo>
                    <a:lnTo>
                      <a:pt x="80729" y="14"/>
                    </a:lnTo>
                    <a:lnTo>
                      <a:pt x="68733" y="14"/>
                    </a:lnTo>
                    <a:lnTo>
                      <a:pt x="68733" y="14"/>
                    </a:lnTo>
                    <a:lnTo>
                      <a:pt x="53454" y="818"/>
                    </a:lnTo>
                    <a:lnTo>
                      <a:pt x="40364" y="2455"/>
                    </a:lnTo>
                    <a:lnTo>
                      <a:pt x="28368" y="4911"/>
                    </a:lnTo>
                    <a:lnTo>
                      <a:pt x="18560" y="8990"/>
                    </a:lnTo>
                    <a:lnTo>
                      <a:pt x="18560" y="8990"/>
                    </a:lnTo>
                    <a:lnTo>
                      <a:pt x="10921" y="13069"/>
                    </a:lnTo>
                    <a:lnTo>
                      <a:pt x="5469" y="18786"/>
                    </a:lnTo>
                    <a:lnTo>
                      <a:pt x="2187" y="24502"/>
                    </a:lnTo>
                    <a:lnTo>
                      <a:pt x="1093" y="31023"/>
                    </a:lnTo>
                    <a:lnTo>
                      <a:pt x="1093" y="31023"/>
                    </a:lnTo>
                    <a:lnTo>
                      <a:pt x="2187" y="36739"/>
                    </a:lnTo>
                    <a:lnTo>
                      <a:pt x="5469" y="42455"/>
                    </a:lnTo>
                    <a:lnTo>
                      <a:pt x="8733" y="47353"/>
                    </a:lnTo>
                    <a:lnTo>
                      <a:pt x="15278" y="52251"/>
                    </a:lnTo>
                    <a:lnTo>
                      <a:pt x="15278" y="52251"/>
                    </a:lnTo>
                    <a:lnTo>
                      <a:pt x="25105" y="58786"/>
                    </a:lnTo>
                    <a:lnTo>
                      <a:pt x="41458" y="66944"/>
                    </a:lnTo>
                    <a:lnTo>
                      <a:pt x="41458" y="66944"/>
                    </a:lnTo>
                    <a:lnTo>
                      <a:pt x="63281" y="76739"/>
                    </a:lnTo>
                    <a:lnTo>
                      <a:pt x="63281" y="76739"/>
                    </a:lnTo>
                    <a:lnTo>
                      <a:pt x="69827" y="80818"/>
                    </a:lnTo>
                    <a:lnTo>
                      <a:pt x="74184" y="84897"/>
                    </a:lnTo>
                    <a:lnTo>
                      <a:pt x="76372" y="88158"/>
                    </a:lnTo>
                    <a:lnTo>
                      <a:pt x="77466" y="92251"/>
                    </a:lnTo>
                    <a:lnTo>
                      <a:pt x="77466" y="92251"/>
                    </a:lnTo>
                    <a:lnTo>
                      <a:pt x="76372" y="94693"/>
                    </a:lnTo>
                    <a:lnTo>
                      <a:pt x="75278" y="97148"/>
                    </a:lnTo>
                    <a:lnTo>
                      <a:pt x="71996" y="99590"/>
                    </a:lnTo>
                    <a:lnTo>
                      <a:pt x="68733" y="101227"/>
                    </a:lnTo>
                    <a:lnTo>
                      <a:pt x="68733" y="101227"/>
                    </a:lnTo>
                    <a:lnTo>
                      <a:pt x="61093" y="102851"/>
                    </a:lnTo>
                    <a:lnTo>
                      <a:pt x="53454" y="102851"/>
                    </a:lnTo>
                    <a:lnTo>
                      <a:pt x="53454" y="102851"/>
                    </a:lnTo>
                    <a:lnTo>
                      <a:pt x="39270" y="102851"/>
                    </a:lnTo>
                    <a:lnTo>
                      <a:pt x="25105" y="101227"/>
                    </a:lnTo>
                    <a:lnTo>
                      <a:pt x="12015" y="97953"/>
                    </a:lnTo>
                    <a:lnTo>
                      <a:pt x="0" y="93874"/>
                    </a:lnTo>
                    <a:lnTo>
                      <a:pt x="0" y="114283"/>
                    </a:lnTo>
                    <a:lnTo>
                      <a:pt x="0" y="114283"/>
                    </a:lnTo>
                    <a:lnTo>
                      <a:pt x="12015" y="116739"/>
                    </a:lnTo>
                    <a:lnTo>
                      <a:pt x="24011" y="118362"/>
                    </a:lnTo>
                    <a:lnTo>
                      <a:pt x="37101" y="119181"/>
                    </a:lnTo>
                    <a:lnTo>
                      <a:pt x="49097" y="120000"/>
                    </a:lnTo>
                    <a:lnTo>
                      <a:pt x="49097" y="120000"/>
                    </a:lnTo>
                    <a:lnTo>
                      <a:pt x="59999" y="119181"/>
                    </a:lnTo>
                    <a:lnTo>
                      <a:pt x="69827" y="118362"/>
                    </a:lnTo>
                    <a:lnTo>
                      <a:pt x="79635" y="117544"/>
                    </a:lnTo>
                    <a:lnTo>
                      <a:pt x="88368" y="115102"/>
                    </a:lnTo>
                    <a:lnTo>
                      <a:pt x="88368" y="115102"/>
                    </a:lnTo>
                    <a:lnTo>
                      <a:pt x="94913" y="112646"/>
                    </a:lnTo>
                    <a:lnTo>
                      <a:pt x="102552" y="110204"/>
                    </a:lnTo>
                    <a:lnTo>
                      <a:pt x="108003" y="106944"/>
                    </a:lnTo>
                    <a:lnTo>
                      <a:pt x="112360" y="103669"/>
                    </a:lnTo>
                    <a:lnTo>
                      <a:pt x="115642" y="99590"/>
                    </a:lnTo>
                    <a:lnTo>
                      <a:pt x="117812" y="95511"/>
                    </a:lnTo>
                    <a:lnTo>
                      <a:pt x="119999" y="90613"/>
                    </a:lnTo>
                    <a:lnTo>
                      <a:pt x="119999" y="85716"/>
                    </a:lnTo>
                    <a:lnTo>
                      <a:pt x="119999" y="85716"/>
                    </a:lnTo>
                    <a:lnTo>
                      <a:pt x="119999" y="81637"/>
                    </a:lnTo>
                    <a:lnTo>
                      <a:pt x="117812" y="77558"/>
                    </a:lnTo>
                    <a:lnTo>
                      <a:pt x="115642" y="73465"/>
                    </a:lnTo>
                    <a:lnTo>
                      <a:pt x="111266" y="69386"/>
                    </a:lnTo>
                    <a:lnTo>
                      <a:pt x="105815" y="64488"/>
                    </a:lnTo>
                    <a:lnTo>
                      <a:pt x="100364" y="60409"/>
                    </a:lnTo>
                    <a:lnTo>
                      <a:pt x="92725" y="56330"/>
                    </a:lnTo>
                    <a:lnTo>
                      <a:pt x="83992"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9" name="Google Shape;30;p2">
                <a:extLst>
                  <a:ext uri="{FF2B5EF4-FFF2-40B4-BE49-F238E27FC236}">
                    <a16:creationId xmlns:a16="http://schemas.microsoft.com/office/drawing/2014/main" id="{F165A157-B21E-5447-B2ED-72FE051BA848}"/>
                  </a:ext>
                </a:extLst>
              </p:cNvPr>
              <p:cNvSpPr/>
              <p:nvPr/>
            </p:nvSpPr>
            <p:spPr>
              <a:xfrm>
                <a:off x="6148584" y="3466175"/>
                <a:ext cx="201000" cy="205200"/>
              </a:xfrm>
              <a:custGeom>
                <a:avLst/>
                <a:gdLst/>
                <a:ahLst/>
                <a:cxnLst/>
                <a:rect l="l" t="t" r="r" b="b"/>
                <a:pathLst>
                  <a:path w="120000" h="120000" fill="none" extrusionOk="0">
                    <a:moveTo>
                      <a:pt x="14" y="17752"/>
                    </a:moveTo>
                    <a:lnTo>
                      <a:pt x="44029" y="17752"/>
                    </a:lnTo>
                    <a:lnTo>
                      <a:pt x="44029" y="119985"/>
                    </a:lnTo>
                    <a:lnTo>
                      <a:pt x="75970" y="119985"/>
                    </a:lnTo>
                    <a:lnTo>
                      <a:pt x="75970" y="17752"/>
                    </a:lnTo>
                    <a:lnTo>
                      <a:pt x="120000" y="17752"/>
                    </a:lnTo>
                    <a:lnTo>
                      <a:pt x="120000" y="0"/>
                    </a:lnTo>
                    <a:lnTo>
                      <a:pt x="14" y="0"/>
                    </a:lnTo>
                    <a:lnTo>
                      <a:pt x="14" y="1775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0" name="Google Shape;31;p2">
                <a:extLst>
                  <a:ext uri="{FF2B5EF4-FFF2-40B4-BE49-F238E27FC236}">
                    <a16:creationId xmlns:a16="http://schemas.microsoft.com/office/drawing/2014/main" id="{09B2F371-A158-FE4C-BCF9-07AF3D53DBB4}"/>
                  </a:ext>
                </a:extLst>
              </p:cNvPr>
              <p:cNvSpPr/>
              <p:nvPr/>
            </p:nvSpPr>
            <p:spPr>
              <a:xfrm>
                <a:off x="6625710" y="3466175"/>
                <a:ext cx="219899" cy="205200"/>
              </a:xfrm>
              <a:custGeom>
                <a:avLst/>
                <a:gdLst/>
                <a:ahLst/>
                <a:cxnLst/>
                <a:rect l="l" t="t" r="r" b="b"/>
                <a:pathLst>
                  <a:path w="120000" h="120000" fill="none" extrusionOk="0">
                    <a:moveTo>
                      <a:pt x="89208" y="79425"/>
                    </a:moveTo>
                    <a:lnTo>
                      <a:pt x="89208" y="79425"/>
                    </a:lnTo>
                    <a:lnTo>
                      <a:pt x="85263" y="74355"/>
                    </a:lnTo>
                    <a:lnTo>
                      <a:pt x="85263" y="74355"/>
                    </a:lnTo>
                    <a:lnTo>
                      <a:pt x="81305" y="69299"/>
                    </a:lnTo>
                    <a:lnTo>
                      <a:pt x="77361" y="65910"/>
                    </a:lnTo>
                    <a:lnTo>
                      <a:pt x="77361" y="65910"/>
                    </a:lnTo>
                    <a:lnTo>
                      <a:pt x="85263" y="64229"/>
                    </a:lnTo>
                    <a:lnTo>
                      <a:pt x="91569" y="62535"/>
                    </a:lnTo>
                    <a:lnTo>
                      <a:pt x="97888" y="59159"/>
                    </a:lnTo>
                    <a:lnTo>
                      <a:pt x="101833" y="55770"/>
                    </a:lnTo>
                    <a:lnTo>
                      <a:pt x="105777" y="51547"/>
                    </a:lnTo>
                    <a:lnTo>
                      <a:pt x="108152" y="46477"/>
                    </a:lnTo>
                    <a:lnTo>
                      <a:pt x="109722" y="41407"/>
                    </a:lnTo>
                    <a:lnTo>
                      <a:pt x="110514" y="35490"/>
                    </a:lnTo>
                    <a:lnTo>
                      <a:pt x="110514" y="35490"/>
                    </a:lnTo>
                    <a:lnTo>
                      <a:pt x="109722" y="27044"/>
                    </a:lnTo>
                    <a:lnTo>
                      <a:pt x="107361" y="20280"/>
                    </a:lnTo>
                    <a:lnTo>
                      <a:pt x="103416" y="14362"/>
                    </a:lnTo>
                    <a:lnTo>
                      <a:pt x="98680" y="9292"/>
                    </a:lnTo>
                    <a:lnTo>
                      <a:pt x="91569" y="5070"/>
                    </a:lnTo>
                    <a:lnTo>
                      <a:pt x="83680" y="2542"/>
                    </a:lnTo>
                    <a:lnTo>
                      <a:pt x="74208" y="847"/>
                    </a:lnTo>
                    <a:lnTo>
                      <a:pt x="63152" y="0"/>
                    </a:lnTo>
                    <a:lnTo>
                      <a:pt x="13" y="0"/>
                    </a:lnTo>
                    <a:lnTo>
                      <a:pt x="13" y="4222"/>
                    </a:lnTo>
                    <a:lnTo>
                      <a:pt x="13" y="4222"/>
                    </a:lnTo>
                    <a:lnTo>
                      <a:pt x="3958" y="5070"/>
                    </a:lnTo>
                    <a:lnTo>
                      <a:pt x="7902" y="7612"/>
                    </a:lnTo>
                    <a:lnTo>
                      <a:pt x="7902" y="7612"/>
                    </a:lnTo>
                    <a:lnTo>
                      <a:pt x="10263" y="10140"/>
                    </a:lnTo>
                    <a:lnTo>
                      <a:pt x="11055" y="11834"/>
                    </a:lnTo>
                    <a:lnTo>
                      <a:pt x="11847" y="13529"/>
                    </a:lnTo>
                    <a:lnTo>
                      <a:pt x="11847" y="119985"/>
                    </a:lnTo>
                    <a:lnTo>
                      <a:pt x="41055" y="119985"/>
                    </a:lnTo>
                    <a:lnTo>
                      <a:pt x="41055" y="67605"/>
                    </a:lnTo>
                    <a:lnTo>
                      <a:pt x="41055" y="67605"/>
                    </a:lnTo>
                    <a:lnTo>
                      <a:pt x="47374" y="71827"/>
                    </a:lnTo>
                    <a:lnTo>
                      <a:pt x="53680" y="77745"/>
                    </a:lnTo>
                    <a:lnTo>
                      <a:pt x="53680" y="77745"/>
                    </a:lnTo>
                    <a:lnTo>
                      <a:pt x="63152" y="91260"/>
                    </a:lnTo>
                    <a:lnTo>
                      <a:pt x="85263" y="119985"/>
                    </a:lnTo>
                    <a:lnTo>
                      <a:pt x="119986" y="119985"/>
                    </a:lnTo>
                    <a:lnTo>
                      <a:pt x="93152" y="85342"/>
                    </a:lnTo>
                    <a:lnTo>
                      <a:pt x="89208" y="794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1" name="Google Shape;32;p2">
                <a:extLst>
                  <a:ext uri="{FF2B5EF4-FFF2-40B4-BE49-F238E27FC236}">
                    <a16:creationId xmlns:a16="http://schemas.microsoft.com/office/drawing/2014/main" id="{F287A59A-CD4F-6045-ADED-D50CD4BFC574}"/>
                  </a:ext>
                </a:extLst>
              </p:cNvPr>
              <p:cNvSpPr/>
              <p:nvPr/>
            </p:nvSpPr>
            <p:spPr>
              <a:xfrm>
                <a:off x="6700885" y="3493650"/>
                <a:ext cx="73801" cy="72300"/>
              </a:xfrm>
              <a:custGeom>
                <a:avLst/>
                <a:gdLst/>
                <a:ahLst/>
                <a:cxnLst/>
                <a:rect l="l" t="t" r="r" b="b"/>
                <a:pathLst>
                  <a:path w="120000" h="120000" fill="none" extrusionOk="0">
                    <a:moveTo>
                      <a:pt x="28261" y="120000"/>
                    </a:moveTo>
                    <a:lnTo>
                      <a:pt x="28261" y="120000"/>
                    </a:lnTo>
                    <a:lnTo>
                      <a:pt x="40" y="117593"/>
                    </a:lnTo>
                    <a:lnTo>
                      <a:pt x="40" y="0"/>
                    </a:lnTo>
                    <a:lnTo>
                      <a:pt x="30620" y="0"/>
                    </a:lnTo>
                    <a:lnTo>
                      <a:pt x="30620" y="0"/>
                    </a:lnTo>
                    <a:lnTo>
                      <a:pt x="58841" y="0"/>
                    </a:lnTo>
                    <a:lnTo>
                      <a:pt x="79986" y="2406"/>
                    </a:lnTo>
                    <a:lnTo>
                      <a:pt x="79986" y="2406"/>
                    </a:lnTo>
                    <a:lnTo>
                      <a:pt x="96455" y="9585"/>
                    </a:lnTo>
                    <a:lnTo>
                      <a:pt x="103531" y="14398"/>
                    </a:lnTo>
                    <a:lnTo>
                      <a:pt x="110565" y="21618"/>
                    </a:lnTo>
                    <a:lnTo>
                      <a:pt x="112924" y="28796"/>
                    </a:lnTo>
                    <a:lnTo>
                      <a:pt x="117641" y="36016"/>
                    </a:lnTo>
                    <a:lnTo>
                      <a:pt x="119959" y="55186"/>
                    </a:lnTo>
                    <a:lnTo>
                      <a:pt x="119959" y="55186"/>
                    </a:lnTo>
                    <a:lnTo>
                      <a:pt x="117641" y="69585"/>
                    </a:lnTo>
                    <a:lnTo>
                      <a:pt x="112924" y="83983"/>
                    </a:lnTo>
                    <a:lnTo>
                      <a:pt x="105848" y="93609"/>
                    </a:lnTo>
                    <a:lnTo>
                      <a:pt x="96455" y="103195"/>
                    </a:lnTo>
                    <a:lnTo>
                      <a:pt x="84703" y="110373"/>
                    </a:lnTo>
                    <a:lnTo>
                      <a:pt x="68234" y="115186"/>
                    </a:lnTo>
                    <a:lnTo>
                      <a:pt x="49406" y="117593"/>
                    </a:lnTo>
                    <a:lnTo>
                      <a:pt x="28261" y="12000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2" name="Google Shape;33;p2">
                <a:extLst>
                  <a:ext uri="{FF2B5EF4-FFF2-40B4-BE49-F238E27FC236}">
                    <a16:creationId xmlns:a16="http://schemas.microsoft.com/office/drawing/2014/main" id="{E4C4C9B2-5511-FB42-BF93-8F7742E76389}"/>
                  </a:ext>
                </a:extLst>
              </p:cNvPr>
              <p:cNvSpPr/>
              <p:nvPr/>
            </p:nvSpPr>
            <p:spPr>
              <a:xfrm>
                <a:off x="6874386" y="3463276"/>
                <a:ext cx="159001" cy="212400"/>
              </a:xfrm>
              <a:custGeom>
                <a:avLst/>
                <a:gdLst/>
                <a:ahLst/>
                <a:cxnLst/>
                <a:rect l="l" t="t" r="r" b="b"/>
                <a:pathLst>
                  <a:path w="120000" h="120000" fill="none" extrusionOk="0">
                    <a:moveTo>
                      <a:pt x="83998" y="52251"/>
                    </a:moveTo>
                    <a:lnTo>
                      <a:pt x="83998" y="52251"/>
                    </a:lnTo>
                    <a:lnTo>
                      <a:pt x="60009" y="41637"/>
                    </a:lnTo>
                    <a:lnTo>
                      <a:pt x="60009" y="41637"/>
                    </a:lnTo>
                    <a:lnTo>
                      <a:pt x="52371" y="36739"/>
                    </a:lnTo>
                    <a:lnTo>
                      <a:pt x="46921" y="33479"/>
                    </a:lnTo>
                    <a:lnTo>
                      <a:pt x="43639" y="30204"/>
                    </a:lnTo>
                    <a:lnTo>
                      <a:pt x="42545" y="27762"/>
                    </a:lnTo>
                    <a:lnTo>
                      <a:pt x="42545" y="27762"/>
                    </a:lnTo>
                    <a:lnTo>
                      <a:pt x="43639" y="24502"/>
                    </a:lnTo>
                    <a:lnTo>
                      <a:pt x="46921" y="21227"/>
                    </a:lnTo>
                    <a:lnTo>
                      <a:pt x="46921" y="21227"/>
                    </a:lnTo>
                    <a:lnTo>
                      <a:pt x="51277" y="19604"/>
                    </a:lnTo>
                    <a:lnTo>
                      <a:pt x="56727" y="17967"/>
                    </a:lnTo>
                    <a:lnTo>
                      <a:pt x="63272" y="17148"/>
                    </a:lnTo>
                    <a:lnTo>
                      <a:pt x="70909" y="16330"/>
                    </a:lnTo>
                    <a:lnTo>
                      <a:pt x="70909" y="16330"/>
                    </a:lnTo>
                    <a:lnTo>
                      <a:pt x="80716" y="17148"/>
                    </a:lnTo>
                    <a:lnTo>
                      <a:pt x="89448" y="18786"/>
                    </a:lnTo>
                    <a:lnTo>
                      <a:pt x="89448" y="18786"/>
                    </a:lnTo>
                    <a:lnTo>
                      <a:pt x="95992" y="20409"/>
                    </a:lnTo>
                    <a:lnTo>
                      <a:pt x="101442" y="22865"/>
                    </a:lnTo>
                    <a:lnTo>
                      <a:pt x="104724" y="26125"/>
                    </a:lnTo>
                    <a:lnTo>
                      <a:pt x="106892" y="29400"/>
                    </a:lnTo>
                    <a:lnTo>
                      <a:pt x="112362" y="29400"/>
                    </a:lnTo>
                    <a:lnTo>
                      <a:pt x="112362" y="4911"/>
                    </a:lnTo>
                    <a:lnTo>
                      <a:pt x="112362" y="4911"/>
                    </a:lnTo>
                    <a:lnTo>
                      <a:pt x="101442" y="2455"/>
                    </a:lnTo>
                    <a:lnTo>
                      <a:pt x="91636" y="818"/>
                    </a:lnTo>
                    <a:lnTo>
                      <a:pt x="80716" y="14"/>
                    </a:lnTo>
                    <a:lnTo>
                      <a:pt x="68722" y="14"/>
                    </a:lnTo>
                    <a:lnTo>
                      <a:pt x="68722" y="14"/>
                    </a:lnTo>
                    <a:lnTo>
                      <a:pt x="53465" y="818"/>
                    </a:lnTo>
                    <a:lnTo>
                      <a:pt x="39283" y="2455"/>
                    </a:lnTo>
                    <a:lnTo>
                      <a:pt x="28363" y="4911"/>
                    </a:lnTo>
                    <a:lnTo>
                      <a:pt x="18557" y="8990"/>
                    </a:lnTo>
                    <a:lnTo>
                      <a:pt x="18557" y="8990"/>
                    </a:lnTo>
                    <a:lnTo>
                      <a:pt x="10919" y="13069"/>
                    </a:lnTo>
                    <a:lnTo>
                      <a:pt x="5469" y="18786"/>
                    </a:lnTo>
                    <a:lnTo>
                      <a:pt x="2206" y="24502"/>
                    </a:lnTo>
                    <a:lnTo>
                      <a:pt x="1112" y="31023"/>
                    </a:lnTo>
                    <a:lnTo>
                      <a:pt x="1112" y="31023"/>
                    </a:lnTo>
                    <a:lnTo>
                      <a:pt x="2206" y="36739"/>
                    </a:lnTo>
                    <a:lnTo>
                      <a:pt x="4375" y="42455"/>
                    </a:lnTo>
                    <a:lnTo>
                      <a:pt x="8731" y="47353"/>
                    </a:lnTo>
                    <a:lnTo>
                      <a:pt x="15275" y="52251"/>
                    </a:lnTo>
                    <a:lnTo>
                      <a:pt x="15275" y="52251"/>
                    </a:lnTo>
                    <a:lnTo>
                      <a:pt x="25101" y="58786"/>
                    </a:lnTo>
                    <a:lnTo>
                      <a:pt x="41452" y="66944"/>
                    </a:lnTo>
                    <a:lnTo>
                      <a:pt x="41452" y="66944"/>
                    </a:lnTo>
                    <a:lnTo>
                      <a:pt x="63272" y="76739"/>
                    </a:lnTo>
                    <a:lnTo>
                      <a:pt x="63272" y="76739"/>
                    </a:lnTo>
                    <a:lnTo>
                      <a:pt x="69816" y="80818"/>
                    </a:lnTo>
                    <a:lnTo>
                      <a:pt x="74172" y="84897"/>
                    </a:lnTo>
                    <a:lnTo>
                      <a:pt x="76360" y="88158"/>
                    </a:lnTo>
                    <a:lnTo>
                      <a:pt x="77454" y="92251"/>
                    </a:lnTo>
                    <a:lnTo>
                      <a:pt x="77454" y="92251"/>
                    </a:lnTo>
                    <a:lnTo>
                      <a:pt x="76360" y="94693"/>
                    </a:lnTo>
                    <a:lnTo>
                      <a:pt x="75266" y="97148"/>
                    </a:lnTo>
                    <a:lnTo>
                      <a:pt x="72003" y="99590"/>
                    </a:lnTo>
                    <a:lnTo>
                      <a:pt x="68722" y="101227"/>
                    </a:lnTo>
                    <a:lnTo>
                      <a:pt x="68722" y="101227"/>
                    </a:lnTo>
                    <a:lnTo>
                      <a:pt x="61084" y="102851"/>
                    </a:lnTo>
                    <a:lnTo>
                      <a:pt x="52371" y="102851"/>
                    </a:lnTo>
                    <a:lnTo>
                      <a:pt x="52371" y="102851"/>
                    </a:lnTo>
                    <a:lnTo>
                      <a:pt x="38189" y="102851"/>
                    </a:lnTo>
                    <a:lnTo>
                      <a:pt x="25101" y="101227"/>
                    </a:lnTo>
                    <a:lnTo>
                      <a:pt x="12013" y="97953"/>
                    </a:lnTo>
                    <a:lnTo>
                      <a:pt x="18" y="93874"/>
                    </a:lnTo>
                    <a:lnTo>
                      <a:pt x="18" y="114283"/>
                    </a:lnTo>
                    <a:lnTo>
                      <a:pt x="18" y="114283"/>
                    </a:lnTo>
                    <a:lnTo>
                      <a:pt x="12013" y="116739"/>
                    </a:lnTo>
                    <a:lnTo>
                      <a:pt x="24007" y="118362"/>
                    </a:lnTo>
                    <a:lnTo>
                      <a:pt x="36001" y="119181"/>
                    </a:lnTo>
                    <a:lnTo>
                      <a:pt x="49090" y="120000"/>
                    </a:lnTo>
                    <a:lnTo>
                      <a:pt x="49090" y="120000"/>
                    </a:lnTo>
                    <a:lnTo>
                      <a:pt x="60009" y="119181"/>
                    </a:lnTo>
                    <a:lnTo>
                      <a:pt x="69816" y="118362"/>
                    </a:lnTo>
                    <a:lnTo>
                      <a:pt x="79641" y="117544"/>
                    </a:lnTo>
                    <a:lnTo>
                      <a:pt x="87260" y="115102"/>
                    </a:lnTo>
                    <a:lnTo>
                      <a:pt x="87260" y="115102"/>
                    </a:lnTo>
                    <a:lnTo>
                      <a:pt x="94898" y="112646"/>
                    </a:lnTo>
                    <a:lnTo>
                      <a:pt x="101442" y="110204"/>
                    </a:lnTo>
                    <a:lnTo>
                      <a:pt x="106892" y="106944"/>
                    </a:lnTo>
                    <a:lnTo>
                      <a:pt x="112362" y="103669"/>
                    </a:lnTo>
                    <a:lnTo>
                      <a:pt x="115624" y="99590"/>
                    </a:lnTo>
                    <a:lnTo>
                      <a:pt x="117812" y="95511"/>
                    </a:lnTo>
                    <a:lnTo>
                      <a:pt x="119981" y="90613"/>
                    </a:lnTo>
                    <a:lnTo>
                      <a:pt x="119981" y="85716"/>
                    </a:lnTo>
                    <a:lnTo>
                      <a:pt x="119981" y="85716"/>
                    </a:lnTo>
                    <a:lnTo>
                      <a:pt x="118906" y="81637"/>
                    </a:lnTo>
                    <a:lnTo>
                      <a:pt x="117812" y="77558"/>
                    </a:lnTo>
                    <a:lnTo>
                      <a:pt x="114530" y="73465"/>
                    </a:lnTo>
                    <a:lnTo>
                      <a:pt x="111268" y="69386"/>
                    </a:lnTo>
                    <a:lnTo>
                      <a:pt x="105818" y="64488"/>
                    </a:lnTo>
                    <a:lnTo>
                      <a:pt x="100348" y="60409"/>
                    </a:lnTo>
                    <a:lnTo>
                      <a:pt x="92729" y="56330"/>
                    </a:lnTo>
                    <a:lnTo>
                      <a:pt x="83998"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3" name="Google Shape;34;p2">
                <a:extLst>
                  <a:ext uri="{FF2B5EF4-FFF2-40B4-BE49-F238E27FC236}">
                    <a16:creationId xmlns:a16="http://schemas.microsoft.com/office/drawing/2014/main" id="{93814E34-F2D8-9E47-AC03-6E369D4C75BB}"/>
                  </a:ext>
                </a:extLst>
              </p:cNvPr>
              <p:cNvSpPr/>
              <p:nvPr/>
            </p:nvSpPr>
            <p:spPr>
              <a:xfrm>
                <a:off x="6362585" y="3461826"/>
                <a:ext cx="240001" cy="216899"/>
              </a:xfrm>
              <a:custGeom>
                <a:avLst/>
                <a:gdLst/>
                <a:ahLst/>
                <a:cxnLst/>
                <a:rect l="l" t="t" r="r" b="b"/>
                <a:pathLst>
                  <a:path w="120000" h="120000" fill="none" extrusionOk="0">
                    <a:moveTo>
                      <a:pt x="59993" y="13"/>
                    </a:moveTo>
                    <a:lnTo>
                      <a:pt x="59993" y="13"/>
                    </a:lnTo>
                    <a:lnTo>
                      <a:pt x="53494" y="13"/>
                    </a:lnTo>
                    <a:lnTo>
                      <a:pt x="46982" y="816"/>
                    </a:lnTo>
                    <a:lnTo>
                      <a:pt x="40483" y="2406"/>
                    </a:lnTo>
                    <a:lnTo>
                      <a:pt x="35421" y="4813"/>
                    </a:lnTo>
                    <a:lnTo>
                      <a:pt x="29634" y="7206"/>
                    </a:lnTo>
                    <a:lnTo>
                      <a:pt x="24572" y="10414"/>
                    </a:lnTo>
                    <a:lnTo>
                      <a:pt x="20235" y="13609"/>
                    </a:lnTo>
                    <a:lnTo>
                      <a:pt x="16623" y="17607"/>
                    </a:lnTo>
                    <a:lnTo>
                      <a:pt x="13011" y="21604"/>
                    </a:lnTo>
                    <a:lnTo>
                      <a:pt x="9399" y="26403"/>
                    </a:lnTo>
                    <a:lnTo>
                      <a:pt x="6511" y="31203"/>
                    </a:lnTo>
                    <a:lnTo>
                      <a:pt x="4337" y="36804"/>
                    </a:lnTo>
                    <a:lnTo>
                      <a:pt x="2887" y="41604"/>
                    </a:lnTo>
                    <a:lnTo>
                      <a:pt x="1449" y="48008"/>
                    </a:lnTo>
                    <a:lnTo>
                      <a:pt x="724" y="53609"/>
                    </a:lnTo>
                    <a:lnTo>
                      <a:pt x="0" y="60000"/>
                    </a:lnTo>
                    <a:lnTo>
                      <a:pt x="0" y="60000"/>
                    </a:lnTo>
                    <a:lnTo>
                      <a:pt x="724" y="65601"/>
                    </a:lnTo>
                    <a:lnTo>
                      <a:pt x="1449" y="72005"/>
                    </a:lnTo>
                    <a:lnTo>
                      <a:pt x="2887" y="77593"/>
                    </a:lnTo>
                    <a:lnTo>
                      <a:pt x="4337" y="83195"/>
                    </a:lnTo>
                    <a:lnTo>
                      <a:pt x="6511" y="88796"/>
                    </a:lnTo>
                    <a:lnTo>
                      <a:pt x="9399" y="93596"/>
                    </a:lnTo>
                    <a:lnTo>
                      <a:pt x="13011" y="98395"/>
                    </a:lnTo>
                    <a:lnTo>
                      <a:pt x="16623" y="102392"/>
                    </a:lnTo>
                    <a:lnTo>
                      <a:pt x="20235" y="106390"/>
                    </a:lnTo>
                    <a:lnTo>
                      <a:pt x="24572" y="109598"/>
                    </a:lnTo>
                    <a:lnTo>
                      <a:pt x="29634" y="112793"/>
                    </a:lnTo>
                    <a:lnTo>
                      <a:pt x="35421" y="115200"/>
                    </a:lnTo>
                    <a:lnTo>
                      <a:pt x="40483" y="116791"/>
                    </a:lnTo>
                    <a:lnTo>
                      <a:pt x="46982" y="118395"/>
                    </a:lnTo>
                    <a:lnTo>
                      <a:pt x="53494" y="119197"/>
                    </a:lnTo>
                    <a:lnTo>
                      <a:pt x="59993" y="120000"/>
                    </a:lnTo>
                    <a:lnTo>
                      <a:pt x="59993" y="120000"/>
                    </a:lnTo>
                    <a:lnTo>
                      <a:pt x="67230" y="119197"/>
                    </a:lnTo>
                    <a:lnTo>
                      <a:pt x="73004" y="118395"/>
                    </a:lnTo>
                    <a:lnTo>
                      <a:pt x="79516" y="116791"/>
                    </a:lnTo>
                    <a:lnTo>
                      <a:pt x="85291" y="115200"/>
                    </a:lnTo>
                    <a:lnTo>
                      <a:pt x="90353" y="112793"/>
                    </a:lnTo>
                    <a:lnTo>
                      <a:pt x="95415" y="109598"/>
                    </a:lnTo>
                    <a:lnTo>
                      <a:pt x="99752" y="106390"/>
                    </a:lnTo>
                    <a:lnTo>
                      <a:pt x="104089" y="102392"/>
                    </a:lnTo>
                    <a:lnTo>
                      <a:pt x="107701" y="98395"/>
                    </a:lnTo>
                    <a:lnTo>
                      <a:pt x="110600" y="93596"/>
                    </a:lnTo>
                    <a:lnTo>
                      <a:pt x="113488" y="88796"/>
                    </a:lnTo>
                    <a:lnTo>
                      <a:pt x="115650" y="83195"/>
                    </a:lnTo>
                    <a:lnTo>
                      <a:pt x="117825" y="77593"/>
                    </a:lnTo>
                    <a:lnTo>
                      <a:pt x="118550" y="72005"/>
                    </a:lnTo>
                    <a:lnTo>
                      <a:pt x="119987" y="65601"/>
                    </a:lnTo>
                    <a:lnTo>
                      <a:pt x="119987" y="60000"/>
                    </a:lnTo>
                    <a:lnTo>
                      <a:pt x="119987" y="60000"/>
                    </a:lnTo>
                    <a:lnTo>
                      <a:pt x="119987" y="53609"/>
                    </a:lnTo>
                    <a:lnTo>
                      <a:pt x="118550" y="48008"/>
                    </a:lnTo>
                    <a:lnTo>
                      <a:pt x="117825" y="41604"/>
                    </a:lnTo>
                    <a:lnTo>
                      <a:pt x="115650" y="36804"/>
                    </a:lnTo>
                    <a:lnTo>
                      <a:pt x="113488" y="31203"/>
                    </a:lnTo>
                    <a:lnTo>
                      <a:pt x="110600" y="26403"/>
                    </a:lnTo>
                    <a:lnTo>
                      <a:pt x="107701" y="21604"/>
                    </a:lnTo>
                    <a:lnTo>
                      <a:pt x="104089" y="17607"/>
                    </a:lnTo>
                    <a:lnTo>
                      <a:pt x="99752" y="13609"/>
                    </a:lnTo>
                    <a:lnTo>
                      <a:pt x="95415" y="10414"/>
                    </a:lnTo>
                    <a:lnTo>
                      <a:pt x="90353" y="7206"/>
                    </a:lnTo>
                    <a:lnTo>
                      <a:pt x="85291" y="4813"/>
                    </a:lnTo>
                    <a:lnTo>
                      <a:pt x="79516" y="2406"/>
                    </a:lnTo>
                    <a:lnTo>
                      <a:pt x="73004" y="816"/>
                    </a:lnTo>
                    <a:lnTo>
                      <a:pt x="67230" y="13"/>
                    </a:lnTo>
                    <a:lnTo>
                      <a:pt x="59993" y="13"/>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4" name="Google Shape;35;p2">
                <a:extLst>
                  <a:ext uri="{FF2B5EF4-FFF2-40B4-BE49-F238E27FC236}">
                    <a16:creationId xmlns:a16="http://schemas.microsoft.com/office/drawing/2014/main" id="{657BF3B5-A412-D94D-B607-3166ADA975D5}"/>
                  </a:ext>
                </a:extLst>
              </p:cNvPr>
              <p:cNvSpPr/>
              <p:nvPr/>
            </p:nvSpPr>
            <p:spPr>
              <a:xfrm>
                <a:off x="6418959" y="3493650"/>
                <a:ext cx="127201" cy="153301"/>
              </a:xfrm>
              <a:custGeom>
                <a:avLst/>
                <a:gdLst/>
                <a:ahLst/>
                <a:cxnLst/>
                <a:rect l="l" t="t" r="r" b="b"/>
                <a:pathLst>
                  <a:path w="120000" h="120000" fill="none" extrusionOk="0">
                    <a:moveTo>
                      <a:pt x="60000" y="119980"/>
                    </a:moveTo>
                    <a:lnTo>
                      <a:pt x="60000" y="119980"/>
                    </a:lnTo>
                    <a:lnTo>
                      <a:pt x="46373" y="118845"/>
                    </a:lnTo>
                    <a:lnTo>
                      <a:pt x="34090" y="116594"/>
                    </a:lnTo>
                    <a:lnTo>
                      <a:pt x="24565" y="112053"/>
                    </a:lnTo>
                    <a:lnTo>
                      <a:pt x="16385" y="105261"/>
                    </a:lnTo>
                    <a:lnTo>
                      <a:pt x="9548" y="97354"/>
                    </a:lnTo>
                    <a:lnTo>
                      <a:pt x="4102" y="87157"/>
                    </a:lnTo>
                    <a:lnTo>
                      <a:pt x="1367" y="74708"/>
                    </a:lnTo>
                    <a:lnTo>
                      <a:pt x="23" y="59990"/>
                    </a:lnTo>
                    <a:lnTo>
                      <a:pt x="23" y="59990"/>
                    </a:lnTo>
                    <a:lnTo>
                      <a:pt x="1367" y="45271"/>
                    </a:lnTo>
                    <a:lnTo>
                      <a:pt x="4102" y="32823"/>
                    </a:lnTo>
                    <a:lnTo>
                      <a:pt x="9548" y="22645"/>
                    </a:lnTo>
                    <a:lnTo>
                      <a:pt x="16385" y="13583"/>
                    </a:lnTo>
                    <a:lnTo>
                      <a:pt x="24565" y="7926"/>
                    </a:lnTo>
                    <a:lnTo>
                      <a:pt x="34090" y="3405"/>
                    </a:lnTo>
                    <a:lnTo>
                      <a:pt x="46373" y="1135"/>
                    </a:lnTo>
                    <a:lnTo>
                      <a:pt x="60000" y="0"/>
                    </a:lnTo>
                    <a:lnTo>
                      <a:pt x="60000" y="0"/>
                    </a:lnTo>
                    <a:lnTo>
                      <a:pt x="73650" y="1135"/>
                    </a:lnTo>
                    <a:lnTo>
                      <a:pt x="85909" y="3405"/>
                    </a:lnTo>
                    <a:lnTo>
                      <a:pt x="96825" y="7926"/>
                    </a:lnTo>
                    <a:lnTo>
                      <a:pt x="105005" y="13583"/>
                    </a:lnTo>
                    <a:lnTo>
                      <a:pt x="111819" y="22645"/>
                    </a:lnTo>
                    <a:lnTo>
                      <a:pt x="115897" y="32823"/>
                    </a:lnTo>
                    <a:lnTo>
                      <a:pt x="120000" y="45271"/>
                    </a:lnTo>
                    <a:lnTo>
                      <a:pt x="120000" y="59990"/>
                    </a:lnTo>
                    <a:lnTo>
                      <a:pt x="120000" y="59990"/>
                    </a:lnTo>
                    <a:lnTo>
                      <a:pt x="120000" y="74708"/>
                    </a:lnTo>
                    <a:lnTo>
                      <a:pt x="115897" y="87157"/>
                    </a:lnTo>
                    <a:lnTo>
                      <a:pt x="111819" y="97354"/>
                    </a:lnTo>
                    <a:lnTo>
                      <a:pt x="105005" y="105261"/>
                    </a:lnTo>
                    <a:lnTo>
                      <a:pt x="96825" y="112053"/>
                    </a:lnTo>
                    <a:lnTo>
                      <a:pt x="85909" y="116594"/>
                    </a:lnTo>
                    <a:lnTo>
                      <a:pt x="73650" y="118845"/>
                    </a:lnTo>
                    <a:lnTo>
                      <a:pt x="60000" y="11998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5" name="Google Shape;36;p2">
                <a:extLst>
                  <a:ext uri="{FF2B5EF4-FFF2-40B4-BE49-F238E27FC236}">
                    <a16:creationId xmlns:a16="http://schemas.microsoft.com/office/drawing/2014/main" id="{9E0D4379-6DA0-F04A-A960-284935822B89}"/>
                  </a:ext>
                </a:extLst>
              </p:cNvPr>
              <p:cNvSpPr/>
              <p:nvPr/>
            </p:nvSpPr>
            <p:spPr>
              <a:xfrm>
                <a:off x="5123508" y="2991950"/>
                <a:ext cx="1876804" cy="365701"/>
              </a:xfrm>
              <a:custGeom>
                <a:avLst/>
                <a:gdLst/>
                <a:ahLst/>
                <a:cxnLst/>
                <a:rect l="l" t="t" r="r" b="b"/>
                <a:pathLst>
                  <a:path w="120000" h="120000" extrusionOk="0">
                    <a:moveTo>
                      <a:pt x="13128" y="25136"/>
                    </a:moveTo>
                    <a:lnTo>
                      <a:pt x="16733" y="72096"/>
                    </a:lnTo>
                    <a:lnTo>
                      <a:pt x="9060" y="72096"/>
                    </a:lnTo>
                    <a:lnTo>
                      <a:pt x="13128" y="25136"/>
                    </a:lnTo>
                    <a:close/>
                    <a:moveTo>
                      <a:pt x="106316" y="25136"/>
                    </a:moveTo>
                    <a:lnTo>
                      <a:pt x="109922" y="72096"/>
                    </a:lnTo>
                    <a:lnTo>
                      <a:pt x="102248" y="72096"/>
                    </a:lnTo>
                    <a:lnTo>
                      <a:pt x="106316" y="25136"/>
                    </a:lnTo>
                    <a:close/>
                    <a:moveTo>
                      <a:pt x="7489" y="0"/>
                    </a:moveTo>
                    <a:lnTo>
                      <a:pt x="7489" y="3797"/>
                    </a:lnTo>
                    <a:lnTo>
                      <a:pt x="8136" y="4748"/>
                    </a:lnTo>
                    <a:lnTo>
                      <a:pt x="8505" y="5691"/>
                    </a:lnTo>
                    <a:lnTo>
                      <a:pt x="8876" y="6642"/>
                    </a:lnTo>
                    <a:lnTo>
                      <a:pt x="9153" y="8069"/>
                    </a:lnTo>
                    <a:lnTo>
                      <a:pt x="9338" y="9488"/>
                    </a:lnTo>
                    <a:lnTo>
                      <a:pt x="9338" y="11858"/>
                    </a:lnTo>
                    <a:lnTo>
                      <a:pt x="9153" y="14229"/>
                    </a:lnTo>
                    <a:lnTo>
                      <a:pt x="1" y="120000"/>
                    </a:lnTo>
                    <a:lnTo>
                      <a:pt x="4808" y="120000"/>
                    </a:lnTo>
                    <a:lnTo>
                      <a:pt x="7767" y="86801"/>
                    </a:lnTo>
                    <a:lnTo>
                      <a:pt x="17935" y="86801"/>
                    </a:lnTo>
                    <a:lnTo>
                      <a:pt x="20432" y="120000"/>
                    </a:lnTo>
                    <a:lnTo>
                      <a:pt x="26810" y="120000"/>
                    </a:lnTo>
                    <a:lnTo>
                      <a:pt x="17659" y="0"/>
                    </a:lnTo>
                    <a:close/>
                    <a:moveTo>
                      <a:pt x="24777" y="0"/>
                    </a:moveTo>
                    <a:lnTo>
                      <a:pt x="24777" y="3797"/>
                    </a:lnTo>
                    <a:lnTo>
                      <a:pt x="25517" y="4748"/>
                    </a:lnTo>
                    <a:lnTo>
                      <a:pt x="26256" y="6642"/>
                    </a:lnTo>
                    <a:lnTo>
                      <a:pt x="26627" y="7594"/>
                    </a:lnTo>
                    <a:lnTo>
                      <a:pt x="26903" y="9488"/>
                    </a:lnTo>
                    <a:lnTo>
                      <a:pt x="27180" y="11383"/>
                    </a:lnTo>
                    <a:lnTo>
                      <a:pt x="27365" y="13761"/>
                    </a:lnTo>
                    <a:lnTo>
                      <a:pt x="35593" y="120000"/>
                    </a:lnTo>
                    <a:lnTo>
                      <a:pt x="42249" y="120000"/>
                    </a:lnTo>
                    <a:lnTo>
                      <a:pt x="51957" y="0"/>
                    </a:lnTo>
                    <a:lnTo>
                      <a:pt x="47334" y="0"/>
                    </a:lnTo>
                    <a:lnTo>
                      <a:pt x="40216" y="87744"/>
                    </a:lnTo>
                    <a:lnTo>
                      <a:pt x="33374" y="0"/>
                    </a:lnTo>
                    <a:close/>
                    <a:moveTo>
                      <a:pt x="55285" y="0"/>
                    </a:moveTo>
                    <a:lnTo>
                      <a:pt x="55285" y="3797"/>
                    </a:lnTo>
                    <a:lnTo>
                      <a:pt x="55840" y="4748"/>
                    </a:lnTo>
                    <a:lnTo>
                      <a:pt x="56671" y="6167"/>
                    </a:lnTo>
                    <a:lnTo>
                      <a:pt x="57041" y="7594"/>
                    </a:lnTo>
                    <a:lnTo>
                      <a:pt x="57319" y="9488"/>
                    </a:lnTo>
                    <a:lnTo>
                      <a:pt x="57504" y="11383"/>
                    </a:lnTo>
                    <a:lnTo>
                      <a:pt x="57595" y="13761"/>
                    </a:lnTo>
                    <a:lnTo>
                      <a:pt x="57595" y="120000"/>
                    </a:lnTo>
                    <a:lnTo>
                      <a:pt x="63790" y="120000"/>
                    </a:lnTo>
                    <a:lnTo>
                      <a:pt x="63790" y="0"/>
                    </a:lnTo>
                    <a:close/>
                    <a:moveTo>
                      <a:pt x="67396" y="0"/>
                    </a:moveTo>
                    <a:lnTo>
                      <a:pt x="67396" y="3797"/>
                    </a:lnTo>
                    <a:lnTo>
                      <a:pt x="68227" y="4748"/>
                    </a:lnTo>
                    <a:lnTo>
                      <a:pt x="68967" y="6642"/>
                    </a:lnTo>
                    <a:lnTo>
                      <a:pt x="69244" y="7594"/>
                    </a:lnTo>
                    <a:lnTo>
                      <a:pt x="69615" y="9488"/>
                    </a:lnTo>
                    <a:lnTo>
                      <a:pt x="69799" y="11383"/>
                    </a:lnTo>
                    <a:lnTo>
                      <a:pt x="70077" y="13761"/>
                    </a:lnTo>
                    <a:lnTo>
                      <a:pt x="78305" y="120000"/>
                    </a:lnTo>
                    <a:lnTo>
                      <a:pt x="84868" y="120000"/>
                    </a:lnTo>
                    <a:lnTo>
                      <a:pt x="94575" y="0"/>
                    </a:lnTo>
                    <a:lnTo>
                      <a:pt x="90046" y="0"/>
                    </a:lnTo>
                    <a:lnTo>
                      <a:pt x="82835" y="87744"/>
                    </a:lnTo>
                    <a:lnTo>
                      <a:pt x="76086" y="0"/>
                    </a:lnTo>
                    <a:close/>
                    <a:moveTo>
                      <a:pt x="100676" y="0"/>
                    </a:moveTo>
                    <a:lnTo>
                      <a:pt x="100676" y="3797"/>
                    </a:lnTo>
                    <a:lnTo>
                      <a:pt x="101324" y="4748"/>
                    </a:lnTo>
                    <a:lnTo>
                      <a:pt x="101693" y="5691"/>
                    </a:lnTo>
                    <a:lnTo>
                      <a:pt x="102064" y="6642"/>
                    </a:lnTo>
                    <a:lnTo>
                      <a:pt x="102340" y="8069"/>
                    </a:lnTo>
                    <a:lnTo>
                      <a:pt x="102433" y="9488"/>
                    </a:lnTo>
                    <a:lnTo>
                      <a:pt x="102526" y="11858"/>
                    </a:lnTo>
                    <a:lnTo>
                      <a:pt x="102340" y="14229"/>
                    </a:lnTo>
                    <a:lnTo>
                      <a:pt x="93189" y="120000"/>
                    </a:lnTo>
                    <a:lnTo>
                      <a:pt x="97995" y="120000"/>
                    </a:lnTo>
                    <a:lnTo>
                      <a:pt x="100862" y="86801"/>
                    </a:lnTo>
                    <a:lnTo>
                      <a:pt x="111032" y="86801"/>
                    </a:lnTo>
                    <a:lnTo>
                      <a:pt x="113620" y="120000"/>
                    </a:lnTo>
                    <a:lnTo>
                      <a:pt x="119998" y="120000"/>
                    </a:lnTo>
                    <a:lnTo>
                      <a:pt x="110846"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6" name="Google Shape;37;p2">
                <a:extLst>
                  <a:ext uri="{FF2B5EF4-FFF2-40B4-BE49-F238E27FC236}">
                    <a16:creationId xmlns:a16="http://schemas.microsoft.com/office/drawing/2014/main" id="{FF4145FC-6C0C-2E43-AF9D-1466A93CF413}"/>
                  </a:ext>
                </a:extLst>
              </p:cNvPr>
              <p:cNvSpPr/>
              <p:nvPr/>
            </p:nvSpPr>
            <p:spPr>
              <a:xfrm>
                <a:off x="6196309" y="2036275"/>
                <a:ext cx="130200" cy="669299"/>
              </a:xfrm>
              <a:custGeom>
                <a:avLst/>
                <a:gdLst/>
                <a:ahLst/>
                <a:cxnLst/>
                <a:rect l="l" t="t" r="r" b="b"/>
                <a:pathLst>
                  <a:path w="120000" h="120000" extrusionOk="0">
                    <a:moveTo>
                      <a:pt x="60000" y="0"/>
                    </a:moveTo>
                    <a:lnTo>
                      <a:pt x="0" y="120000"/>
                    </a:lnTo>
                    <a:lnTo>
                      <a:pt x="60000" y="118700"/>
                    </a:lnTo>
                    <a:lnTo>
                      <a:pt x="119976" y="117925"/>
                    </a:lnTo>
                    <a:lnTo>
                      <a:pt x="60000" y="0"/>
                    </a:lnTo>
                    <a:close/>
                  </a:path>
                </a:pathLst>
              </a:custGeom>
              <a:solidFill>
                <a:srgbClr val="FFDD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7" name="Google Shape;38;p2">
                <a:extLst>
                  <a:ext uri="{FF2B5EF4-FFF2-40B4-BE49-F238E27FC236}">
                    <a16:creationId xmlns:a16="http://schemas.microsoft.com/office/drawing/2014/main" id="{CC6717A6-435F-E548-9E34-55534855C5E7}"/>
                  </a:ext>
                </a:extLst>
              </p:cNvPr>
              <p:cNvSpPr/>
              <p:nvPr/>
            </p:nvSpPr>
            <p:spPr>
              <a:xfrm>
                <a:off x="6196309" y="2036275"/>
                <a:ext cx="130200" cy="669299"/>
              </a:xfrm>
              <a:custGeom>
                <a:avLst/>
                <a:gdLst/>
                <a:ahLst/>
                <a:cxnLst/>
                <a:rect l="l" t="t" r="r" b="b"/>
                <a:pathLst>
                  <a:path w="120000" h="120000" fill="none" extrusionOk="0">
                    <a:moveTo>
                      <a:pt x="119976" y="117925"/>
                    </a:moveTo>
                    <a:lnTo>
                      <a:pt x="60000" y="0"/>
                    </a:lnTo>
                    <a:lnTo>
                      <a:pt x="0" y="120000"/>
                    </a:lnTo>
                    <a:lnTo>
                      <a:pt x="0" y="120000"/>
                    </a:lnTo>
                    <a:lnTo>
                      <a:pt x="60000" y="118700"/>
                    </a:lnTo>
                    <a:lnTo>
                      <a:pt x="119976" y="1179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8" name="Google Shape;39;p2">
                <a:extLst>
                  <a:ext uri="{FF2B5EF4-FFF2-40B4-BE49-F238E27FC236}">
                    <a16:creationId xmlns:a16="http://schemas.microsoft.com/office/drawing/2014/main" id="{AD034C1E-7439-FC44-B679-50DB39D3DB99}"/>
                  </a:ext>
                </a:extLst>
              </p:cNvPr>
              <p:cNvSpPr/>
              <p:nvPr/>
            </p:nvSpPr>
            <p:spPr>
              <a:xfrm>
                <a:off x="6261356" y="2036275"/>
                <a:ext cx="221101" cy="657900"/>
              </a:xfrm>
              <a:custGeom>
                <a:avLst/>
                <a:gdLst/>
                <a:ahLst/>
                <a:cxnLst/>
                <a:rect l="l" t="t" r="r" b="b"/>
                <a:pathLst>
                  <a:path w="120000" h="120000" extrusionOk="0">
                    <a:moveTo>
                      <a:pt x="13" y="0"/>
                    </a:moveTo>
                    <a:lnTo>
                      <a:pt x="35294" y="120000"/>
                    </a:lnTo>
                    <a:lnTo>
                      <a:pt x="76854" y="119471"/>
                    </a:lnTo>
                    <a:lnTo>
                      <a:pt x="119986" y="119206"/>
                    </a:lnTo>
                    <a:lnTo>
                      <a:pt x="119986" y="0"/>
                    </a:lnTo>
                    <a:close/>
                  </a:path>
                </a:pathLst>
              </a:custGeom>
              <a:solidFill>
                <a:srgbClr val="5EB62D"/>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9" name="Google Shape;40;p2">
                <a:extLst>
                  <a:ext uri="{FF2B5EF4-FFF2-40B4-BE49-F238E27FC236}">
                    <a16:creationId xmlns:a16="http://schemas.microsoft.com/office/drawing/2014/main" id="{B9BE138E-AD69-7049-93A4-8A0296C0E7A1}"/>
                  </a:ext>
                </a:extLst>
              </p:cNvPr>
              <p:cNvSpPr/>
              <p:nvPr/>
            </p:nvSpPr>
            <p:spPr>
              <a:xfrm>
                <a:off x="6261350" y="2036275"/>
                <a:ext cx="221101" cy="657900"/>
              </a:xfrm>
              <a:custGeom>
                <a:avLst/>
                <a:gdLst/>
                <a:ahLst/>
                <a:cxnLst/>
                <a:rect l="l" t="t" r="r" b="b"/>
                <a:pathLst>
                  <a:path w="120000" h="120000" fill="none" extrusionOk="0">
                    <a:moveTo>
                      <a:pt x="119986" y="119206"/>
                    </a:moveTo>
                    <a:lnTo>
                      <a:pt x="119986" y="0"/>
                    </a:lnTo>
                    <a:lnTo>
                      <a:pt x="13" y="0"/>
                    </a:lnTo>
                    <a:lnTo>
                      <a:pt x="13" y="0"/>
                    </a:lnTo>
                    <a:lnTo>
                      <a:pt x="35294" y="120000"/>
                    </a:lnTo>
                    <a:lnTo>
                      <a:pt x="35294" y="120000"/>
                    </a:lnTo>
                    <a:lnTo>
                      <a:pt x="76854" y="119471"/>
                    </a:lnTo>
                    <a:lnTo>
                      <a:pt x="119986" y="11920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50" name="Google Shape;41;p2">
                <a:extLst>
                  <a:ext uri="{FF2B5EF4-FFF2-40B4-BE49-F238E27FC236}">
                    <a16:creationId xmlns:a16="http://schemas.microsoft.com/office/drawing/2014/main" id="{10040BEF-6F39-2140-AA6A-12BD82B641A2}"/>
                  </a:ext>
                </a:extLst>
              </p:cNvPr>
              <p:cNvSpPr/>
              <p:nvPr/>
            </p:nvSpPr>
            <p:spPr>
              <a:xfrm>
                <a:off x="5685926" y="2036275"/>
                <a:ext cx="575399" cy="795300"/>
              </a:xfrm>
              <a:custGeom>
                <a:avLst/>
                <a:gdLst/>
                <a:ahLst/>
                <a:cxnLst/>
                <a:rect l="l" t="t" r="r" b="b"/>
                <a:pathLst>
                  <a:path w="120000" h="120000" extrusionOk="0">
                    <a:moveTo>
                      <a:pt x="5" y="0"/>
                    </a:move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lnTo>
                      <a:pt x="120000"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51" name="Google Shape;42;p2">
                <a:extLst>
                  <a:ext uri="{FF2B5EF4-FFF2-40B4-BE49-F238E27FC236}">
                    <a16:creationId xmlns:a16="http://schemas.microsoft.com/office/drawing/2014/main" id="{8B42EB4D-3D24-F148-B57B-AD3E6BED09A0}"/>
                  </a:ext>
                </a:extLst>
              </p:cNvPr>
              <p:cNvSpPr/>
              <p:nvPr/>
            </p:nvSpPr>
            <p:spPr>
              <a:xfrm>
                <a:off x="5685926" y="2036275"/>
                <a:ext cx="575399" cy="795300"/>
              </a:xfrm>
              <a:custGeom>
                <a:avLst/>
                <a:gdLst/>
                <a:ahLst/>
                <a:cxnLst/>
                <a:rect l="l" t="t" r="r" b="b"/>
                <a:pathLst>
                  <a:path w="120000" h="120000" fill="none" extrusionOk="0">
                    <a:moveTo>
                      <a:pt x="106429" y="101016"/>
                    </a:moveTo>
                    <a:lnTo>
                      <a:pt x="120000" y="0"/>
                    </a:lnTo>
                    <a:lnTo>
                      <a:pt x="120000" y="0"/>
                    </a:lnTo>
                    <a:lnTo>
                      <a:pt x="5" y="0"/>
                    </a:lnTo>
                    <a:lnTo>
                      <a:pt x="5" y="119996"/>
                    </a:ln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555463403"/>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Divider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84F4F2-55BC-4F41-A2AB-4455912B528F}"/>
              </a:ext>
            </a:extLst>
          </p:cNvPr>
          <p:cNvSpPr/>
          <p:nvPr userDrawn="1"/>
        </p:nvSpPr>
        <p:spPr>
          <a:xfrm>
            <a:off x="0" y="0"/>
            <a:ext cx="6096000" cy="685800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99B31A7C-542A-4545-9E04-E38BD247503D}"/>
              </a:ext>
            </a:extLst>
          </p:cNvPr>
          <p:cNvSpPr>
            <a:spLocks noGrp="1"/>
          </p:cNvSpPr>
          <p:nvPr>
            <p:ph type="title"/>
          </p:nvPr>
        </p:nvSpPr>
        <p:spPr>
          <a:xfrm>
            <a:off x="1099106" y="3436526"/>
            <a:ext cx="4572000" cy="1880471"/>
          </a:xfrm>
        </p:spPr>
        <p:txBody>
          <a:bodyPr anchor="b"/>
          <a:lstStyle>
            <a:lvl1pPr>
              <a:lnSpc>
                <a:spcPct val="100000"/>
              </a:lnSpc>
              <a:defRPr sz="3600">
                <a:solidFill>
                  <a:schemeClr val="bg1"/>
                </a:solidFill>
              </a:defRPr>
            </a:lvl1pPr>
            <a:lvl2pPr>
              <a:defRPr sz="3600" b="1">
                <a:solidFill>
                  <a:schemeClr val="bg1"/>
                </a:solidFill>
                <a:latin typeface="+mn-lt"/>
              </a:defRPr>
            </a:lvl2pPr>
            <a:lvl3pPr>
              <a:defRPr sz="2800">
                <a:solidFill>
                  <a:schemeClr val="bg1"/>
                </a:solidFill>
              </a:defRPr>
            </a:lvl3p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4FE3AC6C-1A0E-4706-8193-6A65C54EE764}"/>
              </a:ext>
            </a:extLst>
          </p:cNvPr>
          <p:cNvSpPr>
            <a:spLocks noGrp="1"/>
          </p:cNvSpPr>
          <p:nvPr>
            <p:ph type="body" idx="1"/>
          </p:nvPr>
        </p:nvSpPr>
        <p:spPr>
          <a:xfrm>
            <a:off x="1099106" y="5976000"/>
            <a:ext cx="4572000" cy="440675"/>
          </a:xfrm>
        </p:spPr>
        <p:txBody>
          <a:bodyPr/>
          <a:lstStyle>
            <a:lvl1pPr marL="0" indent="0">
              <a:buNone/>
              <a:defRPr sz="2000">
                <a:solidFill>
                  <a:schemeClr val="bg1"/>
                </a:solidFill>
              </a:defRPr>
            </a:lvl1pPr>
            <a:lvl2pPr marL="0" indent="0">
              <a:buNone/>
              <a:defRPr sz="1800" b="0">
                <a:solidFill>
                  <a:schemeClr val="bg1"/>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Google Shape;191;p17">
            <a:extLst>
              <a:ext uri="{FF2B5EF4-FFF2-40B4-BE49-F238E27FC236}">
                <a16:creationId xmlns:a16="http://schemas.microsoft.com/office/drawing/2014/main" id="{0DA1802E-7696-4EE9-83C9-C0ABC185DB6A}"/>
              </a:ext>
            </a:extLst>
          </p:cNvPr>
          <p:cNvSpPr/>
          <p:nvPr userDrawn="1"/>
        </p:nvSpPr>
        <p:spPr>
          <a:xfrm>
            <a:off x="1099399" y="565011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grpSp>
        <p:nvGrpSpPr>
          <p:cNvPr id="30" name="Google Shape;21;p2">
            <a:extLst>
              <a:ext uri="{FF2B5EF4-FFF2-40B4-BE49-F238E27FC236}">
                <a16:creationId xmlns:a16="http://schemas.microsoft.com/office/drawing/2014/main" id="{F811F8B4-432A-CC42-9EA5-E6E43F39D160}"/>
              </a:ext>
            </a:extLst>
          </p:cNvPr>
          <p:cNvGrpSpPr/>
          <p:nvPr userDrawn="1"/>
        </p:nvGrpSpPr>
        <p:grpSpPr>
          <a:xfrm>
            <a:off x="1099106" y="-14"/>
            <a:ext cx="958858" cy="1185166"/>
            <a:chOff x="4763500" y="1239650"/>
            <a:chExt cx="2618400" cy="3235799"/>
          </a:xfrm>
        </p:grpSpPr>
        <p:sp>
          <p:nvSpPr>
            <p:cNvPr id="31" name="Google Shape;22;p2">
              <a:extLst>
                <a:ext uri="{FF2B5EF4-FFF2-40B4-BE49-F238E27FC236}">
                  <a16:creationId xmlns:a16="http://schemas.microsoft.com/office/drawing/2014/main" id="{0CE3A472-E00A-4E43-A9E1-AE7062A1929E}"/>
                </a:ext>
              </a:extLst>
            </p:cNvPr>
            <p:cNvSpPr/>
            <p:nvPr/>
          </p:nvSpPr>
          <p:spPr>
            <a:xfrm>
              <a:off x="4763500" y="1239650"/>
              <a:ext cx="2618400" cy="3235799"/>
            </a:xfrm>
            <a:custGeom>
              <a:avLst/>
              <a:gdLst/>
              <a:ahLst/>
              <a:cxnLst/>
              <a:rect l="l" t="t" r="r" b="b"/>
              <a:pathLst>
                <a:path w="120000" h="120000" extrusionOk="0">
                  <a:moveTo>
                    <a:pt x="0" y="0"/>
                  </a:moveTo>
                  <a:lnTo>
                    <a:pt x="0" y="120000"/>
                  </a:lnTo>
                  <a:lnTo>
                    <a:pt x="120000" y="120000"/>
                  </a:lnTo>
                  <a:lnTo>
                    <a:pt x="120000" y="0"/>
                  </a:lnTo>
                  <a:close/>
                </a:path>
              </a:pathLst>
            </a:custGeom>
            <a:solidFill>
              <a:srgbClr val="FFD9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nvGrpSpPr>
            <p:cNvPr id="32" name="Google Shape;23;p2">
              <a:extLst>
                <a:ext uri="{FF2B5EF4-FFF2-40B4-BE49-F238E27FC236}">
                  <a16:creationId xmlns:a16="http://schemas.microsoft.com/office/drawing/2014/main" id="{FEFD9D9E-6378-4446-98A4-1AB3C4B7D32C}"/>
                </a:ext>
              </a:extLst>
            </p:cNvPr>
            <p:cNvGrpSpPr/>
            <p:nvPr userDrawn="1"/>
          </p:nvGrpSpPr>
          <p:grpSpPr>
            <a:xfrm>
              <a:off x="5111949" y="2036274"/>
              <a:ext cx="1921499" cy="1642450"/>
              <a:chOff x="5111957" y="2036275"/>
              <a:chExt cx="1921504" cy="1642450"/>
            </a:xfrm>
          </p:grpSpPr>
          <p:sp>
            <p:nvSpPr>
              <p:cNvPr id="33" name="Google Shape;24;p2">
                <a:extLst>
                  <a:ext uri="{FF2B5EF4-FFF2-40B4-BE49-F238E27FC236}">
                    <a16:creationId xmlns:a16="http://schemas.microsoft.com/office/drawing/2014/main" id="{1C7F2690-2497-5941-8531-81F7BF2F8A6A}"/>
                  </a:ext>
                </a:extLst>
              </p:cNvPr>
              <p:cNvSpPr/>
              <p:nvPr/>
            </p:nvSpPr>
            <p:spPr>
              <a:xfrm>
                <a:off x="5111957" y="3461826"/>
                <a:ext cx="1921504" cy="216899"/>
              </a:xfrm>
              <a:custGeom>
                <a:avLst/>
                <a:gdLst/>
                <a:ahLst/>
                <a:cxnLst/>
                <a:rect l="l" t="t" r="r" b="b"/>
                <a:pathLst>
                  <a:path w="120000" h="120000" extrusionOk="0">
                    <a:moveTo>
                      <a:pt x="101489" y="17607"/>
                    </a:moveTo>
                    <a:lnTo>
                      <a:pt x="102301" y="18409"/>
                    </a:lnTo>
                    <a:lnTo>
                      <a:pt x="102933" y="20802"/>
                    </a:lnTo>
                    <a:lnTo>
                      <a:pt x="103205" y="22406"/>
                    </a:lnTo>
                    <a:lnTo>
                      <a:pt x="103475" y="24813"/>
                    </a:lnTo>
                    <a:lnTo>
                      <a:pt x="103565" y="27206"/>
                    </a:lnTo>
                    <a:lnTo>
                      <a:pt x="103747" y="29612"/>
                    </a:lnTo>
                    <a:lnTo>
                      <a:pt x="103836" y="36002"/>
                    </a:lnTo>
                    <a:lnTo>
                      <a:pt x="103747" y="40802"/>
                    </a:lnTo>
                    <a:lnTo>
                      <a:pt x="103565" y="45601"/>
                    </a:lnTo>
                    <a:lnTo>
                      <a:pt x="103294" y="48810"/>
                    </a:lnTo>
                    <a:lnTo>
                      <a:pt x="102933" y="52005"/>
                    </a:lnTo>
                    <a:lnTo>
                      <a:pt x="102482" y="54398"/>
                    </a:lnTo>
                    <a:lnTo>
                      <a:pt x="101850" y="56002"/>
                    </a:lnTo>
                    <a:lnTo>
                      <a:pt x="101127" y="56804"/>
                    </a:lnTo>
                    <a:lnTo>
                      <a:pt x="100315" y="57607"/>
                    </a:lnTo>
                    <a:lnTo>
                      <a:pt x="99231" y="56804"/>
                    </a:lnTo>
                    <a:lnTo>
                      <a:pt x="99231" y="17607"/>
                    </a:lnTo>
                    <a:close/>
                    <a:moveTo>
                      <a:pt x="85597" y="17607"/>
                    </a:moveTo>
                    <a:lnTo>
                      <a:pt x="86501" y="18409"/>
                    </a:lnTo>
                    <a:lnTo>
                      <a:pt x="87313" y="20013"/>
                    </a:lnTo>
                    <a:lnTo>
                      <a:pt x="88035" y="23208"/>
                    </a:lnTo>
                    <a:lnTo>
                      <a:pt x="88577" y="27206"/>
                    </a:lnTo>
                    <a:lnTo>
                      <a:pt x="89028" y="33609"/>
                    </a:lnTo>
                    <a:lnTo>
                      <a:pt x="89298" y="40802"/>
                    </a:lnTo>
                    <a:lnTo>
                      <a:pt x="89570" y="49598"/>
                    </a:lnTo>
                    <a:lnTo>
                      <a:pt x="89570" y="60000"/>
                    </a:lnTo>
                    <a:lnTo>
                      <a:pt x="89570" y="70401"/>
                    </a:lnTo>
                    <a:lnTo>
                      <a:pt x="89298" y="79197"/>
                    </a:lnTo>
                    <a:lnTo>
                      <a:pt x="89028" y="86403"/>
                    </a:lnTo>
                    <a:lnTo>
                      <a:pt x="88577" y="91991"/>
                    </a:lnTo>
                    <a:lnTo>
                      <a:pt x="88035" y="96791"/>
                    </a:lnTo>
                    <a:lnTo>
                      <a:pt x="87313" y="100000"/>
                    </a:lnTo>
                    <a:lnTo>
                      <a:pt x="86501" y="101590"/>
                    </a:lnTo>
                    <a:lnTo>
                      <a:pt x="85597" y="102392"/>
                    </a:lnTo>
                    <a:lnTo>
                      <a:pt x="84694" y="101590"/>
                    </a:lnTo>
                    <a:lnTo>
                      <a:pt x="83881" y="100000"/>
                    </a:lnTo>
                    <a:lnTo>
                      <a:pt x="83250" y="96791"/>
                    </a:lnTo>
                    <a:lnTo>
                      <a:pt x="82708" y="91991"/>
                    </a:lnTo>
                    <a:lnTo>
                      <a:pt x="82256" y="86403"/>
                    </a:lnTo>
                    <a:lnTo>
                      <a:pt x="81895" y="79197"/>
                    </a:lnTo>
                    <a:lnTo>
                      <a:pt x="81714" y="70401"/>
                    </a:lnTo>
                    <a:lnTo>
                      <a:pt x="81625" y="60000"/>
                    </a:lnTo>
                    <a:lnTo>
                      <a:pt x="81714" y="49598"/>
                    </a:lnTo>
                    <a:lnTo>
                      <a:pt x="81895" y="40802"/>
                    </a:lnTo>
                    <a:lnTo>
                      <a:pt x="82256" y="33609"/>
                    </a:lnTo>
                    <a:lnTo>
                      <a:pt x="82708" y="27206"/>
                    </a:lnTo>
                    <a:lnTo>
                      <a:pt x="83250" y="23208"/>
                    </a:lnTo>
                    <a:lnTo>
                      <a:pt x="83881" y="20013"/>
                    </a:lnTo>
                    <a:lnTo>
                      <a:pt x="84694" y="18409"/>
                    </a:lnTo>
                    <a:lnTo>
                      <a:pt x="85597" y="17607"/>
                    </a:lnTo>
                    <a:close/>
                    <a:moveTo>
                      <a:pt x="0" y="2406"/>
                    </a:moveTo>
                    <a:lnTo>
                      <a:pt x="0" y="6403"/>
                    </a:lnTo>
                    <a:lnTo>
                      <a:pt x="451" y="7206"/>
                    </a:lnTo>
                    <a:lnTo>
                      <a:pt x="902" y="9612"/>
                    </a:lnTo>
                    <a:lnTo>
                      <a:pt x="1174" y="12807"/>
                    </a:lnTo>
                    <a:lnTo>
                      <a:pt x="1264" y="14412"/>
                    </a:lnTo>
                    <a:lnTo>
                      <a:pt x="1355" y="16002"/>
                    </a:lnTo>
                    <a:lnTo>
                      <a:pt x="1355" y="115988"/>
                    </a:lnTo>
                    <a:lnTo>
                      <a:pt x="4694" y="115988"/>
                    </a:lnTo>
                    <a:lnTo>
                      <a:pt x="4694" y="2406"/>
                    </a:lnTo>
                    <a:close/>
                    <a:moveTo>
                      <a:pt x="7133" y="2406"/>
                    </a:moveTo>
                    <a:lnTo>
                      <a:pt x="7133" y="6403"/>
                    </a:lnTo>
                    <a:lnTo>
                      <a:pt x="7584" y="7206"/>
                    </a:lnTo>
                    <a:lnTo>
                      <a:pt x="7945" y="9612"/>
                    </a:lnTo>
                    <a:lnTo>
                      <a:pt x="8307" y="12807"/>
                    </a:lnTo>
                    <a:lnTo>
                      <a:pt x="8398" y="14412"/>
                    </a:lnTo>
                    <a:lnTo>
                      <a:pt x="8398" y="16002"/>
                    </a:lnTo>
                    <a:lnTo>
                      <a:pt x="8398" y="115988"/>
                    </a:lnTo>
                    <a:lnTo>
                      <a:pt x="10925" y="115988"/>
                    </a:lnTo>
                    <a:lnTo>
                      <a:pt x="10925" y="40802"/>
                    </a:lnTo>
                    <a:lnTo>
                      <a:pt x="17336" y="115988"/>
                    </a:lnTo>
                    <a:lnTo>
                      <a:pt x="21670" y="115988"/>
                    </a:lnTo>
                    <a:lnTo>
                      <a:pt x="21670" y="2406"/>
                    </a:lnTo>
                    <a:lnTo>
                      <a:pt x="19231" y="2406"/>
                    </a:lnTo>
                    <a:lnTo>
                      <a:pt x="19231" y="86403"/>
                    </a:lnTo>
                    <a:lnTo>
                      <a:pt x="12009" y="2406"/>
                    </a:lnTo>
                    <a:close/>
                    <a:moveTo>
                      <a:pt x="23837" y="2406"/>
                    </a:moveTo>
                    <a:lnTo>
                      <a:pt x="23837" y="6403"/>
                    </a:lnTo>
                    <a:lnTo>
                      <a:pt x="24288" y="8008"/>
                    </a:lnTo>
                    <a:lnTo>
                      <a:pt x="24740" y="9612"/>
                    </a:lnTo>
                    <a:lnTo>
                      <a:pt x="25011" y="12005"/>
                    </a:lnTo>
                    <a:lnTo>
                      <a:pt x="25281" y="15214"/>
                    </a:lnTo>
                    <a:lnTo>
                      <a:pt x="29706" y="115988"/>
                    </a:lnTo>
                    <a:lnTo>
                      <a:pt x="33317" y="115988"/>
                    </a:lnTo>
                    <a:lnTo>
                      <a:pt x="38644" y="2406"/>
                    </a:lnTo>
                    <a:lnTo>
                      <a:pt x="36117" y="2406"/>
                    </a:lnTo>
                    <a:lnTo>
                      <a:pt x="32234" y="85601"/>
                    </a:lnTo>
                    <a:lnTo>
                      <a:pt x="28532" y="2406"/>
                    </a:lnTo>
                    <a:close/>
                    <a:moveTo>
                      <a:pt x="40451" y="2406"/>
                    </a:moveTo>
                    <a:lnTo>
                      <a:pt x="40451" y="6403"/>
                    </a:lnTo>
                    <a:lnTo>
                      <a:pt x="40902" y="7206"/>
                    </a:lnTo>
                    <a:lnTo>
                      <a:pt x="41353" y="9612"/>
                    </a:lnTo>
                    <a:lnTo>
                      <a:pt x="41625" y="12005"/>
                    </a:lnTo>
                    <a:lnTo>
                      <a:pt x="41715" y="14412"/>
                    </a:lnTo>
                    <a:lnTo>
                      <a:pt x="41715" y="16002"/>
                    </a:lnTo>
                    <a:lnTo>
                      <a:pt x="41715" y="115988"/>
                    </a:lnTo>
                    <a:lnTo>
                      <a:pt x="50654" y="115988"/>
                    </a:lnTo>
                    <a:lnTo>
                      <a:pt x="50654" y="99197"/>
                    </a:lnTo>
                    <a:lnTo>
                      <a:pt x="45145" y="99197"/>
                    </a:lnTo>
                    <a:lnTo>
                      <a:pt x="45145" y="63997"/>
                    </a:lnTo>
                    <a:lnTo>
                      <a:pt x="50202" y="63997"/>
                    </a:lnTo>
                    <a:lnTo>
                      <a:pt x="50202" y="48008"/>
                    </a:lnTo>
                    <a:lnTo>
                      <a:pt x="45145" y="48008"/>
                    </a:lnTo>
                    <a:lnTo>
                      <a:pt x="45145" y="19211"/>
                    </a:lnTo>
                    <a:lnTo>
                      <a:pt x="50654" y="19211"/>
                    </a:lnTo>
                    <a:lnTo>
                      <a:pt x="50654" y="2406"/>
                    </a:lnTo>
                    <a:close/>
                    <a:moveTo>
                      <a:pt x="64740" y="2406"/>
                    </a:moveTo>
                    <a:lnTo>
                      <a:pt x="64740" y="19211"/>
                    </a:lnTo>
                    <a:lnTo>
                      <a:pt x="69344" y="19211"/>
                    </a:lnTo>
                    <a:lnTo>
                      <a:pt x="69344" y="115988"/>
                    </a:lnTo>
                    <a:lnTo>
                      <a:pt x="72685" y="115988"/>
                    </a:lnTo>
                    <a:lnTo>
                      <a:pt x="72685" y="19211"/>
                    </a:lnTo>
                    <a:lnTo>
                      <a:pt x="77291" y="19211"/>
                    </a:lnTo>
                    <a:lnTo>
                      <a:pt x="77291" y="2406"/>
                    </a:lnTo>
                    <a:close/>
                    <a:moveTo>
                      <a:pt x="94537" y="2406"/>
                    </a:moveTo>
                    <a:lnTo>
                      <a:pt x="94537" y="6403"/>
                    </a:lnTo>
                    <a:lnTo>
                      <a:pt x="94988" y="7206"/>
                    </a:lnTo>
                    <a:lnTo>
                      <a:pt x="95439" y="9612"/>
                    </a:lnTo>
                    <a:lnTo>
                      <a:pt x="95709" y="12005"/>
                    </a:lnTo>
                    <a:lnTo>
                      <a:pt x="95800" y="13609"/>
                    </a:lnTo>
                    <a:lnTo>
                      <a:pt x="95890" y="15214"/>
                    </a:lnTo>
                    <a:lnTo>
                      <a:pt x="95890" y="115988"/>
                    </a:lnTo>
                    <a:lnTo>
                      <a:pt x="99231" y="115988"/>
                    </a:lnTo>
                    <a:lnTo>
                      <a:pt x="99231" y="66403"/>
                    </a:lnTo>
                    <a:lnTo>
                      <a:pt x="99954" y="70401"/>
                    </a:lnTo>
                    <a:lnTo>
                      <a:pt x="100676" y="76002"/>
                    </a:lnTo>
                    <a:lnTo>
                      <a:pt x="101759" y="88796"/>
                    </a:lnTo>
                    <a:lnTo>
                      <a:pt x="104288" y="115988"/>
                    </a:lnTo>
                    <a:lnTo>
                      <a:pt x="108260" y="115988"/>
                    </a:lnTo>
                    <a:lnTo>
                      <a:pt x="105191" y="83195"/>
                    </a:lnTo>
                    <a:lnTo>
                      <a:pt x="104740" y="77593"/>
                    </a:lnTo>
                    <a:lnTo>
                      <a:pt x="104288" y="72793"/>
                    </a:lnTo>
                    <a:lnTo>
                      <a:pt x="103836" y="68008"/>
                    </a:lnTo>
                    <a:lnTo>
                      <a:pt x="103384" y="64799"/>
                    </a:lnTo>
                    <a:lnTo>
                      <a:pt x="104288" y="63208"/>
                    </a:lnTo>
                    <a:lnTo>
                      <a:pt x="105010" y="61604"/>
                    </a:lnTo>
                    <a:lnTo>
                      <a:pt x="105733" y="58409"/>
                    </a:lnTo>
                    <a:lnTo>
                      <a:pt x="106184" y="55200"/>
                    </a:lnTo>
                    <a:lnTo>
                      <a:pt x="106635" y="51203"/>
                    </a:lnTo>
                    <a:lnTo>
                      <a:pt x="106907" y="46403"/>
                    </a:lnTo>
                    <a:lnTo>
                      <a:pt x="107086" y="41604"/>
                    </a:lnTo>
                    <a:lnTo>
                      <a:pt x="107177" y="36002"/>
                    </a:lnTo>
                    <a:lnTo>
                      <a:pt x="107086" y="28008"/>
                    </a:lnTo>
                    <a:lnTo>
                      <a:pt x="106816" y="21604"/>
                    </a:lnTo>
                    <a:lnTo>
                      <a:pt x="106365" y="16002"/>
                    </a:lnTo>
                    <a:lnTo>
                      <a:pt x="105823" y="11203"/>
                    </a:lnTo>
                    <a:lnTo>
                      <a:pt x="105010" y="7206"/>
                    </a:lnTo>
                    <a:lnTo>
                      <a:pt x="104107" y="4813"/>
                    </a:lnTo>
                    <a:lnTo>
                      <a:pt x="103024" y="3208"/>
                    </a:lnTo>
                    <a:lnTo>
                      <a:pt x="101759" y="2406"/>
                    </a:lnTo>
                    <a:close/>
                    <a:moveTo>
                      <a:pt x="58871" y="816"/>
                    </a:moveTo>
                    <a:lnTo>
                      <a:pt x="57606" y="1604"/>
                    </a:lnTo>
                    <a:lnTo>
                      <a:pt x="56523" y="3208"/>
                    </a:lnTo>
                    <a:lnTo>
                      <a:pt x="55530" y="5615"/>
                    </a:lnTo>
                    <a:lnTo>
                      <a:pt x="54718" y="9612"/>
                    </a:lnTo>
                    <a:lnTo>
                      <a:pt x="54085" y="13609"/>
                    </a:lnTo>
                    <a:lnTo>
                      <a:pt x="53634" y="19211"/>
                    </a:lnTo>
                    <a:lnTo>
                      <a:pt x="53362" y="24813"/>
                    </a:lnTo>
                    <a:lnTo>
                      <a:pt x="53272" y="31203"/>
                    </a:lnTo>
                    <a:lnTo>
                      <a:pt x="53362" y="36804"/>
                    </a:lnTo>
                    <a:lnTo>
                      <a:pt x="53634" y="42406"/>
                    </a:lnTo>
                    <a:lnTo>
                      <a:pt x="53904" y="47206"/>
                    </a:lnTo>
                    <a:lnTo>
                      <a:pt x="54446" y="52005"/>
                    </a:lnTo>
                    <a:lnTo>
                      <a:pt x="55259" y="58409"/>
                    </a:lnTo>
                    <a:lnTo>
                      <a:pt x="56613" y="66403"/>
                    </a:lnTo>
                    <a:lnTo>
                      <a:pt x="58419" y="76002"/>
                    </a:lnTo>
                    <a:lnTo>
                      <a:pt x="58961" y="80000"/>
                    </a:lnTo>
                    <a:lnTo>
                      <a:pt x="59322" y="83997"/>
                    </a:lnTo>
                    <a:lnTo>
                      <a:pt x="59503" y="87192"/>
                    </a:lnTo>
                    <a:lnTo>
                      <a:pt x="59594" y="91203"/>
                    </a:lnTo>
                    <a:lnTo>
                      <a:pt x="59503" y="93596"/>
                    </a:lnTo>
                    <a:lnTo>
                      <a:pt x="59412" y="96002"/>
                    </a:lnTo>
                    <a:lnTo>
                      <a:pt x="59141" y="98395"/>
                    </a:lnTo>
                    <a:lnTo>
                      <a:pt x="58871" y="100000"/>
                    </a:lnTo>
                    <a:lnTo>
                      <a:pt x="58238" y="101590"/>
                    </a:lnTo>
                    <a:lnTo>
                      <a:pt x="56432" y="101590"/>
                    </a:lnTo>
                    <a:lnTo>
                      <a:pt x="55259" y="100000"/>
                    </a:lnTo>
                    <a:lnTo>
                      <a:pt x="54176" y="96791"/>
                    </a:lnTo>
                    <a:lnTo>
                      <a:pt x="53181" y="92793"/>
                    </a:lnTo>
                    <a:lnTo>
                      <a:pt x="53181" y="112793"/>
                    </a:lnTo>
                    <a:lnTo>
                      <a:pt x="54176" y="115200"/>
                    </a:lnTo>
                    <a:lnTo>
                      <a:pt x="55169" y="116791"/>
                    </a:lnTo>
                    <a:lnTo>
                      <a:pt x="56252" y="117593"/>
                    </a:lnTo>
                    <a:lnTo>
                      <a:pt x="57245" y="118395"/>
                    </a:lnTo>
                    <a:lnTo>
                      <a:pt x="58148" y="117593"/>
                    </a:lnTo>
                    <a:lnTo>
                      <a:pt x="58961" y="116791"/>
                    </a:lnTo>
                    <a:lnTo>
                      <a:pt x="59773" y="115988"/>
                    </a:lnTo>
                    <a:lnTo>
                      <a:pt x="60496" y="113596"/>
                    </a:lnTo>
                    <a:lnTo>
                      <a:pt x="61038" y="111189"/>
                    </a:lnTo>
                    <a:lnTo>
                      <a:pt x="61670" y="108796"/>
                    </a:lnTo>
                    <a:lnTo>
                      <a:pt x="62121" y="105601"/>
                    </a:lnTo>
                    <a:lnTo>
                      <a:pt x="62482" y="102392"/>
                    </a:lnTo>
                    <a:lnTo>
                      <a:pt x="62754" y="98395"/>
                    </a:lnTo>
                    <a:lnTo>
                      <a:pt x="62933" y="94398"/>
                    </a:lnTo>
                    <a:lnTo>
                      <a:pt x="63114" y="89598"/>
                    </a:lnTo>
                    <a:lnTo>
                      <a:pt x="63114" y="84799"/>
                    </a:lnTo>
                    <a:lnTo>
                      <a:pt x="63114" y="80802"/>
                    </a:lnTo>
                    <a:lnTo>
                      <a:pt x="62933" y="76804"/>
                    </a:lnTo>
                    <a:lnTo>
                      <a:pt x="62754" y="72793"/>
                    </a:lnTo>
                    <a:lnTo>
                      <a:pt x="62391" y="68796"/>
                    </a:lnTo>
                    <a:lnTo>
                      <a:pt x="61940" y="63997"/>
                    </a:lnTo>
                    <a:lnTo>
                      <a:pt x="61489" y="60000"/>
                    </a:lnTo>
                    <a:lnTo>
                      <a:pt x="60857" y="56002"/>
                    </a:lnTo>
                    <a:lnTo>
                      <a:pt x="60134" y="52005"/>
                    </a:lnTo>
                    <a:lnTo>
                      <a:pt x="58238" y="41604"/>
                    </a:lnTo>
                    <a:lnTo>
                      <a:pt x="57516" y="36804"/>
                    </a:lnTo>
                    <a:lnTo>
                      <a:pt x="57064" y="33609"/>
                    </a:lnTo>
                    <a:lnTo>
                      <a:pt x="56794" y="30401"/>
                    </a:lnTo>
                    <a:lnTo>
                      <a:pt x="56704" y="28008"/>
                    </a:lnTo>
                    <a:lnTo>
                      <a:pt x="56794" y="24813"/>
                    </a:lnTo>
                    <a:lnTo>
                      <a:pt x="57064" y="21604"/>
                    </a:lnTo>
                    <a:lnTo>
                      <a:pt x="57427" y="20013"/>
                    </a:lnTo>
                    <a:lnTo>
                      <a:pt x="57878" y="18409"/>
                    </a:lnTo>
                    <a:lnTo>
                      <a:pt x="58419" y="17607"/>
                    </a:lnTo>
                    <a:lnTo>
                      <a:pt x="59052" y="16804"/>
                    </a:lnTo>
                    <a:lnTo>
                      <a:pt x="59864" y="17607"/>
                    </a:lnTo>
                    <a:lnTo>
                      <a:pt x="60587" y="19211"/>
                    </a:lnTo>
                    <a:lnTo>
                      <a:pt x="61128" y="20802"/>
                    </a:lnTo>
                    <a:lnTo>
                      <a:pt x="61580" y="23208"/>
                    </a:lnTo>
                    <a:lnTo>
                      <a:pt x="61850" y="26403"/>
                    </a:lnTo>
                    <a:lnTo>
                      <a:pt x="62121" y="29612"/>
                    </a:lnTo>
                    <a:lnTo>
                      <a:pt x="62482" y="29612"/>
                    </a:lnTo>
                    <a:lnTo>
                      <a:pt x="62482" y="5615"/>
                    </a:lnTo>
                    <a:lnTo>
                      <a:pt x="61670" y="3208"/>
                    </a:lnTo>
                    <a:lnTo>
                      <a:pt x="60766" y="1604"/>
                    </a:lnTo>
                    <a:lnTo>
                      <a:pt x="59864" y="816"/>
                    </a:lnTo>
                    <a:close/>
                    <a:moveTo>
                      <a:pt x="115754" y="816"/>
                    </a:moveTo>
                    <a:lnTo>
                      <a:pt x="114491" y="1604"/>
                    </a:lnTo>
                    <a:lnTo>
                      <a:pt x="113317" y="3208"/>
                    </a:lnTo>
                    <a:lnTo>
                      <a:pt x="112413" y="5615"/>
                    </a:lnTo>
                    <a:lnTo>
                      <a:pt x="111601" y="9612"/>
                    </a:lnTo>
                    <a:lnTo>
                      <a:pt x="110969" y="13609"/>
                    </a:lnTo>
                    <a:lnTo>
                      <a:pt x="110518" y="19211"/>
                    </a:lnTo>
                    <a:lnTo>
                      <a:pt x="110248" y="24813"/>
                    </a:lnTo>
                    <a:lnTo>
                      <a:pt x="110157" y="31203"/>
                    </a:lnTo>
                    <a:lnTo>
                      <a:pt x="110248" y="36804"/>
                    </a:lnTo>
                    <a:lnTo>
                      <a:pt x="110427" y="42406"/>
                    </a:lnTo>
                    <a:lnTo>
                      <a:pt x="110788" y="47206"/>
                    </a:lnTo>
                    <a:lnTo>
                      <a:pt x="111330" y="52005"/>
                    </a:lnTo>
                    <a:lnTo>
                      <a:pt x="112143" y="58409"/>
                    </a:lnTo>
                    <a:lnTo>
                      <a:pt x="113497" y="66403"/>
                    </a:lnTo>
                    <a:lnTo>
                      <a:pt x="115303" y="76002"/>
                    </a:lnTo>
                    <a:lnTo>
                      <a:pt x="115845" y="80000"/>
                    </a:lnTo>
                    <a:lnTo>
                      <a:pt x="116206" y="83997"/>
                    </a:lnTo>
                    <a:lnTo>
                      <a:pt x="116387" y="87192"/>
                    </a:lnTo>
                    <a:lnTo>
                      <a:pt x="116477" y="91203"/>
                    </a:lnTo>
                    <a:lnTo>
                      <a:pt x="116387" y="93596"/>
                    </a:lnTo>
                    <a:lnTo>
                      <a:pt x="116296" y="96002"/>
                    </a:lnTo>
                    <a:lnTo>
                      <a:pt x="116026" y="98395"/>
                    </a:lnTo>
                    <a:lnTo>
                      <a:pt x="115754" y="100000"/>
                    </a:lnTo>
                    <a:lnTo>
                      <a:pt x="115122" y="101590"/>
                    </a:lnTo>
                    <a:lnTo>
                      <a:pt x="113227" y="101590"/>
                    </a:lnTo>
                    <a:lnTo>
                      <a:pt x="112143" y="100000"/>
                    </a:lnTo>
                    <a:lnTo>
                      <a:pt x="111060" y="96791"/>
                    </a:lnTo>
                    <a:lnTo>
                      <a:pt x="110067" y="92793"/>
                    </a:lnTo>
                    <a:lnTo>
                      <a:pt x="110067" y="112793"/>
                    </a:lnTo>
                    <a:lnTo>
                      <a:pt x="111060" y="115200"/>
                    </a:lnTo>
                    <a:lnTo>
                      <a:pt x="112053" y="116791"/>
                    </a:lnTo>
                    <a:lnTo>
                      <a:pt x="113046" y="117593"/>
                    </a:lnTo>
                    <a:lnTo>
                      <a:pt x="114129" y="118395"/>
                    </a:lnTo>
                    <a:lnTo>
                      <a:pt x="115033" y="117593"/>
                    </a:lnTo>
                    <a:lnTo>
                      <a:pt x="115845" y="116791"/>
                    </a:lnTo>
                    <a:lnTo>
                      <a:pt x="116658" y="115988"/>
                    </a:lnTo>
                    <a:lnTo>
                      <a:pt x="117289" y="113596"/>
                    </a:lnTo>
                    <a:lnTo>
                      <a:pt x="117921" y="111189"/>
                    </a:lnTo>
                    <a:lnTo>
                      <a:pt x="118463" y="108796"/>
                    </a:lnTo>
                    <a:lnTo>
                      <a:pt x="118914" y="105601"/>
                    </a:lnTo>
                    <a:lnTo>
                      <a:pt x="119367" y="102392"/>
                    </a:lnTo>
                    <a:lnTo>
                      <a:pt x="119637" y="98395"/>
                    </a:lnTo>
                    <a:lnTo>
                      <a:pt x="119818" y="94398"/>
                    </a:lnTo>
                    <a:lnTo>
                      <a:pt x="119998" y="89598"/>
                    </a:lnTo>
                    <a:lnTo>
                      <a:pt x="119998" y="84799"/>
                    </a:lnTo>
                    <a:lnTo>
                      <a:pt x="119909" y="80802"/>
                    </a:lnTo>
                    <a:lnTo>
                      <a:pt x="119818" y="76804"/>
                    </a:lnTo>
                    <a:lnTo>
                      <a:pt x="119547" y="72793"/>
                    </a:lnTo>
                    <a:lnTo>
                      <a:pt x="119277" y="68796"/>
                    </a:lnTo>
                    <a:lnTo>
                      <a:pt x="118825" y="63997"/>
                    </a:lnTo>
                    <a:lnTo>
                      <a:pt x="118373" y="60000"/>
                    </a:lnTo>
                    <a:lnTo>
                      <a:pt x="117742" y="56002"/>
                    </a:lnTo>
                    <a:lnTo>
                      <a:pt x="117019" y="52005"/>
                    </a:lnTo>
                    <a:lnTo>
                      <a:pt x="115033" y="41604"/>
                    </a:lnTo>
                    <a:lnTo>
                      <a:pt x="114401" y="36804"/>
                    </a:lnTo>
                    <a:lnTo>
                      <a:pt x="113950" y="33609"/>
                    </a:lnTo>
                    <a:lnTo>
                      <a:pt x="113678" y="30401"/>
                    </a:lnTo>
                    <a:lnTo>
                      <a:pt x="113587" y="28008"/>
                    </a:lnTo>
                    <a:lnTo>
                      <a:pt x="113678" y="24813"/>
                    </a:lnTo>
                    <a:lnTo>
                      <a:pt x="113950" y="21604"/>
                    </a:lnTo>
                    <a:lnTo>
                      <a:pt x="114310" y="20013"/>
                    </a:lnTo>
                    <a:lnTo>
                      <a:pt x="114761" y="18409"/>
                    </a:lnTo>
                    <a:lnTo>
                      <a:pt x="115303" y="17607"/>
                    </a:lnTo>
                    <a:lnTo>
                      <a:pt x="115935" y="16804"/>
                    </a:lnTo>
                    <a:lnTo>
                      <a:pt x="116747" y="17607"/>
                    </a:lnTo>
                    <a:lnTo>
                      <a:pt x="117470" y="19211"/>
                    </a:lnTo>
                    <a:lnTo>
                      <a:pt x="118012" y="20802"/>
                    </a:lnTo>
                    <a:lnTo>
                      <a:pt x="118463" y="23208"/>
                    </a:lnTo>
                    <a:lnTo>
                      <a:pt x="118735" y="26403"/>
                    </a:lnTo>
                    <a:lnTo>
                      <a:pt x="118914" y="29612"/>
                    </a:lnTo>
                    <a:lnTo>
                      <a:pt x="119367" y="29612"/>
                    </a:lnTo>
                    <a:lnTo>
                      <a:pt x="119367" y="5615"/>
                    </a:lnTo>
                    <a:lnTo>
                      <a:pt x="118463" y="3208"/>
                    </a:lnTo>
                    <a:lnTo>
                      <a:pt x="117651" y="1604"/>
                    </a:lnTo>
                    <a:lnTo>
                      <a:pt x="116747" y="816"/>
                    </a:lnTo>
                    <a:close/>
                    <a:moveTo>
                      <a:pt x="84785" y="13"/>
                    </a:moveTo>
                    <a:lnTo>
                      <a:pt x="83971" y="816"/>
                    </a:lnTo>
                    <a:lnTo>
                      <a:pt x="83160" y="2406"/>
                    </a:lnTo>
                    <a:lnTo>
                      <a:pt x="82527" y="4813"/>
                    </a:lnTo>
                    <a:lnTo>
                      <a:pt x="81804" y="7206"/>
                    </a:lnTo>
                    <a:lnTo>
                      <a:pt x="81172" y="10414"/>
                    </a:lnTo>
                    <a:lnTo>
                      <a:pt x="80630" y="13609"/>
                    </a:lnTo>
                    <a:lnTo>
                      <a:pt x="80179" y="17607"/>
                    </a:lnTo>
                    <a:lnTo>
                      <a:pt x="79728" y="21604"/>
                    </a:lnTo>
                    <a:lnTo>
                      <a:pt x="79277" y="26403"/>
                    </a:lnTo>
                    <a:lnTo>
                      <a:pt x="78916" y="31203"/>
                    </a:lnTo>
                    <a:lnTo>
                      <a:pt x="78644" y="36804"/>
                    </a:lnTo>
                    <a:lnTo>
                      <a:pt x="78463" y="41604"/>
                    </a:lnTo>
                    <a:lnTo>
                      <a:pt x="78284" y="48008"/>
                    </a:lnTo>
                    <a:lnTo>
                      <a:pt x="78193" y="53609"/>
                    </a:lnTo>
                    <a:lnTo>
                      <a:pt x="78103" y="60000"/>
                    </a:lnTo>
                    <a:lnTo>
                      <a:pt x="78193" y="65601"/>
                    </a:lnTo>
                    <a:lnTo>
                      <a:pt x="78284" y="72005"/>
                    </a:lnTo>
                    <a:lnTo>
                      <a:pt x="78463" y="77593"/>
                    </a:lnTo>
                    <a:lnTo>
                      <a:pt x="78644" y="83195"/>
                    </a:lnTo>
                    <a:lnTo>
                      <a:pt x="78916" y="88796"/>
                    </a:lnTo>
                    <a:lnTo>
                      <a:pt x="79277" y="93596"/>
                    </a:lnTo>
                    <a:lnTo>
                      <a:pt x="79728" y="98395"/>
                    </a:lnTo>
                    <a:lnTo>
                      <a:pt x="80179" y="102392"/>
                    </a:lnTo>
                    <a:lnTo>
                      <a:pt x="80630" y="106390"/>
                    </a:lnTo>
                    <a:lnTo>
                      <a:pt x="81172" y="109598"/>
                    </a:lnTo>
                    <a:lnTo>
                      <a:pt x="81804" y="112793"/>
                    </a:lnTo>
                    <a:lnTo>
                      <a:pt x="82527" y="115200"/>
                    </a:lnTo>
                    <a:lnTo>
                      <a:pt x="83160" y="116791"/>
                    </a:lnTo>
                    <a:lnTo>
                      <a:pt x="83971" y="118395"/>
                    </a:lnTo>
                    <a:lnTo>
                      <a:pt x="84785" y="119197"/>
                    </a:lnTo>
                    <a:lnTo>
                      <a:pt x="85597" y="120000"/>
                    </a:lnTo>
                    <a:lnTo>
                      <a:pt x="86501" y="119197"/>
                    </a:lnTo>
                    <a:lnTo>
                      <a:pt x="87222" y="118395"/>
                    </a:lnTo>
                    <a:lnTo>
                      <a:pt x="88035" y="116791"/>
                    </a:lnTo>
                    <a:lnTo>
                      <a:pt x="88757" y="115200"/>
                    </a:lnTo>
                    <a:lnTo>
                      <a:pt x="89389" y="112793"/>
                    </a:lnTo>
                    <a:lnTo>
                      <a:pt x="90021" y="109598"/>
                    </a:lnTo>
                    <a:lnTo>
                      <a:pt x="90563" y="106390"/>
                    </a:lnTo>
                    <a:lnTo>
                      <a:pt x="91105" y="102392"/>
                    </a:lnTo>
                    <a:lnTo>
                      <a:pt x="91556" y="98395"/>
                    </a:lnTo>
                    <a:lnTo>
                      <a:pt x="91918" y="93596"/>
                    </a:lnTo>
                    <a:lnTo>
                      <a:pt x="92279" y="88796"/>
                    </a:lnTo>
                    <a:lnTo>
                      <a:pt x="92549" y="83195"/>
                    </a:lnTo>
                    <a:lnTo>
                      <a:pt x="92821" y="77593"/>
                    </a:lnTo>
                    <a:lnTo>
                      <a:pt x="92911" y="72005"/>
                    </a:lnTo>
                    <a:lnTo>
                      <a:pt x="93091" y="65601"/>
                    </a:lnTo>
                    <a:lnTo>
                      <a:pt x="93091" y="60000"/>
                    </a:lnTo>
                    <a:lnTo>
                      <a:pt x="93091" y="53609"/>
                    </a:lnTo>
                    <a:lnTo>
                      <a:pt x="92911" y="48008"/>
                    </a:lnTo>
                    <a:lnTo>
                      <a:pt x="92821" y="41604"/>
                    </a:lnTo>
                    <a:lnTo>
                      <a:pt x="92549" y="36804"/>
                    </a:lnTo>
                    <a:lnTo>
                      <a:pt x="92279" y="31203"/>
                    </a:lnTo>
                    <a:lnTo>
                      <a:pt x="91918" y="26403"/>
                    </a:lnTo>
                    <a:lnTo>
                      <a:pt x="91556" y="21604"/>
                    </a:lnTo>
                    <a:lnTo>
                      <a:pt x="91105" y="17607"/>
                    </a:lnTo>
                    <a:lnTo>
                      <a:pt x="90563" y="13609"/>
                    </a:lnTo>
                    <a:lnTo>
                      <a:pt x="90021" y="10414"/>
                    </a:lnTo>
                    <a:lnTo>
                      <a:pt x="89389" y="7206"/>
                    </a:lnTo>
                    <a:lnTo>
                      <a:pt x="88757" y="4813"/>
                    </a:lnTo>
                    <a:lnTo>
                      <a:pt x="88035" y="2406"/>
                    </a:lnTo>
                    <a:lnTo>
                      <a:pt x="87222" y="816"/>
                    </a:lnTo>
                    <a:lnTo>
                      <a:pt x="86501" y="13"/>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4" name="Google Shape;25;p2">
                <a:extLst>
                  <a:ext uri="{FF2B5EF4-FFF2-40B4-BE49-F238E27FC236}">
                    <a16:creationId xmlns:a16="http://schemas.microsoft.com/office/drawing/2014/main" id="{FBD9C83F-8A7C-134E-9094-D2FDF31A11CD}"/>
                  </a:ext>
                </a:extLst>
              </p:cNvPr>
              <p:cNvSpPr/>
              <p:nvPr/>
            </p:nvSpPr>
            <p:spPr>
              <a:xfrm>
                <a:off x="5111957" y="3466175"/>
                <a:ext cx="75301" cy="205200"/>
              </a:xfrm>
              <a:custGeom>
                <a:avLst/>
                <a:gdLst/>
                <a:ahLst/>
                <a:cxnLst/>
                <a:rect l="l" t="t" r="r" b="b"/>
                <a:pathLst>
                  <a:path w="120000" h="120000" fill="none" extrusionOk="0">
                    <a:moveTo>
                      <a:pt x="0" y="4222"/>
                    </a:moveTo>
                    <a:lnTo>
                      <a:pt x="0" y="4222"/>
                    </a:lnTo>
                    <a:lnTo>
                      <a:pt x="11529" y="5070"/>
                    </a:lnTo>
                    <a:lnTo>
                      <a:pt x="23058" y="7612"/>
                    </a:lnTo>
                    <a:lnTo>
                      <a:pt x="23058" y="7612"/>
                    </a:lnTo>
                    <a:lnTo>
                      <a:pt x="30000" y="10987"/>
                    </a:lnTo>
                    <a:lnTo>
                      <a:pt x="32313" y="12682"/>
                    </a:lnTo>
                    <a:lnTo>
                      <a:pt x="34627" y="14362"/>
                    </a:lnTo>
                    <a:lnTo>
                      <a:pt x="34627" y="119985"/>
                    </a:lnTo>
                    <a:lnTo>
                      <a:pt x="119960" y="119985"/>
                    </a:lnTo>
                    <a:lnTo>
                      <a:pt x="119960"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5" name="Google Shape;26;p2">
                <a:extLst>
                  <a:ext uri="{FF2B5EF4-FFF2-40B4-BE49-F238E27FC236}">
                    <a16:creationId xmlns:a16="http://schemas.microsoft.com/office/drawing/2014/main" id="{888FCF2A-EA89-7340-8C4B-2B6C18C33C43}"/>
                  </a:ext>
                </a:extLst>
              </p:cNvPr>
              <p:cNvSpPr/>
              <p:nvPr/>
            </p:nvSpPr>
            <p:spPr>
              <a:xfrm>
                <a:off x="5226157" y="3466175"/>
                <a:ext cx="232800" cy="205200"/>
              </a:xfrm>
              <a:custGeom>
                <a:avLst/>
                <a:gdLst/>
                <a:ahLst/>
                <a:cxnLst/>
                <a:rect l="l" t="t" r="r" b="b"/>
                <a:pathLst>
                  <a:path w="120000" h="120000" fill="none" extrusionOk="0">
                    <a:moveTo>
                      <a:pt x="99871" y="88732"/>
                    </a:moveTo>
                    <a:lnTo>
                      <a:pt x="40257" y="0"/>
                    </a:lnTo>
                    <a:lnTo>
                      <a:pt x="12" y="0"/>
                    </a:lnTo>
                    <a:lnTo>
                      <a:pt x="12" y="4222"/>
                    </a:lnTo>
                    <a:lnTo>
                      <a:pt x="12" y="4222"/>
                    </a:lnTo>
                    <a:lnTo>
                      <a:pt x="3737" y="5070"/>
                    </a:lnTo>
                    <a:lnTo>
                      <a:pt x="6713" y="7612"/>
                    </a:lnTo>
                    <a:lnTo>
                      <a:pt x="6713" y="7612"/>
                    </a:lnTo>
                    <a:lnTo>
                      <a:pt x="9703" y="10987"/>
                    </a:lnTo>
                    <a:lnTo>
                      <a:pt x="10451" y="12682"/>
                    </a:lnTo>
                    <a:lnTo>
                      <a:pt x="10451" y="14362"/>
                    </a:lnTo>
                    <a:lnTo>
                      <a:pt x="10451" y="119985"/>
                    </a:lnTo>
                    <a:lnTo>
                      <a:pt x="31314" y="119985"/>
                    </a:lnTo>
                    <a:lnTo>
                      <a:pt x="31314" y="40560"/>
                    </a:lnTo>
                    <a:lnTo>
                      <a:pt x="84226" y="119985"/>
                    </a:lnTo>
                    <a:lnTo>
                      <a:pt x="120000" y="119985"/>
                    </a:lnTo>
                    <a:lnTo>
                      <a:pt x="120000" y="0"/>
                    </a:lnTo>
                    <a:lnTo>
                      <a:pt x="99871" y="0"/>
                    </a:lnTo>
                    <a:lnTo>
                      <a:pt x="99871" y="8873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6" name="Google Shape;27;p2">
                <a:extLst>
                  <a:ext uri="{FF2B5EF4-FFF2-40B4-BE49-F238E27FC236}">
                    <a16:creationId xmlns:a16="http://schemas.microsoft.com/office/drawing/2014/main" id="{B43237F5-A0F3-924B-A42D-236C091811BA}"/>
                  </a:ext>
                </a:extLst>
              </p:cNvPr>
              <p:cNvSpPr/>
              <p:nvPr/>
            </p:nvSpPr>
            <p:spPr>
              <a:xfrm>
                <a:off x="5493632" y="3466175"/>
                <a:ext cx="236999" cy="205200"/>
              </a:xfrm>
              <a:custGeom>
                <a:avLst/>
                <a:gdLst/>
                <a:ahLst/>
                <a:cxnLst/>
                <a:rect l="l" t="t" r="r" b="b"/>
                <a:pathLst>
                  <a:path w="120000" h="120000" fill="none" extrusionOk="0">
                    <a:moveTo>
                      <a:pt x="68045" y="87885"/>
                    </a:moveTo>
                    <a:lnTo>
                      <a:pt x="38051" y="0"/>
                    </a:lnTo>
                    <a:lnTo>
                      <a:pt x="12" y="0"/>
                    </a:lnTo>
                    <a:lnTo>
                      <a:pt x="12" y="4222"/>
                    </a:lnTo>
                    <a:lnTo>
                      <a:pt x="12" y="4222"/>
                    </a:lnTo>
                    <a:lnTo>
                      <a:pt x="3668" y="5917"/>
                    </a:lnTo>
                    <a:lnTo>
                      <a:pt x="7324" y="7612"/>
                    </a:lnTo>
                    <a:lnTo>
                      <a:pt x="9525" y="10140"/>
                    </a:lnTo>
                    <a:lnTo>
                      <a:pt x="11714" y="13529"/>
                    </a:lnTo>
                    <a:lnTo>
                      <a:pt x="47564" y="119985"/>
                    </a:lnTo>
                    <a:lnTo>
                      <a:pt x="76824" y="119985"/>
                    </a:lnTo>
                    <a:lnTo>
                      <a:pt x="119987" y="0"/>
                    </a:lnTo>
                    <a:lnTo>
                      <a:pt x="99506" y="0"/>
                    </a:lnTo>
                    <a:lnTo>
                      <a:pt x="68045" y="8788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7" name="Google Shape;28;p2">
                <a:extLst>
                  <a:ext uri="{FF2B5EF4-FFF2-40B4-BE49-F238E27FC236}">
                    <a16:creationId xmlns:a16="http://schemas.microsoft.com/office/drawing/2014/main" id="{665BE985-84B6-2448-8600-85403D1EF56E}"/>
                  </a:ext>
                </a:extLst>
              </p:cNvPr>
              <p:cNvSpPr/>
              <p:nvPr/>
            </p:nvSpPr>
            <p:spPr>
              <a:xfrm>
                <a:off x="5759684" y="3466175"/>
                <a:ext cx="163501" cy="205200"/>
              </a:xfrm>
              <a:custGeom>
                <a:avLst/>
                <a:gdLst/>
                <a:ahLst/>
                <a:cxnLst/>
                <a:rect l="l" t="t" r="r" b="b"/>
                <a:pathLst>
                  <a:path w="120000" h="120000" fill="none" extrusionOk="0">
                    <a:moveTo>
                      <a:pt x="0" y="4222"/>
                    </a:moveTo>
                    <a:lnTo>
                      <a:pt x="0" y="4222"/>
                    </a:lnTo>
                    <a:lnTo>
                      <a:pt x="5305" y="5070"/>
                    </a:lnTo>
                    <a:lnTo>
                      <a:pt x="10611" y="7612"/>
                    </a:lnTo>
                    <a:lnTo>
                      <a:pt x="10611" y="7612"/>
                    </a:lnTo>
                    <a:lnTo>
                      <a:pt x="13806" y="10140"/>
                    </a:lnTo>
                    <a:lnTo>
                      <a:pt x="14871" y="12682"/>
                    </a:lnTo>
                    <a:lnTo>
                      <a:pt x="14871" y="14362"/>
                    </a:lnTo>
                    <a:lnTo>
                      <a:pt x="14871" y="119985"/>
                    </a:lnTo>
                    <a:lnTo>
                      <a:pt x="119981" y="119985"/>
                    </a:lnTo>
                    <a:lnTo>
                      <a:pt x="119981" y="102247"/>
                    </a:lnTo>
                    <a:lnTo>
                      <a:pt x="55208" y="102247"/>
                    </a:lnTo>
                    <a:lnTo>
                      <a:pt x="55208" y="65062"/>
                    </a:lnTo>
                    <a:lnTo>
                      <a:pt x="114675" y="65062"/>
                    </a:lnTo>
                    <a:lnTo>
                      <a:pt x="114675" y="48172"/>
                    </a:lnTo>
                    <a:lnTo>
                      <a:pt x="55208" y="48172"/>
                    </a:lnTo>
                    <a:lnTo>
                      <a:pt x="55208" y="17752"/>
                    </a:lnTo>
                    <a:lnTo>
                      <a:pt x="119981" y="17752"/>
                    </a:lnTo>
                    <a:lnTo>
                      <a:pt x="119981"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8" name="Google Shape;29;p2">
                <a:extLst>
                  <a:ext uri="{FF2B5EF4-FFF2-40B4-BE49-F238E27FC236}">
                    <a16:creationId xmlns:a16="http://schemas.microsoft.com/office/drawing/2014/main" id="{D2256EB1-B38F-814D-9F92-ACAD3DD9988E}"/>
                  </a:ext>
                </a:extLst>
              </p:cNvPr>
              <p:cNvSpPr/>
              <p:nvPr/>
            </p:nvSpPr>
            <p:spPr>
              <a:xfrm>
                <a:off x="5963535" y="3463276"/>
                <a:ext cx="159001" cy="212400"/>
              </a:xfrm>
              <a:custGeom>
                <a:avLst/>
                <a:gdLst/>
                <a:ahLst/>
                <a:cxnLst/>
                <a:rect l="l" t="t" r="r" b="b"/>
                <a:pathLst>
                  <a:path w="120000" h="120000" fill="none" extrusionOk="0">
                    <a:moveTo>
                      <a:pt x="83992" y="52251"/>
                    </a:moveTo>
                    <a:lnTo>
                      <a:pt x="83992" y="52251"/>
                    </a:lnTo>
                    <a:lnTo>
                      <a:pt x="61093" y="41637"/>
                    </a:lnTo>
                    <a:lnTo>
                      <a:pt x="61093" y="41637"/>
                    </a:lnTo>
                    <a:lnTo>
                      <a:pt x="52360" y="36739"/>
                    </a:lnTo>
                    <a:lnTo>
                      <a:pt x="46909" y="33479"/>
                    </a:lnTo>
                    <a:lnTo>
                      <a:pt x="43646" y="30204"/>
                    </a:lnTo>
                    <a:lnTo>
                      <a:pt x="42552" y="27762"/>
                    </a:lnTo>
                    <a:lnTo>
                      <a:pt x="42552" y="27762"/>
                    </a:lnTo>
                    <a:lnTo>
                      <a:pt x="43646" y="24502"/>
                    </a:lnTo>
                    <a:lnTo>
                      <a:pt x="46909" y="21227"/>
                    </a:lnTo>
                    <a:lnTo>
                      <a:pt x="46909" y="21227"/>
                    </a:lnTo>
                    <a:lnTo>
                      <a:pt x="51285" y="19604"/>
                    </a:lnTo>
                    <a:lnTo>
                      <a:pt x="56736" y="17967"/>
                    </a:lnTo>
                    <a:lnTo>
                      <a:pt x="63281" y="17148"/>
                    </a:lnTo>
                    <a:lnTo>
                      <a:pt x="70921" y="16330"/>
                    </a:lnTo>
                    <a:lnTo>
                      <a:pt x="70921" y="16330"/>
                    </a:lnTo>
                    <a:lnTo>
                      <a:pt x="80729" y="17148"/>
                    </a:lnTo>
                    <a:lnTo>
                      <a:pt x="89462" y="18786"/>
                    </a:lnTo>
                    <a:lnTo>
                      <a:pt x="89462" y="18786"/>
                    </a:lnTo>
                    <a:lnTo>
                      <a:pt x="96007" y="20409"/>
                    </a:lnTo>
                    <a:lnTo>
                      <a:pt x="101458" y="22865"/>
                    </a:lnTo>
                    <a:lnTo>
                      <a:pt x="104721" y="26125"/>
                    </a:lnTo>
                    <a:lnTo>
                      <a:pt x="108003" y="29400"/>
                    </a:lnTo>
                    <a:lnTo>
                      <a:pt x="112360" y="29400"/>
                    </a:lnTo>
                    <a:lnTo>
                      <a:pt x="112360" y="4911"/>
                    </a:lnTo>
                    <a:lnTo>
                      <a:pt x="112360" y="4911"/>
                    </a:lnTo>
                    <a:lnTo>
                      <a:pt x="102552" y="2455"/>
                    </a:lnTo>
                    <a:lnTo>
                      <a:pt x="91631" y="818"/>
                    </a:lnTo>
                    <a:lnTo>
                      <a:pt x="80729" y="14"/>
                    </a:lnTo>
                    <a:lnTo>
                      <a:pt x="68733" y="14"/>
                    </a:lnTo>
                    <a:lnTo>
                      <a:pt x="68733" y="14"/>
                    </a:lnTo>
                    <a:lnTo>
                      <a:pt x="53454" y="818"/>
                    </a:lnTo>
                    <a:lnTo>
                      <a:pt x="40364" y="2455"/>
                    </a:lnTo>
                    <a:lnTo>
                      <a:pt x="28368" y="4911"/>
                    </a:lnTo>
                    <a:lnTo>
                      <a:pt x="18560" y="8990"/>
                    </a:lnTo>
                    <a:lnTo>
                      <a:pt x="18560" y="8990"/>
                    </a:lnTo>
                    <a:lnTo>
                      <a:pt x="10921" y="13069"/>
                    </a:lnTo>
                    <a:lnTo>
                      <a:pt x="5469" y="18786"/>
                    </a:lnTo>
                    <a:lnTo>
                      <a:pt x="2187" y="24502"/>
                    </a:lnTo>
                    <a:lnTo>
                      <a:pt x="1093" y="31023"/>
                    </a:lnTo>
                    <a:lnTo>
                      <a:pt x="1093" y="31023"/>
                    </a:lnTo>
                    <a:lnTo>
                      <a:pt x="2187" y="36739"/>
                    </a:lnTo>
                    <a:lnTo>
                      <a:pt x="5469" y="42455"/>
                    </a:lnTo>
                    <a:lnTo>
                      <a:pt x="8733" y="47353"/>
                    </a:lnTo>
                    <a:lnTo>
                      <a:pt x="15278" y="52251"/>
                    </a:lnTo>
                    <a:lnTo>
                      <a:pt x="15278" y="52251"/>
                    </a:lnTo>
                    <a:lnTo>
                      <a:pt x="25105" y="58786"/>
                    </a:lnTo>
                    <a:lnTo>
                      <a:pt x="41458" y="66944"/>
                    </a:lnTo>
                    <a:lnTo>
                      <a:pt x="41458" y="66944"/>
                    </a:lnTo>
                    <a:lnTo>
                      <a:pt x="63281" y="76739"/>
                    </a:lnTo>
                    <a:lnTo>
                      <a:pt x="63281" y="76739"/>
                    </a:lnTo>
                    <a:lnTo>
                      <a:pt x="69827" y="80818"/>
                    </a:lnTo>
                    <a:lnTo>
                      <a:pt x="74184" y="84897"/>
                    </a:lnTo>
                    <a:lnTo>
                      <a:pt x="76372" y="88158"/>
                    </a:lnTo>
                    <a:lnTo>
                      <a:pt x="77466" y="92251"/>
                    </a:lnTo>
                    <a:lnTo>
                      <a:pt x="77466" y="92251"/>
                    </a:lnTo>
                    <a:lnTo>
                      <a:pt x="76372" y="94693"/>
                    </a:lnTo>
                    <a:lnTo>
                      <a:pt x="75278" y="97148"/>
                    </a:lnTo>
                    <a:lnTo>
                      <a:pt x="71996" y="99590"/>
                    </a:lnTo>
                    <a:lnTo>
                      <a:pt x="68733" y="101227"/>
                    </a:lnTo>
                    <a:lnTo>
                      <a:pt x="68733" y="101227"/>
                    </a:lnTo>
                    <a:lnTo>
                      <a:pt x="61093" y="102851"/>
                    </a:lnTo>
                    <a:lnTo>
                      <a:pt x="53454" y="102851"/>
                    </a:lnTo>
                    <a:lnTo>
                      <a:pt x="53454" y="102851"/>
                    </a:lnTo>
                    <a:lnTo>
                      <a:pt x="39270" y="102851"/>
                    </a:lnTo>
                    <a:lnTo>
                      <a:pt x="25105" y="101227"/>
                    </a:lnTo>
                    <a:lnTo>
                      <a:pt x="12015" y="97953"/>
                    </a:lnTo>
                    <a:lnTo>
                      <a:pt x="0" y="93874"/>
                    </a:lnTo>
                    <a:lnTo>
                      <a:pt x="0" y="114283"/>
                    </a:lnTo>
                    <a:lnTo>
                      <a:pt x="0" y="114283"/>
                    </a:lnTo>
                    <a:lnTo>
                      <a:pt x="12015" y="116739"/>
                    </a:lnTo>
                    <a:lnTo>
                      <a:pt x="24011" y="118362"/>
                    </a:lnTo>
                    <a:lnTo>
                      <a:pt x="37101" y="119181"/>
                    </a:lnTo>
                    <a:lnTo>
                      <a:pt x="49097" y="120000"/>
                    </a:lnTo>
                    <a:lnTo>
                      <a:pt x="49097" y="120000"/>
                    </a:lnTo>
                    <a:lnTo>
                      <a:pt x="59999" y="119181"/>
                    </a:lnTo>
                    <a:lnTo>
                      <a:pt x="69827" y="118362"/>
                    </a:lnTo>
                    <a:lnTo>
                      <a:pt x="79635" y="117544"/>
                    </a:lnTo>
                    <a:lnTo>
                      <a:pt x="88368" y="115102"/>
                    </a:lnTo>
                    <a:lnTo>
                      <a:pt x="88368" y="115102"/>
                    </a:lnTo>
                    <a:lnTo>
                      <a:pt x="94913" y="112646"/>
                    </a:lnTo>
                    <a:lnTo>
                      <a:pt x="102552" y="110204"/>
                    </a:lnTo>
                    <a:lnTo>
                      <a:pt x="108003" y="106944"/>
                    </a:lnTo>
                    <a:lnTo>
                      <a:pt x="112360" y="103669"/>
                    </a:lnTo>
                    <a:lnTo>
                      <a:pt x="115642" y="99590"/>
                    </a:lnTo>
                    <a:lnTo>
                      <a:pt x="117812" y="95511"/>
                    </a:lnTo>
                    <a:lnTo>
                      <a:pt x="119999" y="90613"/>
                    </a:lnTo>
                    <a:lnTo>
                      <a:pt x="119999" y="85716"/>
                    </a:lnTo>
                    <a:lnTo>
                      <a:pt x="119999" y="85716"/>
                    </a:lnTo>
                    <a:lnTo>
                      <a:pt x="119999" y="81637"/>
                    </a:lnTo>
                    <a:lnTo>
                      <a:pt x="117812" y="77558"/>
                    </a:lnTo>
                    <a:lnTo>
                      <a:pt x="115642" y="73465"/>
                    </a:lnTo>
                    <a:lnTo>
                      <a:pt x="111266" y="69386"/>
                    </a:lnTo>
                    <a:lnTo>
                      <a:pt x="105815" y="64488"/>
                    </a:lnTo>
                    <a:lnTo>
                      <a:pt x="100364" y="60409"/>
                    </a:lnTo>
                    <a:lnTo>
                      <a:pt x="92725" y="56330"/>
                    </a:lnTo>
                    <a:lnTo>
                      <a:pt x="83992"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9" name="Google Shape;30;p2">
                <a:extLst>
                  <a:ext uri="{FF2B5EF4-FFF2-40B4-BE49-F238E27FC236}">
                    <a16:creationId xmlns:a16="http://schemas.microsoft.com/office/drawing/2014/main" id="{F165A157-B21E-5447-B2ED-72FE051BA848}"/>
                  </a:ext>
                </a:extLst>
              </p:cNvPr>
              <p:cNvSpPr/>
              <p:nvPr/>
            </p:nvSpPr>
            <p:spPr>
              <a:xfrm>
                <a:off x="6148584" y="3466175"/>
                <a:ext cx="201000" cy="205200"/>
              </a:xfrm>
              <a:custGeom>
                <a:avLst/>
                <a:gdLst/>
                <a:ahLst/>
                <a:cxnLst/>
                <a:rect l="l" t="t" r="r" b="b"/>
                <a:pathLst>
                  <a:path w="120000" h="120000" fill="none" extrusionOk="0">
                    <a:moveTo>
                      <a:pt x="14" y="17752"/>
                    </a:moveTo>
                    <a:lnTo>
                      <a:pt x="44029" y="17752"/>
                    </a:lnTo>
                    <a:lnTo>
                      <a:pt x="44029" y="119985"/>
                    </a:lnTo>
                    <a:lnTo>
                      <a:pt x="75970" y="119985"/>
                    </a:lnTo>
                    <a:lnTo>
                      <a:pt x="75970" y="17752"/>
                    </a:lnTo>
                    <a:lnTo>
                      <a:pt x="120000" y="17752"/>
                    </a:lnTo>
                    <a:lnTo>
                      <a:pt x="120000" y="0"/>
                    </a:lnTo>
                    <a:lnTo>
                      <a:pt x="14" y="0"/>
                    </a:lnTo>
                    <a:lnTo>
                      <a:pt x="14" y="1775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0" name="Google Shape;31;p2">
                <a:extLst>
                  <a:ext uri="{FF2B5EF4-FFF2-40B4-BE49-F238E27FC236}">
                    <a16:creationId xmlns:a16="http://schemas.microsoft.com/office/drawing/2014/main" id="{09B2F371-A158-FE4C-BCF9-07AF3D53DBB4}"/>
                  </a:ext>
                </a:extLst>
              </p:cNvPr>
              <p:cNvSpPr/>
              <p:nvPr/>
            </p:nvSpPr>
            <p:spPr>
              <a:xfrm>
                <a:off x="6625710" y="3466175"/>
                <a:ext cx="219899" cy="205200"/>
              </a:xfrm>
              <a:custGeom>
                <a:avLst/>
                <a:gdLst/>
                <a:ahLst/>
                <a:cxnLst/>
                <a:rect l="l" t="t" r="r" b="b"/>
                <a:pathLst>
                  <a:path w="120000" h="120000" fill="none" extrusionOk="0">
                    <a:moveTo>
                      <a:pt x="89208" y="79425"/>
                    </a:moveTo>
                    <a:lnTo>
                      <a:pt x="89208" y="79425"/>
                    </a:lnTo>
                    <a:lnTo>
                      <a:pt x="85263" y="74355"/>
                    </a:lnTo>
                    <a:lnTo>
                      <a:pt x="85263" y="74355"/>
                    </a:lnTo>
                    <a:lnTo>
                      <a:pt x="81305" y="69299"/>
                    </a:lnTo>
                    <a:lnTo>
                      <a:pt x="77361" y="65910"/>
                    </a:lnTo>
                    <a:lnTo>
                      <a:pt x="77361" y="65910"/>
                    </a:lnTo>
                    <a:lnTo>
                      <a:pt x="85263" y="64229"/>
                    </a:lnTo>
                    <a:lnTo>
                      <a:pt x="91569" y="62535"/>
                    </a:lnTo>
                    <a:lnTo>
                      <a:pt x="97888" y="59159"/>
                    </a:lnTo>
                    <a:lnTo>
                      <a:pt x="101833" y="55770"/>
                    </a:lnTo>
                    <a:lnTo>
                      <a:pt x="105777" y="51547"/>
                    </a:lnTo>
                    <a:lnTo>
                      <a:pt x="108152" y="46477"/>
                    </a:lnTo>
                    <a:lnTo>
                      <a:pt x="109722" y="41407"/>
                    </a:lnTo>
                    <a:lnTo>
                      <a:pt x="110514" y="35490"/>
                    </a:lnTo>
                    <a:lnTo>
                      <a:pt x="110514" y="35490"/>
                    </a:lnTo>
                    <a:lnTo>
                      <a:pt x="109722" y="27044"/>
                    </a:lnTo>
                    <a:lnTo>
                      <a:pt x="107361" y="20280"/>
                    </a:lnTo>
                    <a:lnTo>
                      <a:pt x="103416" y="14362"/>
                    </a:lnTo>
                    <a:lnTo>
                      <a:pt x="98680" y="9292"/>
                    </a:lnTo>
                    <a:lnTo>
                      <a:pt x="91569" y="5070"/>
                    </a:lnTo>
                    <a:lnTo>
                      <a:pt x="83680" y="2542"/>
                    </a:lnTo>
                    <a:lnTo>
                      <a:pt x="74208" y="847"/>
                    </a:lnTo>
                    <a:lnTo>
                      <a:pt x="63152" y="0"/>
                    </a:lnTo>
                    <a:lnTo>
                      <a:pt x="13" y="0"/>
                    </a:lnTo>
                    <a:lnTo>
                      <a:pt x="13" y="4222"/>
                    </a:lnTo>
                    <a:lnTo>
                      <a:pt x="13" y="4222"/>
                    </a:lnTo>
                    <a:lnTo>
                      <a:pt x="3958" y="5070"/>
                    </a:lnTo>
                    <a:lnTo>
                      <a:pt x="7902" y="7612"/>
                    </a:lnTo>
                    <a:lnTo>
                      <a:pt x="7902" y="7612"/>
                    </a:lnTo>
                    <a:lnTo>
                      <a:pt x="10263" y="10140"/>
                    </a:lnTo>
                    <a:lnTo>
                      <a:pt x="11055" y="11834"/>
                    </a:lnTo>
                    <a:lnTo>
                      <a:pt x="11847" y="13529"/>
                    </a:lnTo>
                    <a:lnTo>
                      <a:pt x="11847" y="119985"/>
                    </a:lnTo>
                    <a:lnTo>
                      <a:pt x="41055" y="119985"/>
                    </a:lnTo>
                    <a:lnTo>
                      <a:pt x="41055" y="67605"/>
                    </a:lnTo>
                    <a:lnTo>
                      <a:pt x="41055" y="67605"/>
                    </a:lnTo>
                    <a:lnTo>
                      <a:pt x="47374" y="71827"/>
                    </a:lnTo>
                    <a:lnTo>
                      <a:pt x="53680" y="77745"/>
                    </a:lnTo>
                    <a:lnTo>
                      <a:pt x="53680" y="77745"/>
                    </a:lnTo>
                    <a:lnTo>
                      <a:pt x="63152" y="91260"/>
                    </a:lnTo>
                    <a:lnTo>
                      <a:pt x="85263" y="119985"/>
                    </a:lnTo>
                    <a:lnTo>
                      <a:pt x="119986" y="119985"/>
                    </a:lnTo>
                    <a:lnTo>
                      <a:pt x="93152" y="85342"/>
                    </a:lnTo>
                    <a:lnTo>
                      <a:pt x="89208" y="794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1" name="Google Shape;32;p2">
                <a:extLst>
                  <a:ext uri="{FF2B5EF4-FFF2-40B4-BE49-F238E27FC236}">
                    <a16:creationId xmlns:a16="http://schemas.microsoft.com/office/drawing/2014/main" id="{F287A59A-CD4F-6045-ADED-D50CD4BFC574}"/>
                  </a:ext>
                </a:extLst>
              </p:cNvPr>
              <p:cNvSpPr/>
              <p:nvPr/>
            </p:nvSpPr>
            <p:spPr>
              <a:xfrm>
                <a:off x="6700885" y="3493650"/>
                <a:ext cx="73801" cy="72300"/>
              </a:xfrm>
              <a:custGeom>
                <a:avLst/>
                <a:gdLst/>
                <a:ahLst/>
                <a:cxnLst/>
                <a:rect l="l" t="t" r="r" b="b"/>
                <a:pathLst>
                  <a:path w="120000" h="120000" fill="none" extrusionOk="0">
                    <a:moveTo>
                      <a:pt x="28261" y="120000"/>
                    </a:moveTo>
                    <a:lnTo>
                      <a:pt x="28261" y="120000"/>
                    </a:lnTo>
                    <a:lnTo>
                      <a:pt x="40" y="117593"/>
                    </a:lnTo>
                    <a:lnTo>
                      <a:pt x="40" y="0"/>
                    </a:lnTo>
                    <a:lnTo>
                      <a:pt x="30620" y="0"/>
                    </a:lnTo>
                    <a:lnTo>
                      <a:pt x="30620" y="0"/>
                    </a:lnTo>
                    <a:lnTo>
                      <a:pt x="58841" y="0"/>
                    </a:lnTo>
                    <a:lnTo>
                      <a:pt x="79986" y="2406"/>
                    </a:lnTo>
                    <a:lnTo>
                      <a:pt x="79986" y="2406"/>
                    </a:lnTo>
                    <a:lnTo>
                      <a:pt x="96455" y="9585"/>
                    </a:lnTo>
                    <a:lnTo>
                      <a:pt x="103531" y="14398"/>
                    </a:lnTo>
                    <a:lnTo>
                      <a:pt x="110565" y="21618"/>
                    </a:lnTo>
                    <a:lnTo>
                      <a:pt x="112924" y="28796"/>
                    </a:lnTo>
                    <a:lnTo>
                      <a:pt x="117641" y="36016"/>
                    </a:lnTo>
                    <a:lnTo>
                      <a:pt x="119959" y="55186"/>
                    </a:lnTo>
                    <a:lnTo>
                      <a:pt x="119959" y="55186"/>
                    </a:lnTo>
                    <a:lnTo>
                      <a:pt x="117641" y="69585"/>
                    </a:lnTo>
                    <a:lnTo>
                      <a:pt x="112924" y="83983"/>
                    </a:lnTo>
                    <a:lnTo>
                      <a:pt x="105848" y="93609"/>
                    </a:lnTo>
                    <a:lnTo>
                      <a:pt x="96455" y="103195"/>
                    </a:lnTo>
                    <a:lnTo>
                      <a:pt x="84703" y="110373"/>
                    </a:lnTo>
                    <a:lnTo>
                      <a:pt x="68234" y="115186"/>
                    </a:lnTo>
                    <a:lnTo>
                      <a:pt x="49406" y="117593"/>
                    </a:lnTo>
                    <a:lnTo>
                      <a:pt x="28261" y="12000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2" name="Google Shape;33;p2">
                <a:extLst>
                  <a:ext uri="{FF2B5EF4-FFF2-40B4-BE49-F238E27FC236}">
                    <a16:creationId xmlns:a16="http://schemas.microsoft.com/office/drawing/2014/main" id="{E4C4C9B2-5511-FB42-BF93-8F7742E76389}"/>
                  </a:ext>
                </a:extLst>
              </p:cNvPr>
              <p:cNvSpPr/>
              <p:nvPr/>
            </p:nvSpPr>
            <p:spPr>
              <a:xfrm>
                <a:off x="6874386" y="3463276"/>
                <a:ext cx="159001" cy="212400"/>
              </a:xfrm>
              <a:custGeom>
                <a:avLst/>
                <a:gdLst/>
                <a:ahLst/>
                <a:cxnLst/>
                <a:rect l="l" t="t" r="r" b="b"/>
                <a:pathLst>
                  <a:path w="120000" h="120000" fill="none" extrusionOk="0">
                    <a:moveTo>
                      <a:pt x="83998" y="52251"/>
                    </a:moveTo>
                    <a:lnTo>
                      <a:pt x="83998" y="52251"/>
                    </a:lnTo>
                    <a:lnTo>
                      <a:pt x="60009" y="41637"/>
                    </a:lnTo>
                    <a:lnTo>
                      <a:pt x="60009" y="41637"/>
                    </a:lnTo>
                    <a:lnTo>
                      <a:pt x="52371" y="36739"/>
                    </a:lnTo>
                    <a:lnTo>
                      <a:pt x="46921" y="33479"/>
                    </a:lnTo>
                    <a:lnTo>
                      <a:pt x="43639" y="30204"/>
                    </a:lnTo>
                    <a:lnTo>
                      <a:pt x="42545" y="27762"/>
                    </a:lnTo>
                    <a:lnTo>
                      <a:pt x="42545" y="27762"/>
                    </a:lnTo>
                    <a:lnTo>
                      <a:pt x="43639" y="24502"/>
                    </a:lnTo>
                    <a:lnTo>
                      <a:pt x="46921" y="21227"/>
                    </a:lnTo>
                    <a:lnTo>
                      <a:pt x="46921" y="21227"/>
                    </a:lnTo>
                    <a:lnTo>
                      <a:pt x="51277" y="19604"/>
                    </a:lnTo>
                    <a:lnTo>
                      <a:pt x="56727" y="17967"/>
                    </a:lnTo>
                    <a:lnTo>
                      <a:pt x="63272" y="17148"/>
                    </a:lnTo>
                    <a:lnTo>
                      <a:pt x="70909" y="16330"/>
                    </a:lnTo>
                    <a:lnTo>
                      <a:pt x="70909" y="16330"/>
                    </a:lnTo>
                    <a:lnTo>
                      <a:pt x="80716" y="17148"/>
                    </a:lnTo>
                    <a:lnTo>
                      <a:pt x="89448" y="18786"/>
                    </a:lnTo>
                    <a:lnTo>
                      <a:pt x="89448" y="18786"/>
                    </a:lnTo>
                    <a:lnTo>
                      <a:pt x="95992" y="20409"/>
                    </a:lnTo>
                    <a:lnTo>
                      <a:pt x="101442" y="22865"/>
                    </a:lnTo>
                    <a:lnTo>
                      <a:pt x="104724" y="26125"/>
                    </a:lnTo>
                    <a:lnTo>
                      <a:pt x="106892" y="29400"/>
                    </a:lnTo>
                    <a:lnTo>
                      <a:pt x="112362" y="29400"/>
                    </a:lnTo>
                    <a:lnTo>
                      <a:pt x="112362" y="4911"/>
                    </a:lnTo>
                    <a:lnTo>
                      <a:pt x="112362" y="4911"/>
                    </a:lnTo>
                    <a:lnTo>
                      <a:pt x="101442" y="2455"/>
                    </a:lnTo>
                    <a:lnTo>
                      <a:pt x="91636" y="818"/>
                    </a:lnTo>
                    <a:lnTo>
                      <a:pt x="80716" y="14"/>
                    </a:lnTo>
                    <a:lnTo>
                      <a:pt x="68722" y="14"/>
                    </a:lnTo>
                    <a:lnTo>
                      <a:pt x="68722" y="14"/>
                    </a:lnTo>
                    <a:lnTo>
                      <a:pt x="53465" y="818"/>
                    </a:lnTo>
                    <a:lnTo>
                      <a:pt x="39283" y="2455"/>
                    </a:lnTo>
                    <a:lnTo>
                      <a:pt x="28363" y="4911"/>
                    </a:lnTo>
                    <a:lnTo>
                      <a:pt x="18557" y="8990"/>
                    </a:lnTo>
                    <a:lnTo>
                      <a:pt x="18557" y="8990"/>
                    </a:lnTo>
                    <a:lnTo>
                      <a:pt x="10919" y="13069"/>
                    </a:lnTo>
                    <a:lnTo>
                      <a:pt x="5469" y="18786"/>
                    </a:lnTo>
                    <a:lnTo>
                      <a:pt x="2206" y="24502"/>
                    </a:lnTo>
                    <a:lnTo>
                      <a:pt x="1112" y="31023"/>
                    </a:lnTo>
                    <a:lnTo>
                      <a:pt x="1112" y="31023"/>
                    </a:lnTo>
                    <a:lnTo>
                      <a:pt x="2206" y="36739"/>
                    </a:lnTo>
                    <a:lnTo>
                      <a:pt x="4375" y="42455"/>
                    </a:lnTo>
                    <a:lnTo>
                      <a:pt x="8731" y="47353"/>
                    </a:lnTo>
                    <a:lnTo>
                      <a:pt x="15275" y="52251"/>
                    </a:lnTo>
                    <a:lnTo>
                      <a:pt x="15275" y="52251"/>
                    </a:lnTo>
                    <a:lnTo>
                      <a:pt x="25101" y="58786"/>
                    </a:lnTo>
                    <a:lnTo>
                      <a:pt x="41452" y="66944"/>
                    </a:lnTo>
                    <a:lnTo>
                      <a:pt x="41452" y="66944"/>
                    </a:lnTo>
                    <a:lnTo>
                      <a:pt x="63272" y="76739"/>
                    </a:lnTo>
                    <a:lnTo>
                      <a:pt x="63272" y="76739"/>
                    </a:lnTo>
                    <a:lnTo>
                      <a:pt x="69816" y="80818"/>
                    </a:lnTo>
                    <a:lnTo>
                      <a:pt x="74172" y="84897"/>
                    </a:lnTo>
                    <a:lnTo>
                      <a:pt x="76360" y="88158"/>
                    </a:lnTo>
                    <a:lnTo>
                      <a:pt x="77454" y="92251"/>
                    </a:lnTo>
                    <a:lnTo>
                      <a:pt x="77454" y="92251"/>
                    </a:lnTo>
                    <a:lnTo>
                      <a:pt x="76360" y="94693"/>
                    </a:lnTo>
                    <a:lnTo>
                      <a:pt x="75266" y="97148"/>
                    </a:lnTo>
                    <a:lnTo>
                      <a:pt x="72003" y="99590"/>
                    </a:lnTo>
                    <a:lnTo>
                      <a:pt x="68722" y="101227"/>
                    </a:lnTo>
                    <a:lnTo>
                      <a:pt x="68722" y="101227"/>
                    </a:lnTo>
                    <a:lnTo>
                      <a:pt x="61084" y="102851"/>
                    </a:lnTo>
                    <a:lnTo>
                      <a:pt x="52371" y="102851"/>
                    </a:lnTo>
                    <a:lnTo>
                      <a:pt x="52371" y="102851"/>
                    </a:lnTo>
                    <a:lnTo>
                      <a:pt x="38189" y="102851"/>
                    </a:lnTo>
                    <a:lnTo>
                      <a:pt x="25101" y="101227"/>
                    </a:lnTo>
                    <a:lnTo>
                      <a:pt x="12013" y="97953"/>
                    </a:lnTo>
                    <a:lnTo>
                      <a:pt x="18" y="93874"/>
                    </a:lnTo>
                    <a:lnTo>
                      <a:pt x="18" y="114283"/>
                    </a:lnTo>
                    <a:lnTo>
                      <a:pt x="18" y="114283"/>
                    </a:lnTo>
                    <a:lnTo>
                      <a:pt x="12013" y="116739"/>
                    </a:lnTo>
                    <a:lnTo>
                      <a:pt x="24007" y="118362"/>
                    </a:lnTo>
                    <a:lnTo>
                      <a:pt x="36001" y="119181"/>
                    </a:lnTo>
                    <a:lnTo>
                      <a:pt x="49090" y="120000"/>
                    </a:lnTo>
                    <a:lnTo>
                      <a:pt x="49090" y="120000"/>
                    </a:lnTo>
                    <a:lnTo>
                      <a:pt x="60009" y="119181"/>
                    </a:lnTo>
                    <a:lnTo>
                      <a:pt x="69816" y="118362"/>
                    </a:lnTo>
                    <a:lnTo>
                      <a:pt x="79641" y="117544"/>
                    </a:lnTo>
                    <a:lnTo>
                      <a:pt x="87260" y="115102"/>
                    </a:lnTo>
                    <a:lnTo>
                      <a:pt x="87260" y="115102"/>
                    </a:lnTo>
                    <a:lnTo>
                      <a:pt x="94898" y="112646"/>
                    </a:lnTo>
                    <a:lnTo>
                      <a:pt x="101442" y="110204"/>
                    </a:lnTo>
                    <a:lnTo>
                      <a:pt x="106892" y="106944"/>
                    </a:lnTo>
                    <a:lnTo>
                      <a:pt x="112362" y="103669"/>
                    </a:lnTo>
                    <a:lnTo>
                      <a:pt x="115624" y="99590"/>
                    </a:lnTo>
                    <a:lnTo>
                      <a:pt x="117812" y="95511"/>
                    </a:lnTo>
                    <a:lnTo>
                      <a:pt x="119981" y="90613"/>
                    </a:lnTo>
                    <a:lnTo>
                      <a:pt x="119981" y="85716"/>
                    </a:lnTo>
                    <a:lnTo>
                      <a:pt x="119981" y="85716"/>
                    </a:lnTo>
                    <a:lnTo>
                      <a:pt x="118906" y="81637"/>
                    </a:lnTo>
                    <a:lnTo>
                      <a:pt x="117812" y="77558"/>
                    </a:lnTo>
                    <a:lnTo>
                      <a:pt x="114530" y="73465"/>
                    </a:lnTo>
                    <a:lnTo>
                      <a:pt x="111268" y="69386"/>
                    </a:lnTo>
                    <a:lnTo>
                      <a:pt x="105818" y="64488"/>
                    </a:lnTo>
                    <a:lnTo>
                      <a:pt x="100348" y="60409"/>
                    </a:lnTo>
                    <a:lnTo>
                      <a:pt x="92729" y="56330"/>
                    </a:lnTo>
                    <a:lnTo>
                      <a:pt x="83998"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3" name="Google Shape;34;p2">
                <a:extLst>
                  <a:ext uri="{FF2B5EF4-FFF2-40B4-BE49-F238E27FC236}">
                    <a16:creationId xmlns:a16="http://schemas.microsoft.com/office/drawing/2014/main" id="{93814E34-F2D8-9E47-AC03-6E369D4C75BB}"/>
                  </a:ext>
                </a:extLst>
              </p:cNvPr>
              <p:cNvSpPr/>
              <p:nvPr/>
            </p:nvSpPr>
            <p:spPr>
              <a:xfrm>
                <a:off x="6362585" y="3461826"/>
                <a:ext cx="240001" cy="216899"/>
              </a:xfrm>
              <a:custGeom>
                <a:avLst/>
                <a:gdLst/>
                <a:ahLst/>
                <a:cxnLst/>
                <a:rect l="l" t="t" r="r" b="b"/>
                <a:pathLst>
                  <a:path w="120000" h="120000" fill="none" extrusionOk="0">
                    <a:moveTo>
                      <a:pt x="59993" y="13"/>
                    </a:moveTo>
                    <a:lnTo>
                      <a:pt x="59993" y="13"/>
                    </a:lnTo>
                    <a:lnTo>
                      <a:pt x="53494" y="13"/>
                    </a:lnTo>
                    <a:lnTo>
                      <a:pt x="46982" y="816"/>
                    </a:lnTo>
                    <a:lnTo>
                      <a:pt x="40483" y="2406"/>
                    </a:lnTo>
                    <a:lnTo>
                      <a:pt x="35421" y="4813"/>
                    </a:lnTo>
                    <a:lnTo>
                      <a:pt x="29634" y="7206"/>
                    </a:lnTo>
                    <a:lnTo>
                      <a:pt x="24572" y="10414"/>
                    </a:lnTo>
                    <a:lnTo>
                      <a:pt x="20235" y="13609"/>
                    </a:lnTo>
                    <a:lnTo>
                      <a:pt x="16623" y="17607"/>
                    </a:lnTo>
                    <a:lnTo>
                      <a:pt x="13011" y="21604"/>
                    </a:lnTo>
                    <a:lnTo>
                      <a:pt x="9399" y="26403"/>
                    </a:lnTo>
                    <a:lnTo>
                      <a:pt x="6511" y="31203"/>
                    </a:lnTo>
                    <a:lnTo>
                      <a:pt x="4337" y="36804"/>
                    </a:lnTo>
                    <a:lnTo>
                      <a:pt x="2887" y="41604"/>
                    </a:lnTo>
                    <a:lnTo>
                      <a:pt x="1449" y="48008"/>
                    </a:lnTo>
                    <a:lnTo>
                      <a:pt x="724" y="53609"/>
                    </a:lnTo>
                    <a:lnTo>
                      <a:pt x="0" y="60000"/>
                    </a:lnTo>
                    <a:lnTo>
                      <a:pt x="0" y="60000"/>
                    </a:lnTo>
                    <a:lnTo>
                      <a:pt x="724" y="65601"/>
                    </a:lnTo>
                    <a:lnTo>
                      <a:pt x="1449" y="72005"/>
                    </a:lnTo>
                    <a:lnTo>
                      <a:pt x="2887" y="77593"/>
                    </a:lnTo>
                    <a:lnTo>
                      <a:pt x="4337" y="83195"/>
                    </a:lnTo>
                    <a:lnTo>
                      <a:pt x="6511" y="88796"/>
                    </a:lnTo>
                    <a:lnTo>
                      <a:pt x="9399" y="93596"/>
                    </a:lnTo>
                    <a:lnTo>
                      <a:pt x="13011" y="98395"/>
                    </a:lnTo>
                    <a:lnTo>
                      <a:pt x="16623" y="102392"/>
                    </a:lnTo>
                    <a:lnTo>
                      <a:pt x="20235" y="106390"/>
                    </a:lnTo>
                    <a:lnTo>
                      <a:pt x="24572" y="109598"/>
                    </a:lnTo>
                    <a:lnTo>
                      <a:pt x="29634" y="112793"/>
                    </a:lnTo>
                    <a:lnTo>
                      <a:pt x="35421" y="115200"/>
                    </a:lnTo>
                    <a:lnTo>
                      <a:pt x="40483" y="116791"/>
                    </a:lnTo>
                    <a:lnTo>
                      <a:pt x="46982" y="118395"/>
                    </a:lnTo>
                    <a:lnTo>
                      <a:pt x="53494" y="119197"/>
                    </a:lnTo>
                    <a:lnTo>
                      <a:pt x="59993" y="120000"/>
                    </a:lnTo>
                    <a:lnTo>
                      <a:pt x="59993" y="120000"/>
                    </a:lnTo>
                    <a:lnTo>
                      <a:pt x="67230" y="119197"/>
                    </a:lnTo>
                    <a:lnTo>
                      <a:pt x="73004" y="118395"/>
                    </a:lnTo>
                    <a:lnTo>
                      <a:pt x="79516" y="116791"/>
                    </a:lnTo>
                    <a:lnTo>
                      <a:pt x="85291" y="115200"/>
                    </a:lnTo>
                    <a:lnTo>
                      <a:pt x="90353" y="112793"/>
                    </a:lnTo>
                    <a:lnTo>
                      <a:pt x="95415" y="109598"/>
                    </a:lnTo>
                    <a:lnTo>
                      <a:pt x="99752" y="106390"/>
                    </a:lnTo>
                    <a:lnTo>
                      <a:pt x="104089" y="102392"/>
                    </a:lnTo>
                    <a:lnTo>
                      <a:pt x="107701" y="98395"/>
                    </a:lnTo>
                    <a:lnTo>
                      <a:pt x="110600" y="93596"/>
                    </a:lnTo>
                    <a:lnTo>
                      <a:pt x="113488" y="88796"/>
                    </a:lnTo>
                    <a:lnTo>
                      <a:pt x="115650" y="83195"/>
                    </a:lnTo>
                    <a:lnTo>
                      <a:pt x="117825" y="77593"/>
                    </a:lnTo>
                    <a:lnTo>
                      <a:pt x="118550" y="72005"/>
                    </a:lnTo>
                    <a:lnTo>
                      <a:pt x="119987" y="65601"/>
                    </a:lnTo>
                    <a:lnTo>
                      <a:pt x="119987" y="60000"/>
                    </a:lnTo>
                    <a:lnTo>
                      <a:pt x="119987" y="60000"/>
                    </a:lnTo>
                    <a:lnTo>
                      <a:pt x="119987" y="53609"/>
                    </a:lnTo>
                    <a:lnTo>
                      <a:pt x="118550" y="48008"/>
                    </a:lnTo>
                    <a:lnTo>
                      <a:pt x="117825" y="41604"/>
                    </a:lnTo>
                    <a:lnTo>
                      <a:pt x="115650" y="36804"/>
                    </a:lnTo>
                    <a:lnTo>
                      <a:pt x="113488" y="31203"/>
                    </a:lnTo>
                    <a:lnTo>
                      <a:pt x="110600" y="26403"/>
                    </a:lnTo>
                    <a:lnTo>
                      <a:pt x="107701" y="21604"/>
                    </a:lnTo>
                    <a:lnTo>
                      <a:pt x="104089" y="17607"/>
                    </a:lnTo>
                    <a:lnTo>
                      <a:pt x="99752" y="13609"/>
                    </a:lnTo>
                    <a:lnTo>
                      <a:pt x="95415" y="10414"/>
                    </a:lnTo>
                    <a:lnTo>
                      <a:pt x="90353" y="7206"/>
                    </a:lnTo>
                    <a:lnTo>
                      <a:pt x="85291" y="4813"/>
                    </a:lnTo>
                    <a:lnTo>
                      <a:pt x="79516" y="2406"/>
                    </a:lnTo>
                    <a:lnTo>
                      <a:pt x="73004" y="816"/>
                    </a:lnTo>
                    <a:lnTo>
                      <a:pt x="67230" y="13"/>
                    </a:lnTo>
                    <a:lnTo>
                      <a:pt x="59993" y="13"/>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4" name="Google Shape;35;p2">
                <a:extLst>
                  <a:ext uri="{FF2B5EF4-FFF2-40B4-BE49-F238E27FC236}">
                    <a16:creationId xmlns:a16="http://schemas.microsoft.com/office/drawing/2014/main" id="{657BF3B5-A412-D94D-B607-3166ADA975D5}"/>
                  </a:ext>
                </a:extLst>
              </p:cNvPr>
              <p:cNvSpPr/>
              <p:nvPr/>
            </p:nvSpPr>
            <p:spPr>
              <a:xfrm>
                <a:off x="6418959" y="3493650"/>
                <a:ext cx="127201" cy="153301"/>
              </a:xfrm>
              <a:custGeom>
                <a:avLst/>
                <a:gdLst/>
                <a:ahLst/>
                <a:cxnLst/>
                <a:rect l="l" t="t" r="r" b="b"/>
                <a:pathLst>
                  <a:path w="120000" h="120000" fill="none" extrusionOk="0">
                    <a:moveTo>
                      <a:pt x="60000" y="119980"/>
                    </a:moveTo>
                    <a:lnTo>
                      <a:pt x="60000" y="119980"/>
                    </a:lnTo>
                    <a:lnTo>
                      <a:pt x="46373" y="118845"/>
                    </a:lnTo>
                    <a:lnTo>
                      <a:pt x="34090" y="116594"/>
                    </a:lnTo>
                    <a:lnTo>
                      <a:pt x="24565" y="112053"/>
                    </a:lnTo>
                    <a:lnTo>
                      <a:pt x="16385" y="105261"/>
                    </a:lnTo>
                    <a:lnTo>
                      <a:pt x="9548" y="97354"/>
                    </a:lnTo>
                    <a:lnTo>
                      <a:pt x="4102" y="87157"/>
                    </a:lnTo>
                    <a:lnTo>
                      <a:pt x="1367" y="74708"/>
                    </a:lnTo>
                    <a:lnTo>
                      <a:pt x="23" y="59990"/>
                    </a:lnTo>
                    <a:lnTo>
                      <a:pt x="23" y="59990"/>
                    </a:lnTo>
                    <a:lnTo>
                      <a:pt x="1367" y="45271"/>
                    </a:lnTo>
                    <a:lnTo>
                      <a:pt x="4102" y="32823"/>
                    </a:lnTo>
                    <a:lnTo>
                      <a:pt x="9548" y="22645"/>
                    </a:lnTo>
                    <a:lnTo>
                      <a:pt x="16385" y="13583"/>
                    </a:lnTo>
                    <a:lnTo>
                      <a:pt x="24565" y="7926"/>
                    </a:lnTo>
                    <a:lnTo>
                      <a:pt x="34090" y="3405"/>
                    </a:lnTo>
                    <a:lnTo>
                      <a:pt x="46373" y="1135"/>
                    </a:lnTo>
                    <a:lnTo>
                      <a:pt x="60000" y="0"/>
                    </a:lnTo>
                    <a:lnTo>
                      <a:pt x="60000" y="0"/>
                    </a:lnTo>
                    <a:lnTo>
                      <a:pt x="73650" y="1135"/>
                    </a:lnTo>
                    <a:lnTo>
                      <a:pt x="85909" y="3405"/>
                    </a:lnTo>
                    <a:lnTo>
                      <a:pt x="96825" y="7926"/>
                    </a:lnTo>
                    <a:lnTo>
                      <a:pt x="105005" y="13583"/>
                    </a:lnTo>
                    <a:lnTo>
                      <a:pt x="111819" y="22645"/>
                    </a:lnTo>
                    <a:lnTo>
                      <a:pt x="115897" y="32823"/>
                    </a:lnTo>
                    <a:lnTo>
                      <a:pt x="120000" y="45271"/>
                    </a:lnTo>
                    <a:lnTo>
                      <a:pt x="120000" y="59990"/>
                    </a:lnTo>
                    <a:lnTo>
                      <a:pt x="120000" y="59990"/>
                    </a:lnTo>
                    <a:lnTo>
                      <a:pt x="120000" y="74708"/>
                    </a:lnTo>
                    <a:lnTo>
                      <a:pt x="115897" y="87157"/>
                    </a:lnTo>
                    <a:lnTo>
                      <a:pt x="111819" y="97354"/>
                    </a:lnTo>
                    <a:lnTo>
                      <a:pt x="105005" y="105261"/>
                    </a:lnTo>
                    <a:lnTo>
                      <a:pt x="96825" y="112053"/>
                    </a:lnTo>
                    <a:lnTo>
                      <a:pt x="85909" y="116594"/>
                    </a:lnTo>
                    <a:lnTo>
                      <a:pt x="73650" y="118845"/>
                    </a:lnTo>
                    <a:lnTo>
                      <a:pt x="60000" y="11998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5" name="Google Shape;36;p2">
                <a:extLst>
                  <a:ext uri="{FF2B5EF4-FFF2-40B4-BE49-F238E27FC236}">
                    <a16:creationId xmlns:a16="http://schemas.microsoft.com/office/drawing/2014/main" id="{9E0D4379-6DA0-F04A-A960-284935822B89}"/>
                  </a:ext>
                </a:extLst>
              </p:cNvPr>
              <p:cNvSpPr/>
              <p:nvPr/>
            </p:nvSpPr>
            <p:spPr>
              <a:xfrm>
                <a:off x="5123508" y="2991950"/>
                <a:ext cx="1876804" cy="365701"/>
              </a:xfrm>
              <a:custGeom>
                <a:avLst/>
                <a:gdLst/>
                <a:ahLst/>
                <a:cxnLst/>
                <a:rect l="l" t="t" r="r" b="b"/>
                <a:pathLst>
                  <a:path w="120000" h="120000" extrusionOk="0">
                    <a:moveTo>
                      <a:pt x="13128" y="25136"/>
                    </a:moveTo>
                    <a:lnTo>
                      <a:pt x="16733" y="72096"/>
                    </a:lnTo>
                    <a:lnTo>
                      <a:pt x="9060" y="72096"/>
                    </a:lnTo>
                    <a:lnTo>
                      <a:pt x="13128" y="25136"/>
                    </a:lnTo>
                    <a:close/>
                    <a:moveTo>
                      <a:pt x="106316" y="25136"/>
                    </a:moveTo>
                    <a:lnTo>
                      <a:pt x="109922" y="72096"/>
                    </a:lnTo>
                    <a:lnTo>
                      <a:pt x="102248" y="72096"/>
                    </a:lnTo>
                    <a:lnTo>
                      <a:pt x="106316" y="25136"/>
                    </a:lnTo>
                    <a:close/>
                    <a:moveTo>
                      <a:pt x="7489" y="0"/>
                    </a:moveTo>
                    <a:lnTo>
                      <a:pt x="7489" y="3797"/>
                    </a:lnTo>
                    <a:lnTo>
                      <a:pt x="8136" y="4748"/>
                    </a:lnTo>
                    <a:lnTo>
                      <a:pt x="8505" y="5691"/>
                    </a:lnTo>
                    <a:lnTo>
                      <a:pt x="8876" y="6642"/>
                    </a:lnTo>
                    <a:lnTo>
                      <a:pt x="9153" y="8069"/>
                    </a:lnTo>
                    <a:lnTo>
                      <a:pt x="9338" y="9488"/>
                    </a:lnTo>
                    <a:lnTo>
                      <a:pt x="9338" y="11858"/>
                    </a:lnTo>
                    <a:lnTo>
                      <a:pt x="9153" y="14229"/>
                    </a:lnTo>
                    <a:lnTo>
                      <a:pt x="1" y="120000"/>
                    </a:lnTo>
                    <a:lnTo>
                      <a:pt x="4808" y="120000"/>
                    </a:lnTo>
                    <a:lnTo>
                      <a:pt x="7767" y="86801"/>
                    </a:lnTo>
                    <a:lnTo>
                      <a:pt x="17935" y="86801"/>
                    </a:lnTo>
                    <a:lnTo>
                      <a:pt x="20432" y="120000"/>
                    </a:lnTo>
                    <a:lnTo>
                      <a:pt x="26810" y="120000"/>
                    </a:lnTo>
                    <a:lnTo>
                      <a:pt x="17659" y="0"/>
                    </a:lnTo>
                    <a:close/>
                    <a:moveTo>
                      <a:pt x="24777" y="0"/>
                    </a:moveTo>
                    <a:lnTo>
                      <a:pt x="24777" y="3797"/>
                    </a:lnTo>
                    <a:lnTo>
                      <a:pt x="25517" y="4748"/>
                    </a:lnTo>
                    <a:lnTo>
                      <a:pt x="26256" y="6642"/>
                    </a:lnTo>
                    <a:lnTo>
                      <a:pt x="26627" y="7594"/>
                    </a:lnTo>
                    <a:lnTo>
                      <a:pt x="26903" y="9488"/>
                    </a:lnTo>
                    <a:lnTo>
                      <a:pt x="27180" y="11383"/>
                    </a:lnTo>
                    <a:lnTo>
                      <a:pt x="27365" y="13761"/>
                    </a:lnTo>
                    <a:lnTo>
                      <a:pt x="35593" y="120000"/>
                    </a:lnTo>
                    <a:lnTo>
                      <a:pt x="42249" y="120000"/>
                    </a:lnTo>
                    <a:lnTo>
                      <a:pt x="51957" y="0"/>
                    </a:lnTo>
                    <a:lnTo>
                      <a:pt x="47334" y="0"/>
                    </a:lnTo>
                    <a:lnTo>
                      <a:pt x="40216" y="87744"/>
                    </a:lnTo>
                    <a:lnTo>
                      <a:pt x="33374" y="0"/>
                    </a:lnTo>
                    <a:close/>
                    <a:moveTo>
                      <a:pt x="55285" y="0"/>
                    </a:moveTo>
                    <a:lnTo>
                      <a:pt x="55285" y="3797"/>
                    </a:lnTo>
                    <a:lnTo>
                      <a:pt x="55840" y="4748"/>
                    </a:lnTo>
                    <a:lnTo>
                      <a:pt x="56671" y="6167"/>
                    </a:lnTo>
                    <a:lnTo>
                      <a:pt x="57041" y="7594"/>
                    </a:lnTo>
                    <a:lnTo>
                      <a:pt x="57319" y="9488"/>
                    </a:lnTo>
                    <a:lnTo>
                      <a:pt x="57504" y="11383"/>
                    </a:lnTo>
                    <a:lnTo>
                      <a:pt x="57595" y="13761"/>
                    </a:lnTo>
                    <a:lnTo>
                      <a:pt x="57595" y="120000"/>
                    </a:lnTo>
                    <a:lnTo>
                      <a:pt x="63790" y="120000"/>
                    </a:lnTo>
                    <a:lnTo>
                      <a:pt x="63790" y="0"/>
                    </a:lnTo>
                    <a:close/>
                    <a:moveTo>
                      <a:pt x="67396" y="0"/>
                    </a:moveTo>
                    <a:lnTo>
                      <a:pt x="67396" y="3797"/>
                    </a:lnTo>
                    <a:lnTo>
                      <a:pt x="68227" y="4748"/>
                    </a:lnTo>
                    <a:lnTo>
                      <a:pt x="68967" y="6642"/>
                    </a:lnTo>
                    <a:lnTo>
                      <a:pt x="69244" y="7594"/>
                    </a:lnTo>
                    <a:lnTo>
                      <a:pt x="69615" y="9488"/>
                    </a:lnTo>
                    <a:lnTo>
                      <a:pt x="69799" y="11383"/>
                    </a:lnTo>
                    <a:lnTo>
                      <a:pt x="70077" y="13761"/>
                    </a:lnTo>
                    <a:lnTo>
                      <a:pt x="78305" y="120000"/>
                    </a:lnTo>
                    <a:lnTo>
                      <a:pt x="84868" y="120000"/>
                    </a:lnTo>
                    <a:lnTo>
                      <a:pt x="94575" y="0"/>
                    </a:lnTo>
                    <a:lnTo>
                      <a:pt x="90046" y="0"/>
                    </a:lnTo>
                    <a:lnTo>
                      <a:pt x="82835" y="87744"/>
                    </a:lnTo>
                    <a:lnTo>
                      <a:pt x="76086" y="0"/>
                    </a:lnTo>
                    <a:close/>
                    <a:moveTo>
                      <a:pt x="100676" y="0"/>
                    </a:moveTo>
                    <a:lnTo>
                      <a:pt x="100676" y="3797"/>
                    </a:lnTo>
                    <a:lnTo>
                      <a:pt x="101324" y="4748"/>
                    </a:lnTo>
                    <a:lnTo>
                      <a:pt x="101693" y="5691"/>
                    </a:lnTo>
                    <a:lnTo>
                      <a:pt x="102064" y="6642"/>
                    </a:lnTo>
                    <a:lnTo>
                      <a:pt x="102340" y="8069"/>
                    </a:lnTo>
                    <a:lnTo>
                      <a:pt x="102433" y="9488"/>
                    </a:lnTo>
                    <a:lnTo>
                      <a:pt x="102526" y="11858"/>
                    </a:lnTo>
                    <a:lnTo>
                      <a:pt x="102340" y="14229"/>
                    </a:lnTo>
                    <a:lnTo>
                      <a:pt x="93189" y="120000"/>
                    </a:lnTo>
                    <a:lnTo>
                      <a:pt x="97995" y="120000"/>
                    </a:lnTo>
                    <a:lnTo>
                      <a:pt x="100862" y="86801"/>
                    </a:lnTo>
                    <a:lnTo>
                      <a:pt x="111032" y="86801"/>
                    </a:lnTo>
                    <a:lnTo>
                      <a:pt x="113620" y="120000"/>
                    </a:lnTo>
                    <a:lnTo>
                      <a:pt x="119998" y="120000"/>
                    </a:lnTo>
                    <a:lnTo>
                      <a:pt x="110846"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6" name="Google Shape;37;p2">
                <a:extLst>
                  <a:ext uri="{FF2B5EF4-FFF2-40B4-BE49-F238E27FC236}">
                    <a16:creationId xmlns:a16="http://schemas.microsoft.com/office/drawing/2014/main" id="{FF4145FC-6C0C-2E43-AF9D-1466A93CF413}"/>
                  </a:ext>
                </a:extLst>
              </p:cNvPr>
              <p:cNvSpPr/>
              <p:nvPr/>
            </p:nvSpPr>
            <p:spPr>
              <a:xfrm>
                <a:off x="6196309" y="2036275"/>
                <a:ext cx="130200" cy="669299"/>
              </a:xfrm>
              <a:custGeom>
                <a:avLst/>
                <a:gdLst/>
                <a:ahLst/>
                <a:cxnLst/>
                <a:rect l="l" t="t" r="r" b="b"/>
                <a:pathLst>
                  <a:path w="120000" h="120000" extrusionOk="0">
                    <a:moveTo>
                      <a:pt x="60000" y="0"/>
                    </a:moveTo>
                    <a:lnTo>
                      <a:pt x="0" y="120000"/>
                    </a:lnTo>
                    <a:lnTo>
                      <a:pt x="60000" y="118700"/>
                    </a:lnTo>
                    <a:lnTo>
                      <a:pt x="119976" y="117925"/>
                    </a:lnTo>
                    <a:lnTo>
                      <a:pt x="60000" y="0"/>
                    </a:lnTo>
                    <a:close/>
                  </a:path>
                </a:pathLst>
              </a:custGeom>
              <a:solidFill>
                <a:srgbClr val="FFDD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7" name="Google Shape;38;p2">
                <a:extLst>
                  <a:ext uri="{FF2B5EF4-FFF2-40B4-BE49-F238E27FC236}">
                    <a16:creationId xmlns:a16="http://schemas.microsoft.com/office/drawing/2014/main" id="{CC6717A6-435F-E548-9E34-55534855C5E7}"/>
                  </a:ext>
                </a:extLst>
              </p:cNvPr>
              <p:cNvSpPr/>
              <p:nvPr/>
            </p:nvSpPr>
            <p:spPr>
              <a:xfrm>
                <a:off x="6196309" y="2036275"/>
                <a:ext cx="130200" cy="669299"/>
              </a:xfrm>
              <a:custGeom>
                <a:avLst/>
                <a:gdLst/>
                <a:ahLst/>
                <a:cxnLst/>
                <a:rect l="l" t="t" r="r" b="b"/>
                <a:pathLst>
                  <a:path w="120000" h="120000" fill="none" extrusionOk="0">
                    <a:moveTo>
                      <a:pt x="119976" y="117925"/>
                    </a:moveTo>
                    <a:lnTo>
                      <a:pt x="60000" y="0"/>
                    </a:lnTo>
                    <a:lnTo>
                      <a:pt x="0" y="120000"/>
                    </a:lnTo>
                    <a:lnTo>
                      <a:pt x="0" y="120000"/>
                    </a:lnTo>
                    <a:lnTo>
                      <a:pt x="60000" y="118700"/>
                    </a:lnTo>
                    <a:lnTo>
                      <a:pt x="119976" y="1179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8" name="Google Shape;39;p2">
                <a:extLst>
                  <a:ext uri="{FF2B5EF4-FFF2-40B4-BE49-F238E27FC236}">
                    <a16:creationId xmlns:a16="http://schemas.microsoft.com/office/drawing/2014/main" id="{AD034C1E-7439-FC44-B679-50DB39D3DB99}"/>
                  </a:ext>
                </a:extLst>
              </p:cNvPr>
              <p:cNvSpPr/>
              <p:nvPr/>
            </p:nvSpPr>
            <p:spPr>
              <a:xfrm>
                <a:off x="6261356" y="2036275"/>
                <a:ext cx="221101" cy="657900"/>
              </a:xfrm>
              <a:custGeom>
                <a:avLst/>
                <a:gdLst/>
                <a:ahLst/>
                <a:cxnLst/>
                <a:rect l="l" t="t" r="r" b="b"/>
                <a:pathLst>
                  <a:path w="120000" h="120000" extrusionOk="0">
                    <a:moveTo>
                      <a:pt x="13" y="0"/>
                    </a:moveTo>
                    <a:lnTo>
                      <a:pt x="35294" y="120000"/>
                    </a:lnTo>
                    <a:lnTo>
                      <a:pt x="76854" y="119471"/>
                    </a:lnTo>
                    <a:lnTo>
                      <a:pt x="119986" y="119206"/>
                    </a:lnTo>
                    <a:lnTo>
                      <a:pt x="119986" y="0"/>
                    </a:lnTo>
                    <a:close/>
                  </a:path>
                </a:pathLst>
              </a:custGeom>
              <a:solidFill>
                <a:srgbClr val="5EB62D"/>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9" name="Google Shape;40;p2">
                <a:extLst>
                  <a:ext uri="{FF2B5EF4-FFF2-40B4-BE49-F238E27FC236}">
                    <a16:creationId xmlns:a16="http://schemas.microsoft.com/office/drawing/2014/main" id="{B9BE138E-AD69-7049-93A4-8A0296C0E7A1}"/>
                  </a:ext>
                </a:extLst>
              </p:cNvPr>
              <p:cNvSpPr/>
              <p:nvPr/>
            </p:nvSpPr>
            <p:spPr>
              <a:xfrm>
                <a:off x="6261350" y="2036275"/>
                <a:ext cx="221101" cy="657900"/>
              </a:xfrm>
              <a:custGeom>
                <a:avLst/>
                <a:gdLst/>
                <a:ahLst/>
                <a:cxnLst/>
                <a:rect l="l" t="t" r="r" b="b"/>
                <a:pathLst>
                  <a:path w="120000" h="120000" fill="none" extrusionOk="0">
                    <a:moveTo>
                      <a:pt x="119986" y="119206"/>
                    </a:moveTo>
                    <a:lnTo>
                      <a:pt x="119986" y="0"/>
                    </a:lnTo>
                    <a:lnTo>
                      <a:pt x="13" y="0"/>
                    </a:lnTo>
                    <a:lnTo>
                      <a:pt x="13" y="0"/>
                    </a:lnTo>
                    <a:lnTo>
                      <a:pt x="35294" y="120000"/>
                    </a:lnTo>
                    <a:lnTo>
                      <a:pt x="35294" y="120000"/>
                    </a:lnTo>
                    <a:lnTo>
                      <a:pt x="76854" y="119471"/>
                    </a:lnTo>
                    <a:lnTo>
                      <a:pt x="119986" y="11920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50" name="Google Shape;41;p2">
                <a:extLst>
                  <a:ext uri="{FF2B5EF4-FFF2-40B4-BE49-F238E27FC236}">
                    <a16:creationId xmlns:a16="http://schemas.microsoft.com/office/drawing/2014/main" id="{10040BEF-6F39-2140-AA6A-12BD82B641A2}"/>
                  </a:ext>
                </a:extLst>
              </p:cNvPr>
              <p:cNvSpPr/>
              <p:nvPr/>
            </p:nvSpPr>
            <p:spPr>
              <a:xfrm>
                <a:off x="5685926" y="2036275"/>
                <a:ext cx="575399" cy="795300"/>
              </a:xfrm>
              <a:custGeom>
                <a:avLst/>
                <a:gdLst/>
                <a:ahLst/>
                <a:cxnLst/>
                <a:rect l="l" t="t" r="r" b="b"/>
                <a:pathLst>
                  <a:path w="120000" h="120000" extrusionOk="0">
                    <a:moveTo>
                      <a:pt x="5" y="0"/>
                    </a:move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lnTo>
                      <a:pt x="120000"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51" name="Google Shape;42;p2">
                <a:extLst>
                  <a:ext uri="{FF2B5EF4-FFF2-40B4-BE49-F238E27FC236}">
                    <a16:creationId xmlns:a16="http://schemas.microsoft.com/office/drawing/2014/main" id="{8B42EB4D-3D24-F148-B57B-AD3E6BED09A0}"/>
                  </a:ext>
                </a:extLst>
              </p:cNvPr>
              <p:cNvSpPr/>
              <p:nvPr/>
            </p:nvSpPr>
            <p:spPr>
              <a:xfrm>
                <a:off x="5685926" y="2036275"/>
                <a:ext cx="575399" cy="795300"/>
              </a:xfrm>
              <a:custGeom>
                <a:avLst/>
                <a:gdLst/>
                <a:ahLst/>
                <a:cxnLst/>
                <a:rect l="l" t="t" r="r" b="b"/>
                <a:pathLst>
                  <a:path w="120000" h="120000" fill="none" extrusionOk="0">
                    <a:moveTo>
                      <a:pt x="106429" y="101016"/>
                    </a:moveTo>
                    <a:lnTo>
                      <a:pt x="120000" y="0"/>
                    </a:lnTo>
                    <a:lnTo>
                      <a:pt x="120000" y="0"/>
                    </a:lnTo>
                    <a:lnTo>
                      <a:pt x="5" y="0"/>
                    </a:lnTo>
                    <a:lnTo>
                      <a:pt x="5" y="119996"/>
                    </a:ln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grpSp>
    </p:spTree>
    <p:extLst>
      <p:ext uri="{BB962C8B-B14F-4D97-AF65-F5344CB8AC3E}">
        <p14:creationId xmlns:p14="http://schemas.microsoft.com/office/powerpoint/2010/main" val="114577357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Dark">
    <p:bg>
      <p:bgPr>
        <a:solidFill>
          <a:schemeClr val="tx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6437434-BB22-40C5-BDD9-E53C1C6F8699}"/>
              </a:ext>
            </a:extLst>
          </p:cNvPr>
          <p:cNvSpPr>
            <a:spLocks noGrp="1"/>
          </p:cNvSpPr>
          <p:nvPr>
            <p:ph idx="1"/>
          </p:nvPr>
        </p:nvSpPr>
        <p:spPr>
          <a:xfrm>
            <a:off x="1095355" y="2747524"/>
            <a:ext cx="10404000" cy="32035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9B1EC6A-3BD0-4B5C-BE35-1BCA9ED185C5}"/>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31DEADBF-011F-417A-A20B-D5A1B678975B}"/>
              </a:ext>
            </a:extLst>
          </p:cNvPr>
          <p:cNvSpPr>
            <a:spLocks noGrp="1"/>
          </p:cNvSpPr>
          <p:nvPr>
            <p:ph type="sldNum" sz="quarter" idx="12"/>
          </p:nvPr>
        </p:nvSpPr>
        <p:spPr/>
        <p:txBody>
          <a:bodyPr/>
          <a:lstStyle>
            <a:lvl1pPr>
              <a:defRPr>
                <a:solidFill>
                  <a:schemeClr val="bg1"/>
                </a:solidFill>
              </a:defRPr>
            </a:lvl1pPr>
          </a:lstStyle>
          <a:p>
            <a:fld id="{54B1A0A0-1014-43B9-AECC-F6512CB9E662}" type="slidenum">
              <a:rPr lang="en-GB" smtClean="0"/>
              <a:pPr/>
              <a:t>‹#›</a:t>
            </a:fld>
            <a:endParaRPr lang="en-GB"/>
          </a:p>
        </p:txBody>
      </p:sp>
      <p:sp>
        <p:nvSpPr>
          <p:cNvPr id="8" name="Text Placeholder 7">
            <a:extLst>
              <a:ext uri="{FF2B5EF4-FFF2-40B4-BE49-F238E27FC236}">
                <a16:creationId xmlns:a16="http://schemas.microsoft.com/office/drawing/2014/main" id="{0D0C3509-B58C-4216-91B2-EA23C1D70BB1}"/>
              </a:ext>
            </a:extLst>
          </p:cNvPr>
          <p:cNvSpPr>
            <a:spLocks noGrp="1"/>
          </p:cNvSpPr>
          <p:nvPr>
            <p:ph type="body" sz="quarter" idx="13"/>
          </p:nvPr>
        </p:nvSpPr>
        <p:spPr>
          <a:xfrm>
            <a:off x="1095356" y="1629396"/>
            <a:ext cx="10404000" cy="914174"/>
          </a:xfrm>
        </p:spPr>
        <p:txBody>
          <a:bodyPr/>
          <a:lstStyle>
            <a:lvl1pPr>
              <a:defRPr sz="2200" b="1">
                <a:solidFill>
                  <a:schemeClr val="bg1"/>
                </a:solidFill>
              </a:defRPr>
            </a:lvl1pPr>
            <a:lvl2pPr>
              <a:defRPr b="0">
                <a:solidFill>
                  <a:schemeClr val="bg1"/>
                </a:solidFill>
              </a:defRPr>
            </a:lvl2pPr>
          </a:lstStyle>
          <a:p>
            <a:pPr lvl="0"/>
            <a:r>
              <a:rPr lang="en-US"/>
              <a:t>Click to edit Master text styles</a:t>
            </a:r>
          </a:p>
        </p:txBody>
      </p:sp>
      <p:sp>
        <p:nvSpPr>
          <p:cNvPr id="11" name="Google Shape;170;p15">
            <a:extLst>
              <a:ext uri="{FF2B5EF4-FFF2-40B4-BE49-F238E27FC236}">
                <a16:creationId xmlns:a16="http://schemas.microsoft.com/office/drawing/2014/main" id="{F6A180C5-05EC-BD43-B5DD-5309FA0EB56D}"/>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9" name="Title 1">
            <a:extLst>
              <a:ext uri="{FF2B5EF4-FFF2-40B4-BE49-F238E27FC236}">
                <a16:creationId xmlns:a16="http://schemas.microsoft.com/office/drawing/2014/main" id="{B61DFB34-F003-3D45-BFF4-5B9CAC281FCB}"/>
              </a:ext>
            </a:extLst>
          </p:cNvPr>
          <p:cNvSpPr>
            <a:spLocks noGrp="1"/>
          </p:cNvSpPr>
          <p:nvPr>
            <p:ph type="title"/>
          </p:nvPr>
        </p:nvSpPr>
        <p:spPr>
          <a:xfrm>
            <a:off x="1095356" y="123751"/>
            <a:ext cx="10404000" cy="1069095"/>
          </a:xfrm>
        </p:spPr>
        <p:txBody>
          <a:bodyPr anchor="ctr"/>
          <a:lstStyle>
            <a:lvl1pPr>
              <a:defRPr sz="3600">
                <a:solidFill>
                  <a:schemeClr val="bg1"/>
                </a:solidFill>
              </a:defRPr>
            </a:lvl1pPr>
          </a:lstStyle>
          <a:p>
            <a:r>
              <a:rPr lang="en-US"/>
              <a:t>Click to edit Master title style</a:t>
            </a:r>
            <a:endParaRPr lang="en-GB"/>
          </a:p>
        </p:txBody>
      </p:sp>
      <p:sp>
        <p:nvSpPr>
          <p:cNvPr id="10" name="Source Placeholder 7">
            <a:extLst>
              <a:ext uri="{FF2B5EF4-FFF2-40B4-BE49-F238E27FC236}">
                <a16:creationId xmlns:a16="http://schemas.microsoft.com/office/drawing/2014/main" id="{0A49C564-1AA5-1A44-8F25-BD6BCBF33300}"/>
              </a:ext>
            </a:extLst>
          </p:cNvPr>
          <p:cNvSpPr>
            <a:spLocks noGrp="1"/>
          </p:cNvSpPr>
          <p:nvPr>
            <p:ph type="body" sz="quarter" idx="14"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lang="en-GB" sz="800" b="0" smtClean="0">
                <a:solidFill>
                  <a:schemeClr val="bg1"/>
                </a:solidFill>
                <a:effectLst/>
              </a:defRPr>
            </a:lvl1pPr>
            <a:lvl2pPr>
              <a:spcAft>
                <a:spcPts val="200"/>
              </a:spcAft>
              <a:defRPr sz="800">
                <a:solidFill>
                  <a:schemeClr val="bg1"/>
                </a:solidFill>
              </a:defRPr>
            </a:lvl2pPr>
            <a:lvl3pPr marL="0" indent="0">
              <a:spcAft>
                <a:spcPts val="200"/>
              </a:spcAft>
              <a:buNone/>
              <a:defRPr sz="1000" b="1">
                <a:solidFill>
                  <a:schemeClr val="bg1"/>
                </a:solidFill>
              </a:defRPr>
            </a:lvl3pPr>
            <a:lvl4pPr marL="252000">
              <a:spcAft>
                <a:spcPts val="200"/>
              </a:spcAft>
              <a:defRPr sz="800">
                <a:solidFill>
                  <a:schemeClr val="bg1"/>
                </a:solidFill>
              </a:defRPr>
            </a:lvl4pPr>
            <a:lvl5pPr marL="504000">
              <a:spcAft>
                <a:spcPts val="200"/>
              </a:spcAft>
              <a:defRPr sz="800">
                <a:solidFill>
                  <a:schemeClr val="bg1"/>
                </a:solidFill>
              </a:defRPr>
            </a:lvl5pPr>
          </a:lstStyle>
          <a:p>
            <a:pPr lvl="0"/>
            <a:r>
              <a:rPr lang="en-US"/>
              <a:t>Source goes here, aligned to the bottom guide.</a:t>
            </a:r>
          </a:p>
        </p:txBody>
      </p:sp>
      <p:pic>
        <p:nvPicPr>
          <p:cNvPr id="12" name="Picture 11">
            <a:extLst>
              <a:ext uri="{FF2B5EF4-FFF2-40B4-BE49-F238E27FC236}">
                <a16:creationId xmlns:a16="http://schemas.microsoft.com/office/drawing/2014/main" id="{18C3A973-DEB2-BC42-BC8A-9F4F8E13E5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3831335548"/>
      </p:ext>
    </p:extLst>
  </p:cSld>
  <p:clrMapOvr>
    <a:masterClrMapping/>
  </p:clrMapOvr>
  <p:transition>
    <p:fade/>
  </p:transition>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Two Content Dark">
    <p:bg>
      <p:bgPr>
        <a:solidFill>
          <a:schemeClr val="tx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6437434-BB22-40C5-BDD9-E53C1C6F8699}"/>
              </a:ext>
            </a:extLst>
          </p:cNvPr>
          <p:cNvSpPr>
            <a:spLocks noGrp="1"/>
          </p:cNvSpPr>
          <p:nvPr>
            <p:ph idx="1"/>
          </p:nvPr>
        </p:nvSpPr>
        <p:spPr>
          <a:xfrm>
            <a:off x="1095356" y="2130529"/>
            <a:ext cx="5003800" cy="36878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9B1EC6A-3BD0-4B5C-BE35-1BCA9ED185C5}"/>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31DEADBF-011F-417A-A20B-D5A1B678975B}"/>
              </a:ext>
            </a:extLst>
          </p:cNvPr>
          <p:cNvSpPr>
            <a:spLocks noGrp="1"/>
          </p:cNvSpPr>
          <p:nvPr>
            <p:ph type="sldNum" sz="quarter" idx="12"/>
          </p:nvPr>
        </p:nvSpPr>
        <p:spPr/>
        <p:txBody>
          <a:bodyPr/>
          <a:lstStyle>
            <a:lvl1pPr>
              <a:defRPr>
                <a:solidFill>
                  <a:schemeClr val="bg1"/>
                </a:solidFill>
              </a:defRPr>
            </a:lvl1pPr>
          </a:lstStyle>
          <a:p>
            <a:fld id="{54B1A0A0-1014-43B9-AECC-F6512CB9E662}" type="slidenum">
              <a:rPr lang="en-GB" smtClean="0"/>
              <a:pPr/>
              <a:t>‹#›</a:t>
            </a:fld>
            <a:endParaRPr lang="en-GB"/>
          </a:p>
        </p:txBody>
      </p:sp>
      <p:sp>
        <p:nvSpPr>
          <p:cNvPr id="7" name="Content Placeholder 2">
            <a:extLst>
              <a:ext uri="{FF2B5EF4-FFF2-40B4-BE49-F238E27FC236}">
                <a16:creationId xmlns:a16="http://schemas.microsoft.com/office/drawing/2014/main" id="{47702F81-A449-4BEA-8D9A-838B13458D55}"/>
              </a:ext>
            </a:extLst>
          </p:cNvPr>
          <p:cNvSpPr>
            <a:spLocks noGrp="1"/>
          </p:cNvSpPr>
          <p:nvPr>
            <p:ph idx="13"/>
          </p:nvPr>
        </p:nvSpPr>
        <p:spPr>
          <a:xfrm>
            <a:off x="6472743" y="2130529"/>
            <a:ext cx="5025600" cy="36878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8">
            <a:extLst>
              <a:ext uri="{FF2B5EF4-FFF2-40B4-BE49-F238E27FC236}">
                <a16:creationId xmlns:a16="http://schemas.microsoft.com/office/drawing/2014/main" id="{F55DF1F9-3B3A-49C1-9C10-A08225539954}"/>
              </a:ext>
            </a:extLst>
          </p:cNvPr>
          <p:cNvSpPr>
            <a:spLocks noGrp="1"/>
          </p:cNvSpPr>
          <p:nvPr>
            <p:ph type="body" sz="quarter" idx="14"/>
          </p:nvPr>
        </p:nvSpPr>
        <p:spPr>
          <a:xfrm>
            <a:off x="1095356" y="1630800"/>
            <a:ext cx="5003800" cy="398462"/>
          </a:xfrm>
        </p:spPr>
        <p:txBody>
          <a:bodyPr/>
          <a:lstStyle>
            <a:lvl1pPr>
              <a:defRPr b="1">
                <a:solidFill>
                  <a:schemeClr val="bg1"/>
                </a:solidFill>
              </a:defRPr>
            </a:lvl1pPr>
          </a:lstStyle>
          <a:p>
            <a:pPr lvl="0"/>
            <a:r>
              <a:rPr lang="en-US"/>
              <a:t>Click to edit Master text styles</a:t>
            </a:r>
          </a:p>
        </p:txBody>
      </p:sp>
      <p:sp>
        <p:nvSpPr>
          <p:cNvPr id="10" name="Text Placeholder 8">
            <a:extLst>
              <a:ext uri="{FF2B5EF4-FFF2-40B4-BE49-F238E27FC236}">
                <a16:creationId xmlns:a16="http://schemas.microsoft.com/office/drawing/2014/main" id="{4EDA9448-A967-4DFE-B980-1899F1A424F8}"/>
              </a:ext>
            </a:extLst>
          </p:cNvPr>
          <p:cNvSpPr>
            <a:spLocks noGrp="1"/>
          </p:cNvSpPr>
          <p:nvPr>
            <p:ph type="body" sz="quarter" idx="15"/>
          </p:nvPr>
        </p:nvSpPr>
        <p:spPr>
          <a:xfrm>
            <a:off x="6472742" y="1630800"/>
            <a:ext cx="5025600" cy="398462"/>
          </a:xfrm>
        </p:spPr>
        <p:txBody>
          <a:bodyPr/>
          <a:lstStyle>
            <a:lvl1pPr>
              <a:defRPr b="1">
                <a:solidFill>
                  <a:schemeClr val="bg1"/>
                </a:solidFill>
              </a:defRPr>
            </a:lvl1pPr>
          </a:lstStyle>
          <a:p>
            <a:pPr lvl="0"/>
            <a:r>
              <a:rPr lang="en-US"/>
              <a:t>Click to edit Master text styles</a:t>
            </a:r>
          </a:p>
        </p:txBody>
      </p:sp>
      <p:sp>
        <p:nvSpPr>
          <p:cNvPr id="13" name="Google Shape;170;p15">
            <a:extLst>
              <a:ext uri="{FF2B5EF4-FFF2-40B4-BE49-F238E27FC236}">
                <a16:creationId xmlns:a16="http://schemas.microsoft.com/office/drawing/2014/main" id="{A6AC2672-399E-CE4B-96AB-6AC115593205}"/>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11" name="Title 1">
            <a:extLst>
              <a:ext uri="{FF2B5EF4-FFF2-40B4-BE49-F238E27FC236}">
                <a16:creationId xmlns:a16="http://schemas.microsoft.com/office/drawing/2014/main" id="{50973524-6FB2-4740-9177-78041C3778E0}"/>
              </a:ext>
            </a:extLst>
          </p:cNvPr>
          <p:cNvSpPr>
            <a:spLocks noGrp="1"/>
          </p:cNvSpPr>
          <p:nvPr>
            <p:ph type="title"/>
          </p:nvPr>
        </p:nvSpPr>
        <p:spPr>
          <a:xfrm>
            <a:off x="1095356" y="123751"/>
            <a:ext cx="10404000" cy="1069095"/>
          </a:xfrm>
        </p:spPr>
        <p:txBody>
          <a:bodyPr anchor="ctr"/>
          <a:lstStyle>
            <a:lvl1pPr>
              <a:defRPr sz="3600">
                <a:solidFill>
                  <a:schemeClr val="bg1"/>
                </a:solidFill>
              </a:defRPr>
            </a:lvl1pPr>
          </a:lstStyle>
          <a:p>
            <a:r>
              <a:rPr lang="en-US"/>
              <a:t>Click to edit Master title style</a:t>
            </a:r>
            <a:endParaRPr lang="en-GB"/>
          </a:p>
        </p:txBody>
      </p:sp>
      <p:pic>
        <p:nvPicPr>
          <p:cNvPr id="14" name="Picture 13">
            <a:extLst>
              <a:ext uri="{FF2B5EF4-FFF2-40B4-BE49-F238E27FC236}">
                <a16:creationId xmlns:a16="http://schemas.microsoft.com/office/drawing/2014/main" id="{0A236FCC-F0C6-7449-9DE6-5583EBCF85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
        <p:nvSpPr>
          <p:cNvPr id="15" name="Source Placeholder 7">
            <a:extLst>
              <a:ext uri="{FF2B5EF4-FFF2-40B4-BE49-F238E27FC236}">
                <a16:creationId xmlns:a16="http://schemas.microsoft.com/office/drawing/2014/main" id="{96912EFD-4EE7-5446-9994-95FFF74DF7C7}"/>
              </a:ext>
            </a:extLst>
          </p:cNvPr>
          <p:cNvSpPr>
            <a:spLocks noGrp="1"/>
          </p:cNvSpPr>
          <p:nvPr>
            <p:ph type="body" sz="quarter" idx="16"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lang="en-GB" sz="800" b="0" smtClean="0">
                <a:solidFill>
                  <a:schemeClr val="bg1"/>
                </a:solidFill>
                <a:effectLst/>
              </a:defRPr>
            </a:lvl1pPr>
            <a:lvl2pPr>
              <a:spcAft>
                <a:spcPts val="200"/>
              </a:spcAft>
              <a:defRPr sz="800">
                <a:solidFill>
                  <a:schemeClr val="bg1"/>
                </a:solidFill>
              </a:defRPr>
            </a:lvl2pPr>
            <a:lvl3pPr marL="0" indent="0">
              <a:spcAft>
                <a:spcPts val="200"/>
              </a:spcAft>
              <a:buNone/>
              <a:defRPr sz="1000" b="1">
                <a:solidFill>
                  <a:schemeClr val="bg1"/>
                </a:solidFill>
              </a:defRPr>
            </a:lvl3pPr>
            <a:lvl4pPr marL="252000">
              <a:spcAft>
                <a:spcPts val="200"/>
              </a:spcAft>
              <a:defRPr sz="800">
                <a:solidFill>
                  <a:schemeClr val="bg1"/>
                </a:solidFill>
              </a:defRPr>
            </a:lvl4pPr>
            <a:lvl5pPr marL="504000">
              <a:spcAft>
                <a:spcPts val="200"/>
              </a:spcAft>
              <a:defRPr sz="800">
                <a:solidFill>
                  <a:schemeClr val="bg1"/>
                </a:solidFill>
              </a:defRPr>
            </a:lvl5pPr>
          </a:lstStyle>
          <a:p>
            <a:pPr lvl="0"/>
            <a:r>
              <a:rPr lang="en-US"/>
              <a:t>Source goes here, aligned to the bottom guide.</a:t>
            </a:r>
          </a:p>
        </p:txBody>
      </p:sp>
    </p:spTree>
    <p:extLst>
      <p:ext uri="{BB962C8B-B14F-4D97-AF65-F5344CB8AC3E}">
        <p14:creationId xmlns:p14="http://schemas.microsoft.com/office/powerpoint/2010/main" val="822829362"/>
      </p:ext>
    </p:extLst>
  </p:cSld>
  <p:clrMapOvr>
    <a:masterClrMapping/>
  </p:clrMapOvr>
  <p:transition>
    <p:fade/>
  </p:transition>
  <p:extLst>
    <p:ext uri="{DCECCB84-F9BA-43D5-87BE-67443E8EF086}">
      <p15:sldGuideLst xmlns:p15="http://schemas.microsoft.com/office/powerpoint/2012/main">
        <p15:guide id="1" pos="4067">
          <p15:clr>
            <a:srgbClr val="FBAE40"/>
          </p15:clr>
        </p15:guide>
        <p15:guide id="2" pos="384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hree Content Dark">
    <p:bg>
      <p:bgPr>
        <a:solidFill>
          <a:schemeClr val="tx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6437434-BB22-40C5-BDD9-E53C1C6F8699}"/>
              </a:ext>
            </a:extLst>
          </p:cNvPr>
          <p:cNvSpPr>
            <a:spLocks noGrp="1"/>
          </p:cNvSpPr>
          <p:nvPr>
            <p:ph idx="1"/>
          </p:nvPr>
        </p:nvSpPr>
        <p:spPr>
          <a:xfrm>
            <a:off x="1099457" y="2130529"/>
            <a:ext cx="3197000" cy="36878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9B1EC6A-3BD0-4B5C-BE35-1BCA9ED185C5}"/>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31DEADBF-011F-417A-A20B-D5A1B678975B}"/>
              </a:ext>
            </a:extLst>
          </p:cNvPr>
          <p:cNvSpPr>
            <a:spLocks noGrp="1"/>
          </p:cNvSpPr>
          <p:nvPr>
            <p:ph type="sldNum" sz="quarter" idx="12"/>
          </p:nvPr>
        </p:nvSpPr>
        <p:spPr/>
        <p:txBody>
          <a:bodyPr/>
          <a:lstStyle>
            <a:lvl1pPr>
              <a:defRPr>
                <a:solidFill>
                  <a:schemeClr val="bg1"/>
                </a:solidFill>
              </a:defRPr>
            </a:lvl1pPr>
          </a:lstStyle>
          <a:p>
            <a:fld id="{54B1A0A0-1014-43B9-AECC-F6512CB9E662}" type="slidenum">
              <a:rPr lang="en-GB" smtClean="0"/>
              <a:pPr/>
              <a:t>‹#›</a:t>
            </a:fld>
            <a:endParaRPr lang="en-GB"/>
          </a:p>
        </p:txBody>
      </p:sp>
      <p:sp>
        <p:nvSpPr>
          <p:cNvPr id="7" name="Content Placeholder 2">
            <a:extLst>
              <a:ext uri="{FF2B5EF4-FFF2-40B4-BE49-F238E27FC236}">
                <a16:creationId xmlns:a16="http://schemas.microsoft.com/office/drawing/2014/main" id="{47702F81-A449-4BEA-8D9A-838B13458D55}"/>
              </a:ext>
            </a:extLst>
          </p:cNvPr>
          <p:cNvSpPr>
            <a:spLocks noGrp="1"/>
          </p:cNvSpPr>
          <p:nvPr>
            <p:ph idx="13"/>
          </p:nvPr>
        </p:nvSpPr>
        <p:spPr>
          <a:xfrm>
            <a:off x="8272742" y="2130529"/>
            <a:ext cx="3223932" cy="36878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8">
            <a:extLst>
              <a:ext uri="{FF2B5EF4-FFF2-40B4-BE49-F238E27FC236}">
                <a16:creationId xmlns:a16="http://schemas.microsoft.com/office/drawing/2014/main" id="{F55DF1F9-3B3A-49C1-9C10-A08225539954}"/>
              </a:ext>
            </a:extLst>
          </p:cNvPr>
          <p:cNvSpPr>
            <a:spLocks noGrp="1"/>
          </p:cNvSpPr>
          <p:nvPr>
            <p:ph type="body" sz="quarter" idx="14"/>
          </p:nvPr>
        </p:nvSpPr>
        <p:spPr>
          <a:xfrm>
            <a:off x="1099457" y="1630800"/>
            <a:ext cx="3204256" cy="398462"/>
          </a:xfrm>
        </p:spPr>
        <p:txBody>
          <a:bodyPr/>
          <a:lstStyle>
            <a:lvl1pPr>
              <a:defRPr b="1">
                <a:solidFill>
                  <a:schemeClr val="bg1"/>
                </a:solidFill>
              </a:defRPr>
            </a:lvl1pPr>
          </a:lstStyle>
          <a:p>
            <a:pPr lvl="0"/>
            <a:r>
              <a:rPr lang="en-US"/>
              <a:t>Click to edit Master text styles</a:t>
            </a:r>
          </a:p>
        </p:txBody>
      </p:sp>
      <p:sp>
        <p:nvSpPr>
          <p:cNvPr id="10" name="Text Placeholder 8">
            <a:extLst>
              <a:ext uri="{FF2B5EF4-FFF2-40B4-BE49-F238E27FC236}">
                <a16:creationId xmlns:a16="http://schemas.microsoft.com/office/drawing/2014/main" id="{4EDA9448-A967-4DFE-B980-1899F1A424F8}"/>
              </a:ext>
            </a:extLst>
          </p:cNvPr>
          <p:cNvSpPr>
            <a:spLocks noGrp="1"/>
          </p:cNvSpPr>
          <p:nvPr>
            <p:ph type="body" sz="quarter" idx="15"/>
          </p:nvPr>
        </p:nvSpPr>
        <p:spPr>
          <a:xfrm>
            <a:off x="8272742" y="1630800"/>
            <a:ext cx="3223932" cy="398462"/>
          </a:xfrm>
        </p:spPr>
        <p:txBody>
          <a:bodyPr/>
          <a:lstStyle>
            <a:lvl1pPr>
              <a:defRPr b="1">
                <a:solidFill>
                  <a:schemeClr val="bg1"/>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1177C840-EDD7-475A-992A-D85652036FC7}"/>
              </a:ext>
            </a:extLst>
          </p:cNvPr>
          <p:cNvSpPr>
            <a:spLocks noGrp="1"/>
          </p:cNvSpPr>
          <p:nvPr>
            <p:ph idx="16"/>
          </p:nvPr>
        </p:nvSpPr>
        <p:spPr>
          <a:xfrm>
            <a:off x="4678842" y="2130530"/>
            <a:ext cx="3228496" cy="36878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a:extLst>
              <a:ext uri="{FF2B5EF4-FFF2-40B4-BE49-F238E27FC236}">
                <a16:creationId xmlns:a16="http://schemas.microsoft.com/office/drawing/2014/main" id="{4497E4FF-104E-43CA-B0AE-EBB0AAD0A499}"/>
              </a:ext>
            </a:extLst>
          </p:cNvPr>
          <p:cNvSpPr>
            <a:spLocks noGrp="1"/>
          </p:cNvSpPr>
          <p:nvPr>
            <p:ph type="body" sz="quarter" idx="17"/>
          </p:nvPr>
        </p:nvSpPr>
        <p:spPr>
          <a:xfrm>
            <a:off x="4678842" y="1630800"/>
            <a:ext cx="3228496" cy="398462"/>
          </a:xfrm>
        </p:spPr>
        <p:txBody>
          <a:bodyPr/>
          <a:lstStyle>
            <a:lvl1pPr>
              <a:defRPr b="1">
                <a:solidFill>
                  <a:schemeClr val="bg1"/>
                </a:solidFill>
              </a:defRPr>
            </a:lvl1pPr>
          </a:lstStyle>
          <a:p>
            <a:pPr lvl="0"/>
            <a:r>
              <a:rPr lang="en-US"/>
              <a:t>Click to edit Master text styles</a:t>
            </a:r>
          </a:p>
        </p:txBody>
      </p:sp>
      <p:sp>
        <p:nvSpPr>
          <p:cNvPr id="15" name="Google Shape;170;p15">
            <a:extLst>
              <a:ext uri="{FF2B5EF4-FFF2-40B4-BE49-F238E27FC236}">
                <a16:creationId xmlns:a16="http://schemas.microsoft.com/office/drawing/2014/main" id="{ADC75346-A180-CB47-BEEC-7F06A2BCDBB7}"/>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pic>
        <p:nvPicPr>
          <p:cNvPr id="16" name="Picture 15">
            <a:extLst>
              <a:ext uri="{FF2B5EF4-FFF2-40B4-BE49-F238E27FC236}">
                <a16:creationId xmlns:a16="http://schemas.microsoft.com/office/drawing/2014/main" id="{C7EF09C8-D857-AD4A-8F12-1F7FBC04EE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
        <p:nvSpPr>
          <p:cNvPr id="17" name="Title 1">
            <a:extLst>
              <a:ext uri="{FF2B5EF4-FFF2-40B4-BE49-F238E27FC236}">
                <a16:creationId xmlns:a16="http://schemas.microsoft.com/office/drawing/2014/main" id="{4FC6FDE9-B926-F540-847B-388A0C48F625}"/>
              </a:ext>
            </a:extLst>
          </p:cNvPr>
          <p:cNvSpPr>
            <a:spLocks noGrp="1"/>
          </p:cNvSpPr>
          <p:nvPr>
            <p:ph type="title"/>
          </p:nvPr>
        </p:nvSpPr>
        <p:spPr>
          <a:xfrm>
            <a:off x="1095356" y="123751"/>
            <a:ext cx="10404000" cy="1069095"/>
          </a:xfrm>
        </p:spPr>
        <p:txBody>
          <a:bodyPr anchor="ctr"/>
          <a:lstStyle>
            <a:lvl1pPr>
              <a:defRPr sz="3600">
                <a:solidFill>
                  <a:schemeClr val="bg1"/>
                </a:solidFill>
              </a:defRPr>
            </a:lvl1pPr>
          </a:lstStyle>
          <a:p>
            <a:r>
              <a:rPr lang="en-US"/>
              <a:t>Click to edit Master title style</a:t>
            </a:r>
            <a:endParaRPr lang="en-GB"/>
          </a:p>
        </p:txBody>
      </p:sp>
      <p:sp>
        <p:nvSpPr>
          <p:cNvPr id="18" name="Source Placeholder 7">
            <a:extLst>
              <a:ext uri="{FF2B5EF4-FFF2-40B4-BE49-F238E27FC236}">
                <a16:creationId xmlns:a16="http://schemas.microsoft.com/office/drawing/2014/main" id="{FC7E7884-8DA1-F846-81DC-B77EDDAADBE0}"/>
              </a:ext>
            </a:extLst>
          </p:cNvPr>
          <p:cNvSpPr>
            <a:spLocks noGrp="1"/>
          </p:cNvSpPr>
          <p:nvPr>
            <p:ph type="body" sz="quarter" idx="18"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lang="en-GB" sz="800" b="0" smtClean="0">
                <a:solidFill>
                  <a:schemeClr val="bg1"/>
                </a:solidFill>
                <a:effectLst/>
              </a:defRPr>
            </a:lvl1pPr>
            <a:lvl2pPr>
              <a:spcAft>
                <a:spcPts val="200"/>
              </a:spcAft>
              <a:defRPr sz="800">
                <a:solidFill>
                  <a:schemeClr val="bg1"/>
                </a:solidFill>
              </a:defRPr>
            </a:lvl2pPr>
            <a:lvl3pPr marL="0" indent="0">
              <a:spcAft>
                <a:spcPts val="200"/>
              </a:spcAft>
              <a:buNone/>
              <a:defRPr sz="1000" b="1">
                <a:solidFill>
                  <a:schemeClr val="bg1"/>
                </a:solidFill>
              </a:defRPr>
            </a:lvl3pPr>
            <a:lvl4pPr marL="252000">
              <a:spcAft>
                <a:spcPts val="200"/>
              </a:spcAft>
              <a:defRPr sz="800">
                <a:solidFill>
                  <a:schemeClr val="bg1"/>
                </a:solidFill>
              </a:defRPr>
            </a:lvl4pPr>
            <a:lvl5pPr marL="504000">
              <a:spcAft>
                <a:spcPts val="200"/>
              </a:spcAft>
              <a:defRPr sz="800">
                <a:solidFill>
                  <a:schemeClr val="bg1"/>
                </a:solidFill>
              </a:defRPr>
            </a:lvl5pPr>
          </a:lstStyle>
          <a:p>
            <a:pPr lvl="0"/>
            <a:r>
              <a:rPr lang="en-US"/>
              <a:t>Source goes here, aligned to the bottom guide.</a:t>
            </a:r>
          </a:p>
        </p:txBody>
      </p:sp>
    </p:spTree>
    <p:extLst>
      <p:ext uri="{BB962C8B-B14F-4D97-AF65-F5344CB8AC3E}">
        <p14:creationId xmlns:p14="http://schemas.microsoft.com/office/powerpoint/2010/main" val="3713653539"/>
      </p:ext>
    </p:extLst>
  </p:cSld>
  <p:clrMapOvr>
    <a:masterClrMapping/>
  </p:clrMapOvr>
  <p:transition>
    <p:fade/>
  </p:transition>
  <p:extLst>
    <p:ext uri="{DCECCB84-F9BA-43D5-87BE-67443E8EF086}">
      <p15:sldGuideLst xmlns:p15="http://schemas.microsoft.com/office/powerpoint/2012/main">
        <p15:guide id="1" pos="4981">
          <p15:clr>
            <a:srgbClr val="FBAE40"/>
          </p15:clr>
        </p15:guide>
        <p15:guide id="3" pos="5209">
          <p15:clr>
            <a:srgbClr val="FBAE40"/>
          </p15:clr>
        </p15:guide>
        <p15:guide id="4" pos="2711">
          <p15:clr>
            <a:srgbClr val="FBAE40"/>
          </p15:clr>
        </p15:guide>
        <p15:guide id="5" pos="2939">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Four Content Dark">
    <p:bg>
      <p:bgPr>
        <a:solidFill>
          <a:schemeClr val="tx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9B1EC6A-3BD0-4B5C-BE35-1BCA9ED185C5}"/>
              </a:ext>
            </a:extLst>
          </p:cNvPr>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31DEADBF-011F-417A-A20B-D5A1B678975B}"/>
              </a:ext>
            </a:extLst>
          </p:cNvPr>
          <p:cNvSpPr>
            <a:spLocks noGrp="1"/>
          </p:cNvSpPr>
          <p:nvPr>
            <p:ph type="sldNum" sz="quarter" idx="12"/>
          </p:nvPr>
        </p:nvSpPr>
        <p:spPr/>
        <p:txBody>
          <a:bodyPr/>
          <a:lstStyle>
            <a:lvl1pPr>
              <a:defRPr>
                <a:solidFill>
                  <a:schemeClr val="bg1"/>
                </a:solidFill>
              </a:defRPr>
            </a:lvl1pPr>
          </a:lstStyle>
          <a:p>
            <a:fld id="{54B1A0A0-1014-43B9-AECC-F6512CB9E662}" type="slidenum">
              <a:rPr lang="en-GB" smtClean="0"/>
              <a:pPr/>
              <a:t>‹#›</a:t>
            </a:fld>
            <a:endParaRPr lang="en-GB"/>
          </a:p>
        </p:txBody>
      </p:sp>
      <p:sp>
        <p:nvSpPr>
          <p:cNvPr id="17" name="Content Placeholder 2">
            <a:extLst>
              <a:ext uri="{FF2B5EF4-FFF2-40B4-BE49-F238E27FC236}">
                <a16:creationId xmlns:a16="http://schemas.microsoft.com/office/drawing/2014/main" id="{455EB08C-BB2C-C641-998E-9D9D6F74ABAC}"/>
              </a:ext>
            </a:extLst>
          </p:cNvPr>
          <p:cNvSpPr>
            <a:spLocks noGrp="1"/>
          </p:cNvSpPr>
          <p:nvPr>
            <p:ph idx="1"/>
          </p:nvPr>
        </p:nvSpPr>
        <p:spPr>
          <a:xfrm>
            <a:off x="1095356" y="3288611"/>
            <a:ext cx="2350801" cy="209923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19A20258-A5BB-4347-AD02-D1AAF1BFC24D}"/>
              </a:ext>
            </a:extLst>
          </p:cNvPr>
          <p:cNvSpPr>
            <a:spLocks noGrp="1"/>
          </p:cNvSpPr>
          <p:nvPr>
            <p:ph idx="13"/>
          </p:nvPr>
        </p:nvSpPr>
        <p:spPr>
          <a:xfrm>
            <a:off x="9136742" y="3288611"/>
            <a:ext cx="2350800" cy="209923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8">
            <a:extLst>
              <a:ext uri="{FF2B5EF4-FFF2-40B4-BE49-F238E27FC236}">
                <a16:creationId xmlns:a16="http://schemas.microsoft.com/office/drawing/2014/main" id="{8AE5C7F5-828D-414A-AB5C-4140CCACAEDE}"/>
              </a:ext>
            </a:extLst>
          </p:cNvPr>
          <p:cNvSpPr>
            <a:spLocks noGrp="1"/>
          </p:cNvSpPr>
          <p:nvPr>
            <p:ph type="body" sz="quarter" idx="14"/>
          </p:nvPr>
        </p:nvSpPr>
        <p:spPr>
          <a:xfrm>
            <a:off x="1095356" y="2813411"/>
            <a:ext cx="2350801" cy="398462"/>
          </a:xfrm>
        </p:spPr>
        <p:txBody>
          <a:bodyPr/>
          <a:lstStyle>
            <a:lvl1pPr>
              <a:defRPr b="1">
                <a:solidFill>
                  <a:schemeClr val="bg1"/>
                </a:solidFill>
              </a:defRPr>
            </a:lvl1pPr>
          </a:lstStyle>
          <a:p>
            <a:pPr lvl="0"/>
            <a:r>
              <a:rPr lang="en-US"/>
              <a:t>Click to edit Master text styles</a:t>
            </a:r>
          </a:p>
        </p:txBody>
      </p:sp>
      <p:sp>
        <p:nvSpPr>
          <p:cNvPr id="20" name="Text Placeholder 8">
            <a:extLst>
              <a:ext uri="{FF2B5EF4-FFF2-40B4-BE49-F238E27FC236}">
                <a16:creationId xmlns:a16="http://schemas.microsoft.com/office/drawing/2014/main" id="{F7313A35-908A-6241-B8F9-8EF1A8422456}"/>
              </a:ext>
            </a:extLst>
          </p:cNvPr>
          <p:cNvSpPr>
            <a:spLocks noGrp="1"/>
          </p:cNvSpPr>
          <p:nvPr>
            <p:ph type="body" sz="quarter" idx="15"/>
          </p:nvPr>
        </p:nvSpPr>
        <p:spPr>
          <a:xfrm>
            <a:off x="9136742" y="2813411"/>
            <a:ext cx="2350800" cy="398462"/>
          </a:xfrm>
        </p:spPr>
        <p:txBody>
          <a:bodyPr/>
          <a:lstStyle>
            <a:lvl1pPr>
              <a:defRPr b="1">
                <a:solidFill>
                  <a:schemeClr val="bg1"/>
                </a:solidFill>
              </a:defRPr>
            </a:lvl1pPr>
          </a:lstStyle>
          <a:p>
            <a:pPr lvl="0"/>
            <a:r>
              <a:rPr lang="en-US"/>
              <a:t>Click to edit Master text styles</a:t>
            </a:r>
          </a:p>
        </p:txBody>
      </p:sp>
      <p:sp>
        <p:nvSpPr>
          <p:cNvPr id="21" name="Content Placeholder 2">
            <a:extLst>
              <a:ext uri="{FF2B5EF4-FFF2-40B4-BE49-F238E27FC236}">
                <a16:creationId xmlns:a16="http://schemas.microsoft.com/office/drawing/2014/main" id="{215ECD8E-A21A-8243-BD12-95A906DB9C4B}"/>
              </a:ext>
            </a:extLst>
          </p:cNvPr>
          <p:cNvSpPr>
            <a:spLocks noGrp="1"/>
          </p:cNvSpPr>
          <p:nvPr>
            <p:ph idx="16"/>
          </p:nvPr>
        </p:nvSpPr>
        <p:spPr>
          <a:xfrm>
            <a:off x="3776132" y="3288611"/>
            <a:ext cx="2350800" cy="209923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a:extLst>
              <a:ext uri="{FF2B5EF4-FFF2-40B4-BE49-F238E27FC236}">
                <a16:creationId xmlns:a16="http://schemas.microsoft.com/office/drawing/2014/main" id="{E4DC9F03-34CB-8C4B-93A9-4DA955863973}"/>
              </a:ext>
            </a:extLst>
          </p:cNvPr>
          <p:cNvSpPr>
            <a:spLocks noGrp="1"/>
          </p:cNvSpPr>
          <p:nvPr>
            <p:ph type="body" sz="quarter" idx="17"/>
          </p:nvPr>
        </p:nvSpPr>
        <p:spPr>
          <a:xfrm>
            <a:off x="3776132" y="2813411"/>
            <a:ext cx="2350800" cy="398462"/>
          </a:xfrm>
        </p:spPr>
        <p:txBody>
          <a:bodyPr/>
          <a:lstStyle>
            <a:lvl1pPr>
              <a:defRPr b="1">
                <a:solidFill>
                  <a:schemeClr val="bg1"/>
                </a:solidFill>
              </a:defRPr>
            </a:lvl1pPr>
          </a:lstStyle>
          <a:p>
            <a:pPr lvl="0"/>
            <a:r>
              <a:rPr lang="en-US"/>
              <a:t>Click to edit Master text styles</a:t>
            </a:r>
          </a:p>
        </p:txBody>
      </p:sp>
      <p:sp>
        <p:nvSpPr>
          <p:cNvPr id="23" name="Content Placeholder 2">
            <a:extLst>
              <a:ext uri="{FF2B5EF4-FFF2-40B4-BE49-F238E27FC236}">
                <a16:creationId xmlns:a16="http://schemas.microsoft.com/office/drawing/2014/main" id="{DFEE66B5-A3D0-3443-B9DD-77D95ED84726}"/>
              </a:ext>
            </a:extLst>
          </p:cNvPr>
          <p:cNvSpPr>
            <a:spLocks noGrp="1"/>
          </p:cNvSpPr>
          <p:nvPr>
            <p:ph idx="18"/>
          </p:nvPr>
        </p:nvSpPr>
        <p:spPr>
          <a:xfrm>
            <a:off x="6445552" y="3288611"/>
            <a:ext cx="2350800" cy="209923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a:extLst>
              <a:ext uri="{FF2B5EF4-FFF2-40B4-BE49-F238E27FC236}">
                <a16:creationId xmlns:a16="http://schemas.microsoft.com/office/drawing/2014/main" id="{1217EDAE-F88C-7848-8038-69BBB66AB4CB}"/>
              </a:ext>
            </a:extLst>
          </p:cNvPr>
          <p:cNvSpPr>
            <a:spLocks noGrp="1"/>
          </p:cNvSpPr>
          <p:nvPr>
            <p:ph type="body" sz="quarter" idx="19"/>
          </p:nvPr>
        </p:nvSpPr>
        <p:spPr>
          <a:xfrm>
            <a:off x="6445552" y="2813411"/>
            <a:ext cx="2350800" cy="398462"/>
          </a:xfrm>
        </p:spPr>
        <p:txBody>
          <a:bodyPr/>
          <a:lstStyle>
            <a:lvl1pPr>
              <a:defRPr b="1">
                <a:solidFill>
                  <a:schemeClr val="bg1"/>
                </a:solidFill>
              </a:defRPr>
            </a:lvl1pPr>
          </a:lstStyle>
          <a:p>
            <a:pPr lvl="0"/>
            <a:r>
              <a:rPr lang="en-US"/>
              <a:t>Click to edit Master text styles</a:t>
            </a:r>
          </a:p>
        </p:txBody>
      </p:sp>
      <p:sp>
        <p:nvSpPr>
          <p:cNvPr id="25" name="Picture Placeholder 19">
            <a:extLst>
              <a:ext uri="{FF2B5EF4-FFF2-40B4-BE49-F238E27FC236}">
                <a16:creationId xmlns:a16="http://schemas.microsoft.com/office/drawing/2014/main" id="{B456D3CD-0CC7-A54B-90A0-98D7966EF740}"/>
              </a:ext>
            </a:extLst>
          </p:cNvPr>
          <p:cNvSpPr>
            <a:spLocks noGrp="1"/>
          </p:cNvSpPr>
          <p:nvPr>
            <p:ph type="pic" sz="quarter" idx="20"/>
          </p:nvPr>
        </p:nvSpPr>
        <p:spPr>
          <a:xfrm>
            <a:off x="1095356" y="1630800"/>
            <a:ext cx="946150" cy="947737"/>
          </a:xfrm>
        </p:spPr>
        <p:txBody>
          <a:bodyPr/>
          <a:lstStyle>
            <a:lvl1pPr>
              <a:defRPr>
                <a:solidFill>
                  <a:schemeClr val="bg1"/>
                </a:solidFill>
              </a:defRPr>
            </a:lvl1pPr>
          </a:lstStyle>
          <a:p>
            <a:r>
              <a:rPr lang="en-US"/>
              <a:t>Click icon to add picture</a:t>
            </a:r>
          </a:p>
        </p:txBody>
      </p:sp>
      <p:sp>
        <p:nvSpPr>
          <p:cNvPr id="26" name="Picture Placeholder 19">
            <a:extLst>
              <a:ext uri="{FF2B5EF4-FFF2-40B4-BE49-F238E27FC236}">
                <a16:creationId xmlns:a16="http://schemas.microsoft.com/office/drawing/2014/main" id="{58B1685F-2E2A-EF43-81B4-28EFC1444127}"/>
              </a:ext>
            </a:extLst>
          </p:cNvPr>
          <p:cNvSpPr>
            <a:spLocks noGrp="1"/>
          </p:cNvSpPr>
          <p:nvPr>
            <p:ph type="pic" sz="quarter" idx="21"/>
          </p:nvPr>
        </p:nvSpPr>
        <p:spPr>
          <a:xfrm>
            <a:off x="3776132" y="1630800"/>
            <a:ext cx="946150" cy="947737"/>
          </a:xfrm>
        </p:spPr>
        <p:txBody>
          <a:bodyPr/>
          <a:lstStyle>
            <a:lvl1pPr>
              <a:defRPr>
                <a:solidFill>
                  <a:schemeClr val="bg1"/>
                </a:solidFill>
              </a:defRPr>
            </a:lvl1pPr>
          </a:lstStyle>
          <a:p>
            <a:r>
              <a:rPr lang="en-US"/>
              <a:t>Click icon to add picture</a:t>
            </a:r>
          </a:p>
        </p:txBody>
      </p:sp>
      <p:sp>
        <p:nvSpPr>
          <p:cNvPr id="27" name="Picture Placeholder 19">
            <a:extLst>
              <a:ext uri="{FF2B5EF4-FFF2-40B4-BE49-F238E27FC236}">
                <a16:creationId xmlns:a16="http://schemas.microsoft.com/office/drawing/2014/main" id="{84AC06FC-5B21-C94D-B3F0-C99999B18E9D}"/>
              </a:ext>
            </a:extLst>
          </p:cNvPr>
          <p:cNvSpPr>
            <a:spLocks noGrp="1"/>
          </p:cNvSpPr>
          <p:nvPr>
            <p:ph type="pic" sz="quarter" idx="22"/>
          </p:nvPr>
        </p:nvSpPr>
        <p:spPr>
          <a:xfrm>
            <a:off x="6445552" y="1630800"/>
            <a:ext cx="946150" cy="947737"/>
          </a:xfrm>
        </p:spPr>
        <p:txBody>
          <a:bodyPr/>
          <a:lstStyle>
            <a:lvl1pPr>
              <a:defRPr>
                <a:solidFill>
                  <a:schemeClr val="bg1"/>
                </a:solidFill>
              </a:defRPr>
            </a:lvl1pPr>
          </a:lstStyle>
          <a:p>
            <a:r>
              <a:rPr lang="en-US"/>
              <a:t>Click icon to add picture</a:t>
            </a:r>
          </a:p>
        </p:txBody>
      </p:sp>
      <p:sp>
        <p:nvSpPr>
          <p:cNvPr id="28" name="Picture Placeholder 19">
            <a:extLst>
              <a:ext uri="{FF2B5EF4-FFF2-40B4-BE49-F238E27FC236}">
                <a16:creationId xmlns:a16="http://schemas.microsoft.com/office/drawing/2014/main" id="{64536902-31B3-D740-9D23-AF4D284F0D7B}"/>
              </a:ext>
            </a:extLst>
          </p:cNvPr>
          <p:cNvSpPr>
            <a:spLocks noGrp="1"/>
          </p:cNvSpPr>
          <p:nvPr>
            <p:ph type="pic" sz="quarter" idx="23"/>
          </p:nvPr>
        </p:nvSpPr>
        <p:spPr>
          <a:xfrm>
            <a:off x="9136742" y="1630800"/>
            <a:ext cx="946150" cy="947737"/>
          </a:xfrm>
        </p:spPr>
        <p:txBody>
          <a:bodyPr/>
          <a:lstStyle>
            <a:lvl1pPr>
              <a:defRPr>
                <a:solidFill>
                  <a:schemeClr val="bg1"/>
                </a:solidFill>
              </a:defRPr>
            </a:lvl1pPr>
          </a:lstStyle>
          <a:p>
            <a:r>
              <a:rPr lang="en-US"/>
              <a:t>Click icon to add picture</a:t>
            </a:r>
          </a:p>
        </p:txBody>
      </p:sp>
      <p:sp>
        <p:nvSpPr>
          <p:cNvPr id="29" name="Google Shape;170;p15">
            <a:extLst>
              <a:ext uri="{FF2B5EF4-FFF2-40B4-BE49-F238E27FC236}">
                <a16:creationId xmlns:a16="http://schemas.microsoft.com/office/drawing/2014/main" id="{43491D74-ADF8-ED40-80A4-3BB1B2A1FB55}"/>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30" name="Title 1">
            <a:extLst>
              <a:ext uri="{FF2B5EF4-FFF2-40B4-BE49-F238E27FC236}">
                <a16:creationId xmlns:a16="http://schemas.microsoft.com/office/drawing/2014/main" id="{B594EAA6-3664-844C-9C1C-63524992E227}"/>
              </a:ext>
            </a:extLst>
          </p:cNvPr>
          <p:cNvSpPr>
            <a:spLocks noGrp="1"/>
          </p:cNvSpPr>
          <p:nvPr>
            <p:ph type="title"/>
          </p:nvPr>
        </p:nvSpPr>
        <p:spPr>
          <a:xfrm>
            <a:off x="1095356" y="123751"/>
            <a:ext cx="10404000" cy="1069095"/>
          </a:xfrm>
        </p:spPr>
        <p:txBody>
          <a:bodyPr anchor="ctr"/>
          <a:lstStyle>
            <a:lvl1pPr>
              <a:defRPr sz="3600">
                <a:solidFill>
                  <a:schemeClr val="bg1"/>
                </a:solidFill>
              </a:defRPr>
            </a:lvl1pPr>
          </a:lstStyle>
          <a:p>
            <a:r>
              <a:rPr lang="en-US"/>
              <a:t>Click to edit Master title style</a:t>
            </a:r>
            <a:endParaRPr lang="en-GB"/>
          </a:p>
        </p:txBody>
      </p:sp>
      <p:pic>
        <p:nvPicPr>
          <p:cNvPr id="32" name="Picture 31">
            <a:extLst>
              <a:ext uri="{FF2B5EF4-FFF2-40B4-BE49-F238E27FC236}">
                <a16:creationId xmlns:a16="http://schemas.microsoft.com/office/drawing/2014/main" id="{A328CF4F-0113-F44C-AC66-DD235BCEBD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
        <p:nvSpPr>
          <p:cNvPr id="33" name="Source Placeholder 7">
            <a:extLst>
              <a:ext uri="{FF2B5EF4-FFF2-40B4-BE49-F238E27FC236}">
                <a16:creationId xmlns:a16="http://schemas.microsoft.com/office/drawing/2014/main" id="{9EE18E94-B41C-3248-91DE-4E9D619A4369}"/>
              </a:ext>
            </a:extLst>
          </p:cNvPr>
          <p:cNvSpPr>
            <a:spLocks noGrp="1"/>
          </p:cNvSpPr>
          <p:nvPr>
            <p:ph type="body" sz="quarter" idx="24"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lang="en-GB" sz="800" b="0" smtClean="0">
                <a:solidFill>
                  <a:schemeClr val="bg1"/>
                </a:solidFill>
                <a:effectLst/>
              </a:defRPr>
            </a:lvl1pPr>
            <a:lvl2pPr>
              <a:spcAft>
                <a:spcPts val="200"/>
              </a:spcAft>
              <a:defRPr sz="800">
                <a:solidFill>
                  <a:schemeClr val="bg1"/>
                </a:solidFill>
              </a:defRPr>
            </a:lvl2pPr>
            <a:lvl3pPr marL="0" indent="0">
              <a:spcAft>
                <a:spcPts val="200"/>
              </a:spcAft>
              <a:buNone/>
              <a:defRPr sz="1000" b="1">
                <a:solidFill>
                  <a:schemeClr val="bg1"/>
                </a:solidFill>
              </a:defRPr>
            </a:lvl3pPr>
            <a:lvl4pPr marL="252000">
              <a:spcAft>
                <a:spcPts val="200"/>
              </a:spcAft>
              <a:defRPr sz="800">
                <a:solidFill>
                  <a:schemeClr val="bg1"/>
                </a:solidFill>
              </a:defRPr>
            </a:lvl4pPr>
            <a:lvl5pPr marL="504000">
              <a:spcAft>
                <a:spcPts val="200"/>
              </a:spcAft>
              <a:defRPr sz="800">
                <a:solidFill>
                  <a:schemeClr val="bg1"/>
                </a:solidFill>
              </a:defRPr>
            </a:lvl5pPr>
          </a:lstStyle>
          <a:p>
            <a:pPr lvl="0"/>
            <a:r>
              <a:rPr lang="en-US"/>
              <a:t>Source goes here, aligned to the bottom guide.</a:t>
            </a:r>
          </a:p>
        </p:txBody>
      </p:sp>
    </p:spTree>
    <p:extLst>
      <p:ext uri="{BB962C8B-B14F-4D97-AF65-F5344CB8AC3E}">
        <p14:creationId xmlns:p14="http://schemas.microsoft.com/office/powerpoint/2010/main" val="4011925563"/>
      </p:ext>
    </p:extLst>
  </p:cSld>
  <p:clrMapOvr>
    <a:masterClrMapping/>
  </p:clrMapOvr>
  <p:transition>
    <p:fade/>
  </p:transition>
  <p:extLst>
    <p:ext uri="{DCECCB84-F9BA-43D5-87BE-67443E8EF086}">
      <p15:sldGuideLst xmlns:p15="http://schemas.microsoft.com/office/powerpoint/2012/main">
        <p15:guide id="1" pos="2177">
          <p15:clr>
            <a:srgbClr val="FBAE40"/>
          </p15:clr>
        </p15:guide>
        <p15:guide id="3" pos="2372">
          <p15:clr>
            <a:srgbClr val="FBAE40"/>
          </p15:clr>
        </p15:guide>
        <p15:guide id="4" pos="4057">
          <p15:clr>
            <a:srgbClr val="FBAE40"/>
          </p15:clr>
        </p15:guide>
        <p15:guide id="5" pos="5752">
          <p15:clr>
            <a:srgbClr val="FBAE40"/>
          </p15:clr>
        </p15:guide>
        <p15:guide id="6" pos="3863">
          <p15:clr>
            <a:srgbClr val="FBAE40"/>
          </p15:clr>
        </p15:guide>
        <p15:guide id="7" pos="5557">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ation Slide">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CC14D75-9A4C-644F-AEC6-DD78A31E6C0A}"/>
              </a:ext>
            </a:extLst>
          </p:cNvPr>
          <p:cNvPicPr>
            <a:picLocks noChangeAspect="1"/>
          </p:cNvPicPr>
          <p:nvPr userDrawn="1"/>
        </p:nvPicPr>
        <p:blipFill>
          <a:blip r:embed="rId2"/>
          <a:stretch>
            <a:fillRect/>
          </a:stretch>
        </p:blipFill>
        <p:spPr>
          <a:xfrm>
            <a:off x="5397500" y="0"/>
            <a:ext cx="6794500" cy="6858000"/>
          </a:xfrm>
          <a:prstGeom prst="rect">
            <a:avLst/>
          </a:prstGeom>
        </p:spPr>
      </p:pic>
      <p:sp>
        <p:nvSpPr>
          <p:cNvPr id="4" name="Footer Placeholder 3">
            <a:extLst>
              <a:ext uri="{FF2B5EF4-FFF2-40B4-BE49-F238E27FC236}">
                <a16:creationId xmlns:a16="http://schemas.microsoft.com/office/drawing/2014/main" id="{D045DACD-B0AF-402D-986B-4E6C0C7FA717}"/>
              </a:ext>
            </a:extLst>
          </p:cNvPr>
          <p:cNvSpPr>
            <a:spLocks noGrp="1"/>
          </p:cNvSpPr>
          <p:nvPr>
            <p:ph type="ftr" sz="quarter" idx="11"/>
          </p:nvPr>
        </p:nvSpPr>
        <p:spPr/>
        <p:txBody>
          <a:bodyPr/>
          <a:lstStyle>
            <a:lvl1pPr>
              <a:defRPr>
                <a:solidFill>
                  <a:srgbClr val="666666"/>
                </a:solidFill>
              </a:defRPr>
            </a:lvl1pPr>
          </a:lstStyle>
          <a:p>
            <a:endParaRPr lang="en-GB"/>
          </a:p>
        </p:txBody>
      </p:sp>
      <p:sp>
        <p:nvSpPr>
          <p:cNvPr id="5" name="Slide Number Placeholder 4">
            <a:extLst>
              <a:ext uri="{FF2B5EF4-FFF2-40B4-BE49-F238E27FC236}">
                <a16:creationId xmlns:a16="http://schemas.microsoft.com/office/drawing/2014/main" id="{B4935CAB-0460-4258-88E9-D9AACE5731F9}"/>
              </a:ext>
            </a:extLst>
          </p:cNvPr>
          <p:cNvSpPr>
            <a:spLocks noGrp="1"/>
          </p:cNvSpPr>
          <p:nvPr>
            <p:ph type="sldNum" sz="quarter" idx="12"/>
          </p:nvPr>
        </p:nvSpPr>
        <p:spPr/>
        <p:txBody>
          <a:bodyPr/>
          <a:lstStyle>
            <a:lvl1pPr>
              <a:defRPr>
                <a:solidFill>
                  <a:srgbClr val="666666"/>
                </a:solidFill>
              </a:defRPr>
            </a:lvl1pPr>
          </a:lstStyle>
          <a:p>
            <a:fld id="{54B1A0A0-1014-43B9-AECC-F6512CB9E662}" type="slidenum">
              <a:rPr lang="en-GB" smtClean="0"/>
              <a:pPr/>
              <a:t>‹#›</a:t>
            </a:fld>
            <a:endParaRPr lang="en-GB"/>
          </a:p>
        </p:txBody>
      </p:sp>
      <p:sp>
        <p:nvSpPr>
          <p:cNvPr id="7" name="Text Placeholder 6">
            <a:extLst>
              <a:ext uri="{FF2B5EF4-FFF2-40B4-BE49-F238E27FC236}">
                <a16:creationId xmlns:a16="http://schemas.microsoft.com/office/drawing/2014/main" id="{712C31A6-7521-419C-AFD2-645CA9BC1616}"/>
              </a:ext>
            </a:extLst>
          </p:cNvPr>
          <p:cNvSpPr>
            <a:spLocks noGrp="1"/>
          </p:cNvSpPr>
          <p:nvPr>
            <p:ph type="body" sz="quarter" idx="13"/>
          </p:nvPr>
        </p:nvSpPr>
        <p:spPr>
          <a:xfrm>
            <a:off x="1099457" y="1630800"/>
            <a:ext cx="10397218" cy="4551875"/>
          </a:xfrm>
        </p:spPr>
        <p:txBody>
          <a:bodyPr/>
          <a:lstStyle>
            <a:lvl1pPr>
              <a:spcAft>
                <a:spcPts val="4535"/>
              </a:spcAft>
              <a:defRPr sz="6000" b="1">
                <a:solidFill>
                  <a:srgbClr val="444444"/>
                </a:solidFill>
              </a:defRPr>
            </a:lvl1pPr>
            <a:lvl2pPr>
              <a:defRPr sz="1600" b="0">
                <a:solidFill>
                  <a:srgbClr val="444444"/>
                </a:solidFill>
              </a:defRPr>
            </a:lvl2pPr>
            <a:lvl3pPr>
              <a:defRPr sz="6000"/>
            </a:lvl3pPr>
            <a:lvl4pPr>
              <a:defRPr sz="6000"/>
            </a:lvl4pPr>
            <a:lvl5pPr>
              <a:defRPr sz="6000"/>
            </a:lvl5pPr>
          </a:lstStyle>
          <a:p>
            <a:pPr lvl="0"/>
            <a:r>
              <a:rPr lang="en-US"/>
              <a:t>Click to edit Master text styles</a:t>
            </a:r>
          </a:p>
          <a:p>
            <a:pPr lvl="1"/>
            <a:r>
              <a:rPr lang="en-US"/>
              <a:t>Second level</a:t>
            </a:r>
          </a:p>
        </p:txBody>
      </p:sp>
      <p:pic>
        <p:nvPicPr>
          <p:cNvPr id="9" name="Picture 8">
            <a:extLst>
              <a:ext uri="{FF2B5EF4-FFF2-40B4-BE49-F238E27FC236}">
                <a16:creationId xmlns:a16="http://schemas.microsoft.com/office/drawing/2014/main" id="{E0F90F8A-C343-A044-9FE9-8B7B5AEDF2F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142294630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Quotation Slide Dark">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7732E6B-F443-984D-B634-E31CD77D11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97500" y="0"/>
            <a:ext cx="6794500" cy="6858000"/>
          </a:xfrm>
          <a:prstGeom prst="rect">
            <a:avLst/>
          </a:prstGeom>
        </p:spPr>
      </p:pic>
      <p:sp>
        <p:nvSpPr>
          <p:cNvPr id="4" name="Footer Placeholder 3">
            <a:extLst>
              <a:ext uri="{FF2B5EF4-FFF2-40B4-BE49-F238E27FC236}">
                <a16:creationId xmlns:a16="http://schemas.microsoft.com/office/drawing/2014/main" id="{D045DACD-B0AF-402D-986B-4E6C0C7FA71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B4935CAB-0460-4258-88E9-D9AACE5731F9}"/>
              </a:ext>
            </a:extLst>
          </p:cNvPr>
          <p:cNvSpPr>
            <a:spLocks noGrp="1"/>
          </p:cNvSpPr>
          <p:nvPr>
            <p:ph type="sldNum" sz="quarter" idx="12"/>
          </p:nvPr>
        </p:nvSpPr>
        <p:spPr/>
        <p:txBody>
          <a:bodyPr/>
          <a:lstStyle>
            <a:lvl1pPr>
              <a:defRPr>
                <a:solidFill>
                  <a:schemeClr val="bg1"/>
                </a:solidFill>
              </a:defRPr>
            </a:lvl1pPr>
          </a:lstStyle>
          <a:p>
            <a:fld id="{54B1A0A0-1014-43B9-AECC-F6512CB9E662}" type="slidenum">
              <a:rPr lang="en-GB" smtClean="0"/>
              <a:pPr/>
              <a:t>‹#›</a:t>
            </a:fld>
            <a:endParaRPr lang="en-GB"/>
          </a:p>
        </p:txBody>
      </p:sp>
      <p:sp>
        <p:nvSpPr>
          <p:cNvPr id="7" name="Text Placeholder 6">
            <a:extLst>
              <a:ext uri="{FF2B5EF4-FFF2-40B4-BE49-F238E27FC236}">
                <a16:creationId xmlns:a16="http://schemas.microsoft.com/office/drawing/2014/main" id="{712C31A6-7521-419C-AFD2-645CA9BC1616}"/>
              </a:ext>
            </a:extLst>
          </p:cNvPr>
          <p:cNvSpPr>
            <a:spLocks noGrp="1"/>
          </p:cNvSpPr>
          <p:nvPr>
            <p:ph type="body" sz="quarter" idx="13"/>
          </p:nvPr>
        </p:nvSpPr>
        <p:spPr>
          <a:xfrm>
            <a:off x="1099458" y="1630800"/>
            <a:ext cx="10397218" cy="4551875"/>
          </a:xfrm>
        </p:spPr>
        <p:txBody>
          <a:bodyPr/>
          <a:lstStyle>
            <a:lvl1pPr>
              <a:spcAft>
                <a:spcPts val="4535"/>
              </a:spcAft>
              <a:defRPr sz="6000" b="1">
                <a:solidFill>
                  <a:schemeClr val="accent1"/>
                </a:solidFill>
              </a:defRPr>
            </a:lvl1pPr>
            <a:lvl2pPr>
              <a:defRPr sz="1600" b="0">
                <a:solidFill>
                  <a:schemeClr val="bg1"/>
                </a:solidFill>
              </a:defRPr>
            </a:lvl2pPr>
            <a:lvl3pPr>
              <a:defRPr sz="6000"/>
            </a:lvl3pPr>
            <a:lvl4pPr>
              <a:defRPr sz="6000"/>
            </a:lvl4pPr>
            <a:lvl5pPr>
              <a:defRPr sz="6000"/>
            </a:lvl5pPr>
          </a:lstStyle>
          <a:p>
            <a:pPr lvl="0"/>
            <a:r>
              <a:rPr lang="en-US"/>
              <a:t>Click to edit Master text styles</a:t>
            </a:r>
          </a:p>
          <a:p>
            <a:pPr lvl="1"/>
            <a:r>
              <a:rPr lang="en-US"/>
              <a:t>Second level</a:t>
            </a:r>
          </a:p>
        </p:txBody>
      </p:sp>
      <p:pic>
        <p:nvPicPr>
          <p:cNvPr id="9" name="Picture 8">
            <a:extLst>
              <a:ext uri="{FF2B5EF4-FFF2-40B4-BE49-F238E27FC236}">
                <a16:creationId xmlns:a16="http://schemas.microsoft.com/office/drawing/2014/main" id="{FC4BC3C9-1395-2645-87C1-C0435E7FB0C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173711596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Quotation Slide Teal">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A056C6F-B81E-474D-A085-E5B2B9B7A731}"/>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5000"/>
                    </a14:imgEffect>
                  </a14:imgLayer>
                </a14:imgProps>
              </a:ext>
            </a:extLst>
          </a:blip>
          <a:stretch>
            <a:fillRect/>
          </a:stretch>
        </p:blipFill>
        <p:spPr>
          <a:xfrm>
            <a:off x="5397500" y="0"/>
            <a:ext cx="6794500" cy="6858000"/>
          </a:xfrm>
          <a:prstGeom prst="rect">
            <a:avLst/>
          </a:prstGeom>
        </p:spPr>
      </p:pic>
      <p:sp>
        <p:nvSpPr>
          <p:cNvPr id="4" name="Footer Placeholder 3">
            <a:extLst>
              <a:ext uri="{FF2B5EF4-FFF2-40B4-BE49-F238E27FC236}">
                <a16:creationId xmlns:a16="http://schemas.microsoft.com/office/drawing/2014/main" id="{D045DACD-B0AF-402D-986B-4E6C0C7FA71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B4935CAB-0460-4258-88E9-D9AACE5731F9}"/>
              </a:ext>
            </a:extLst>
          </p:cNvPr>
          <p:cNvSpPr>
            <a:spLocks noGrp="1"/>
          </p:cNvSpPr>
          <p:nvPr>
            <p:ph type="sldNum" sz="quarter" idx="12"/>
          </p:nvPr>
        </p:nvSpPr>
        <p:spPr/>
        <p:txBody>
          <a:bodyPr/>
          <a:lstStyle>
            <a:lvl1pPr>
              <a:defRPr>
                <a:solidFill>
                  <a:schemeClr val="bg1"/>
                </a:solidFill>
              </a:defRPr>
            </a:lvl1pPr>
          </a:lstStyle>
          <a:p>
            <a:fld id="{54B1A0A0-1014-43B9-AECC-F6512CB9E662}" type="slidenum">
              <a:rPr lang="en-GB" smtClean="0"/>
              <a:pPr/>
              <a:t>‹#›</a:t>
            </a:fld>
            <a:endParaRPr lang="en-GB"/>
          </a:p>
        </p:txBody>
      </p:sp>
      <p:sp>
        <p:nvSpPr>
          <p:cNvPr id="7" name="Text Placeholder 6">
            <a:extLst>
              <a:ext uri="{FF2B5EF4-FFF2-40B4-BE49-F238E27FC236}">
                <a16:creationId xmlns:a16="http://schemas.microsoft.com/office/drawing/2014/main" id="{712C31A6-7521-419C-AFD2-645CA9BC1616}"/>
              </a:ext>
            </a:extLst>
          </p:cNvPr>
          <p:cNvSpPr>
            <a:spLocks noGrp="1"/>
          </p:cNvSpPr>
          <p:nvPr>
            <p:ph type="body" sz="quarter" idx="13"/>
          </p:nvPr>
        </p:nvSpPr>
        <p:spPr>
          <a:xfrm>
            <a:off x="1099458" y="1630800"/>
            <a:ext cx="10397218" cy="4551875"/>
          </a:xfrm>
        </p:spPr>
        <p:txBody>
          <a:bodyPr/>
          <a:lstStyle>
            <a:lvl1pPr>
              <a:spcAft>
                <a:spcPts val="4535"/>
              </a:spcAft>
              <a:defRPr sz="6000" b="1">
                <a:solidFill>
                  <a:schemeClr val="bg1"/>
                </a:solidFill>
              </a:defRPr>
            </a:lvl1pPr>
            <a:lvl2pPr>
              <a:defRPr sz="1600" b="0">
                <a:solidFill>
                  <a:schemeClr val="bg1"/>
                </a:solidFill>
              </a:defRPr>
            </a:lvl2pPr>
            <a:lvl3pPr>
              <a:defRPr sz="6000"/>
            </a:lvl3pPr>
            <a:lvl4pPr>
              <a:defRPr sz="6000"/>
            </a:lvl4pPr>
            <a:lvl5pPr>
              <a:defRPr sz="6000"/>
            </a:lvl5pPr>
          </a:lstStyle>
          <a:p>
            <a:pPr lvl="0"/>
            <a:r>
              <a:rPr lang="en-US"/>
              <a:t>Click to edit Master text styles</a:t>
            </a:r>
          </a:p>
          <a:p>
            <a:pPr lvl="1"/>
            <a:r>
              <a:rPr lang="en-US"/>
              <a:t>Second level</a:t>
            </a:r>
          </a:p>
        </p:txBody>
      </p:sp>
      <p:pic>
        <p:nvPicPr>
          <p:cNvPr id="9" name="Picture 8">
            <a:extLst>
              <a:ext uri="{FF2B5EF4-FFF2-40B4-BE49-F238E27FC236}">
                <a16:creationId xmlns:a16="http://schemas.microsoft.com/office/drawing/2014/main" id="{FC4BC3C9-1395-2645-87C1-C0435E7FB0C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371863162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mage Agenda 3">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7FE991-A877-4767-B1CA-512FB5B04D95}"/>
              </a:ext>
            </a:extLst>
          </p:cNvPr>
          <p:cNvSpPr>
            <a:spLocks noGrp="1"/>
          </p:cNvSpPr>
          <p:nvPr>
            <p:ph type="title" hasCustomPrompt="1"/>
          </p:nvPr>
        </p:nvSpPr>
        <p:spPr>
          <a:xfrm>
            <a:off x="511176" y="1600200"/>
            <a:ext cx="2971798" cy="525463"/>
          </a:xfrm>
        </p:spPr>
        <p:txBody>
          <a:bodyPr/>
          <a:lstStyle>
            <a:lvl1pPr>
              <a:defRPr>
                <a:solidFill>
                  <a:schemeClr val="tx1"/>
                </a:solidFill>
              </a:defRPr>
            </a:lvl1pPr>
          </a:lstStyle>
          <a:p>
            <a:r>
              <a:rPr lang="en-GB"/>
              <a:t>Agenda</a:t>
            </a:r>
          </a:p>
        </p:txBody>
      </p:sp>
      <p:sp>
        <p:nvSpPr>
          <p:cNvPr id="6" name="Picture Placeholder 5">
            <a:extLst>
              <a:ext uri="{FF2B5EF4-FFF2-40B4-BE49-F238E27FC236}">
                <a16:creationId xmlns:a16="http://schemas.microsoft.com/office/drawing/2014/main" id="{627EE949-DAB3-4E3E-BACE-0854D8E22185}"/>
              </a:ext>
            </a:extLst>
          </p:cNvPr>
          <p:cNvSpPr>
            <a:spLocks noGrp="1"/>
          </p:cNvSpPr>
          <p:nvPr>
            <p:ph type="pic" sz="quarter" idx="11"/>
          </p:nvPr>
        </p:nvSpPr>
        <p:spPr>
          <a:xfrm>
            <a:off x="3584575" y="3478212"/>
            <a:ext cx="2460625" cy="2903538"/>
          </a:xfrm>
        </p:spPr>
        <p:txBody>
          <a:bodyPr/>
          <a:lstStyle/>
          <a:p>
            <a:r>
              <a:rPr lang="en-GB" dirty="0"/>
              <a:t>Click icon to add picture</a:t>
            </a:r>
          </a:p>
        </p:txBody>
      </p:sp>
      <p:sp>
        <p:nvSpPr>
          <p:cNvPr id="9" name="Picture Placeholder 5">
            <a:extLst>
              <a:ext uri="{FF2B5EF4-FFF2-40B4-BE49-F238E27FC236}">
                <a16:creationId xmlns:a16="http://schemas.microsoft.com/office/drawing/2014/main" id="{B02182EA-23EB-4F80-85DC-273E369D441D}"/>
              </a:ext>
            </a:extLst>
          </p:cNvPr>
          <p:cNvSpPr>
            <a:spLocks noGrp="1"/>
          </p:cNvSpPr>
          <p:nvPr>
            <p:ph type="pic" sz="quarter" idx="14"/>
          </p:nvPr>
        </p:nvSpPr>
        <p:spPr>
          <a:xfrm>
            <a:off x="6146800" y="3478212"/>
            <a:ext cx="2460625" cy="2903538"/>
          </a:xfrm>
        </p:spPr>
        <p:txBody>
          <a:bodyPr/>
          <a:lstStyle/>
          <a:p>
            <a:r>
              <a:rPr lang="en-GB" dirty="0"/>
              <a:t>Click icon to add picture</a:t>
            </a:r>
          </a:p>
        </p:txBody>
      </p:sp>
      <p:sp>
        <p:nvSpPr>
          <p:cNvPr id="10" name="Picture Placeholder 5">
            <a:extLst>
              <a:ext uri="{FF2B5EF4-FFF2-40B4-BE49-F238E27FC236}">
                <a16:creationId xmlns:a16="http://schemas.microsoft.com/office/drawing/2014/main" id="{F41C082D-D2E8-46DF-B484-21B3330683E6}"/>
              </a:ext>
            </a:extLst>
          </p:cNvPr>
          <p:cNvSpPr>
            <a:spLocks noGrp="1"/>
          </p:cNvSpPr>
          <p:nvPr>
            <p:ph type="pic" sz="quarter" idx="15"/>
          </p:nvPr>
        </p:nvSpPr>
        <p:spPr>
          <a:xfrm>
            <a:off x="8704262" y="3478212"/>
            <a:ext cx="2460625" cy="2903538"/>
          </a:xfrm>
        </p:spPr>
        <p:txBody>
          <a:bodyPr/>
          <a:lstStyle/>
          <a:p>
            <a:r>
              <a:rPr lang="en-GB" dirty="0"/>
              <a:t>Click icon to add picture</a:t>
            </a:r>
          </a:p>
        </p:txBody>
      </p:sp>
      <p:sp>
        <p:nvSpPr>
          <p:cNvPr id="11" name="Text Placeholder 10">
            <a:extLst>
              <a:ext uri="{FF2B5EF4-FFF2-40B4-BE49-F238E27FC236}">
                <a16:creationId xmlns:a16="http://schemas.microsoft.com/office/drawing/2014/main" id="{FF56D822-4BE8-4265-9502-3BFA008CC373}"/>
              </a:ext>
            </a:extLst>
          </p:cNvPr>
          <p:cNvSpPr>
            <a:spLocks noGrp="1"/>
          </p:cNvSpPr>
          <p:nvPr>
            <p:ph type="body" sz="quarter" idx="16"/>
          </p:nvPr>
        </p:nvSpPr>
        <p:spPr>
          <a:xfrm>
            <a:off x="3584575" y="1601787"/>
            <a:ext cx="2460625" cy="17748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10">
            <a:extLst>
              <a:ext uri="{FF2B5EF4-FFF2-40B4-BE49-F238E27FC236}">
                <a16:creationId xmlns:a16="http://schemas.microsoft.com/office/drawing/2014/main" id="{4EAAA0CC-1E20-4497-9131-AC03BF97EE48}"/>
              </a:ext>
            </a:extLst>
          </p:cNvPr>
          <p:cNvSpPr>
            <a:spLocks noGrp="1"/>
          </p:cNvSpPr>
          <p:nvPr>
            <p:ph type="body" sz="quarter" idx="17"/>
          </p:nvPr>
        </p:nvSpPr>
        <p:spPr>
          <a:xfrm>
            <a:off x="6146800" y="1601787"/>
            <a:ext cx="2460625" cy="17748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10">
            <a:extLst>
              <a:ext uri="{FF2B5EF4-FFF2-40B4-BE49-F238E27FC236}">
                <a16:creationId xmlns:a16="http://schemas.microsoft.com/office/drawing/2014/main" id="{CBA11F3B-2B6C-4112-9F86-27277516ECB4}"/>
              </a:ext>
            </a:extLst>
          </p:cNvPr>
          <p:cNvSpPr>
            <a:spLocks noGrp="1"/>
          </p:cNvSpPr>
          <p:nvPr>
            <p:ph type="body" sz="quarter" idx="18"/>
          </p:nvPr>
        </p:nvSpPr>
        <p:spPr>
          <a:xfrm>
            <a:off x="8707438" y="1601787"/>
            <a:ext cx="2460625" cy="17748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841175069"/>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ation and Text">
    <p:bg>
      <p:bgPr>
        <a:solidFill>
          <a:schemeClr val="accent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045DACD-B0AF-402D-986B-4E6C0C7FA717}"/>
              </a:ext>
            </a:extLst>
          </p:cNvPr>
          <p:cNvSpPr>
            <a:spLocks noGrp="1"/>
          </p:cNvSpPr>
          <p:nvPr>
            <p:ph type="ftr" sz="quarter" idx="11"/>
          </p:nvPr>
        </p:nvSpPr>
        <p:spPr/>
        <p:txBody>
          <a:bodyPr/>
          <a:lstStyle>
            <a:lvl1pPr>
              <a:defRPr>
                <a:solidFill>
                  <a:srgbClr val="666666"/>
                </a:solidFill>
              </a:defRPr>
            </a:lvl1pPr>
          </a:lstStyle>
          <a:p>
            <a:endParaRPr lang="en-GB"/>
          </a:p>
        </p:txBody>
      </p:sp>
      <p:sp>
        <p:nvSpPr>
          <p:cNvPr id="5" name="Slide Number Placeholder 4">
            <a:extLst>
              <a:ext uri="{FF2B5EF4-FFF2-40B4-BE49-F238E27FC236}">
                <a16:creationId xmlns:a16="http://schemas.microsoft.com/office/drawing/2014/main" id="{B4935CAB-0460-4258-88E9-D9AACE5731F9}"/>
              </a:ext>
            </a:extLst>
          </p:cNvPr>
          <p:cNvSpPr>
            <a:spLocks noGrp="1"/>
          </p:cNvSpPr>
          <p:nvPr>
            <p:ph type="sldNum" sz="quarter" idx="12"/>
          </p:nvPr>
        </p:nvSpPr>
        <p:spPr/>
        <p:txBody>
          <a:bodyPr/>
          <a:lstStyle>
            <a:lvl1pPr>
              <a:defRPr>
                <a:solidFill>
                  <a:srgbClr val="666666"/>
                </a:solidFill>
              </a:defRPr>
            </a:lvl1pPr>
          </a:lstStyle>
          <a:p>
            <a:fld id="{54B1A0A0-1014-43B9-AECC-F6512CB9E662}" type="slidenum">
              <a:rPr lang="en-GB" smtClean="0"/>
              <a:pPr/>
              <a:t>‹#›</a:t>
            </a:fld>
            <a:endParaRPr lang="en-GB"/>
          </a:p>
        </p:txBody>
      </p:sp>
      <p:sp>
        <p:nvSpPr>
          <p:cNvPr id="7" name="Text Placeholder 6">
            <a:extLst>
              <a:ext uri="{FF2B5EF4-FFF2-40B4-BE49-F238E27FC236}">
                <a16:creationId xmlns:a16="http://schemas.microsoft.com/office/drawing/2014/main" id="{712C31A6-7521-419C-AFD2-645CA9BC1616}"/>
              </a:ext>
            </a:extLst>
          </p:cNvPr>
          <p:cNvSpPr>
            <a:spLocks noGrp="1"/>
          </p:cNvSpPr>
          <p:nvPr>
            <p:ph type="body" sz="quarter" idx="13"/>
          </p:nvPr>
        </p:nvSpPr>
        <p:spPr>
          <a:xfrm>
            <a:off x="1099458" y="1630800"/>
            <a:ext cx="5003800" cy="4356061"/>
          </a:xfrm>
        </p:spPr>
        <p:txBody>
          <a:bodyPr/>
          <a:lstStyle>
            <a:lvl1pPr>
              <a:spcAft>
                <a:spcPts val="4535"/>
              </a:spcAft>
              <a:defRPr sz="6000" b="1">
                <a:solidFill>
                  <a:srgbClr val="444444"/>
                </a:solidFill>
              </a:defRPr>
            </a:lvl1pPr>
            <a:lvl2pPr>
              <a:defRPr sz="1600" b="0">
                <a:solidFill>
                  <a:srgbClr val="444444"/>
                </a:solidFill>
              </a:defRPr>
            </a:lvl2pPr>
            <a:lvl3pPr>
              <a:defRPr sz="6000"/>
            </a:lvl3pPr>
            <a:lvl4pPr>
              <a:defRPr sz="6000"/>
            </a:lvl4pPr>
            <a:lvl5pPr>
              <a:defRPr sz="6000"/>
            </a:lvl5pPr>
          </a:lstStyle>
          <a:p>
            <a:pPr lvl="0"/>
            <a:r>
              <a:rPr lang="en-US"/>
              <a:t>Click to edit Master text styles</a:t>
            </a:r>
          </a:p>
          <a:p>
            <a:pPr lvl="1"/>
            <a:r>
              <a:rPr lang="en-US"/>
              <a:t>Second level</a:t>
            </a:r>
          </a:p>
        </p:txBody>
      </p:sp>
      <p:sp>
        <p:nvSpPr>
          <p:cNvPr id="2" name="Title 1">
            <a:extLst>
              <a:ext uri="{FF2B5EF4-FFF2-40B4-BE49-F238E27FC236}">
                <a16:creationId xmlns:a16="http://schemas.microsoft.com/office/drawing/2014/main" id="{AC8A4121-B46C-4E94-B818-07D21FBACF97}"/>
              </a:ext>
            </a:extLst>
          </p:cNvPr>
          <p:cNvSpPr>
            <a:spLocks noGrp="1"/>
          </p:cNvSpPr>
          <p:nvPr>
            <p:ph type="title"/>
          </p:nvPr>
        </p:nvSpPr>
        <p:spPr>
          <a:xfrm>
            <a:off x="6839999" y="1630800"/>
            <a:ext cx="4656725" cy="1080000"/>
          </a:xfrm>
        </p:spPr>
        <p:txBody>
          <a:bodyPr/>
          <a:lstStyle>
            <a:lvl1pPr>
              <a:defRPr sz="2470">
                <a:solidFill>
                  <a:srgbClr val="444444"/>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7C5B1B1-2C30-4FBB-9A09-B19A5FF8EBC5}"/>
              </a:ext>
            </a:extLst>
          </p:cNvPr>
          <p:cNvSpPr>
            <a:spLocks noGrp="1"/>
          </p:cNvSpPr>
          <p:nvPr>
            <p:ph type="body" sz="quarter" idx="14"/>
          </p:nvPr>
        </p:nvSpPr>
        <p:spPr>
          <a:xfrm>
            <a:off x="6840537" y="3014357"/>
            <a:ext cx="4656137" cy="2987676"/>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ource Placeholder 7">
            <a:extLst>
              <a:ext uri="{FF2B5EF4-FFF2-40B4-BE49-F238E27FC236}">
                <a16:creationId xmlns:a16="http://schemas.microsoft.com/office/drawing/2014/main" id="{69F9A85D-0053-46F7-B300-38C67D0C3CF5}"/>
              </a:ext>
            </a:extLst>
          </p:cNvPr>
          <p:cNvSpPr>
            <a:spLocks noGrp="1"/>
          </p:cNvSpPr>
          <p:nvPr>
            <p:ph type="body" sz="quarter" idx="15"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lang="en-GB" sz="800" b="0" smtClean="0">
                <a:solidFill>
                  <a:srgbClr val="666666"/>
                </a:solidFill>
                <a:effectLst/>
              </a:defRPr>
            </a:lvl1pPr>
            <a:lvl2pPr>
              <a:spcAft>
                <a:spcPts val="200"/>
              </a:spcAft>
              <a:defRPr sz="800">
                <a:solidFill>
                  <a:srgbClr val="666666"/>
                </a:solidFill>
              </a:defRPr>
            </a:lvl2pPr>
            <a:lvl3pPr marL="0" indent="0">
              <a:spcAft>
                <a:spcPts val="200"/>
              </a:spcAft>
              <a:buNone/>
              <a:defRPr sz="1000" b="1">
                <a:solidFill>
                  <a:srgbClr val="666666"/>
                </a:solidFill>
              </a:defRPr>
            </a:lvl3pPr>
            <a:lvl4pPr marL="252000">
              <a:spcAft>
                <a:spcPts val="200"/>
              </a:spcAft>
              <a:defRPr sz="800">
                <a:solidFill>
                  <a:srgbClr val="666666"/>
                </a:solidFill>
              </a:defRPr>
            </a:lvl4pPr>
            <a:lvl5pPr marL="504000">
              <a:spcAft>
                <a:spcPts val="200"/>
              </a:spcAft>
              <a:defRPr sz="800">
                <a:solidFill>
                  <a:srgbClr val="666666"/>
                </a:solidFill>
              </a:defRPr>
            </a:lvl5pPr>
          </a:lstStyle>
          <a:p>
            <a:pPr lvl="0"/>
            <a:r>
              <a:rPr lang="en-US"/>
              <a:t>Source goes here, aligned to the bottom guide.</a:t>
            </a:r>
          </a:p>
        </p:txBody>
      </p:sp>
      <p:pic>
        <p:nvPicPr>
          <p:cNvPr id="10" name="Picture 9">
            <a:extLst>
              <a:ext uri="{FF2B5EF4-FFF2-40B4-BE49-F238E27FC236}">
                <a16:creationId xmlns:a16="http://schemas.microsoft.com/office/drawing/2014/main" id="{8E63BFB3-EBC5-BC4D-A428-FF012D549A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21984550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Quotation and Text Dark">
    <p:bg>
      <p:bgPr>
        <a:solidFill>
          <a:schemeClr val="tx2"/>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045DACD-B0AF-402D-986B-4E6C0C7FA71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B4935CAB-0460-4258-88E9-D9AACE5731F9}"/>
              </a:ext>
            </a:extLst>
          </p:cNvPr>
          <p:cNvSpPr>
            <a:spLocks noGrp="1"/>
          </p:cNvSpPr>
          <p:nvPr>
            <p:ph type="sldNum" sz="quarter" idx="12"/>
          </p:nvPr>
        </p:nvSpPr>
        <p:spPr/>
        <p:txBody>
          <a:bodyPr/>
          <a:lstStyle>
            <a:lvl1pPr>
              <a:defRPr>
                <a:solidFill>
                  <a:schemeClr val="bg1"/>
                </a:solidFill>
              </a:defRPr>
            </a:lvl1pPr>
          </a:lstStyle>
          <a:p>
            <a:fld id="{54B1A0A0-1014-43B9-AECC-F6512CB9E662}" type="slidenum">
              <a:rPr lang="en-GB" smtClean="0"/>
              <a:pPr/>
              <a:t>‹#›</a:t>
            </a:fld>
            <a:endParaRPr lang="en-GB"/>
          </a:p>
        </p:txBody>
      </p:sp>
      <p:sp>
        <p:nvSpPr>
          <p:cNvPr id="7" name="Text Placeholder 6">
            <a:extLst>
              <a:ext uri="{FF2B5EF4-FFF2-40B4-BE49-F238E27FC236}">
                <a16:creationId xmlns:a16="http://schemas.microsoft.com/office/drawing/2014/main" id="{712C31A6-7521-419C-AFD2-645CA9BC1616}"/>
              </a:ext>
            </a:extLst>
          </p:cNvPr>
          <p:cNvSpPr>
            <a:spLocks noGrp="1"/>
          </p:cNvSpPr>
          <p:nvPr>
            <p:ph type="body" sz="quarter" idx="13"/>
          </p:nvPr>
        </p:nvSpPr>
        <p:spPr>
          <a:xfrm>
            <a:off x="1099458" y="1630069"/>
            <a:ext cx="5003800" cy="4356061"/>
          </a:xfrm>
        </p:spPr>
        <p:txBody>
          <a:bodyPr/>
          <a:lstStyle>
            <a:lvl1pPr>
              <a:spcAft>
                <a:spcPts val="4535"/>
              </a:spcAft>
              <a:defRPr sz="6000" b="1">
                <a:solidFill>
                  <a:schemeClr val="accent1"/>
                </a:solidFill>
              </a:defRPr>
            </a:lvl1pPr>
            <a:lvl2pPr>
              <a:defRPr sz="1600" b="0">
                <a:solidFill>
                  <a:schemeClr val="accent1"/>
                </a:solidFill>
              </a:defRPr>
            </a:lvl2pPr>
            <a:lvl3pPr>
              <a:defRPr sz="6000"/>
            </a:lvl3pPr>
            <a:lvl4pPr>
              <a:defRPr sz="6000"/>
            </a:lvl4pPr>
            <a:lvl5pPr>
              <a:defRPr sz="6000"/>
            </a:lvl5pPr>
          </a:lstStyle>
          <a:p>
            <a:pPr lvl="0"/>
            <a:r>
              <a:rPr lang="en-US"/>
              <a:t>Click to edit Master text styles</a:t>
            </a:r>
          </a:p>
          <a:p>
            <a:pPr lvl="1"/>
            <a:r>
              <a:rPr lang="en-US"/>
              <a:t>Second level</a:t>
            </a:r>
          </a:p>
        </p:txBody>
      </p:sp>
      <p:sp>
        <p:nvSpPr>
          <p:cNvPr id="2" name="Title 1">
            <a:extLst>
              <a:ext uri="{FF2B5EF4-FFF2-40B4-BE49-F238E27FC236}">
                <a16:creationId xmlns:a16="http://schemas.microsoft.com/office/drawing/2014/main" id="{AC8A4121-B46C-4E94-B818-07D21FBACF97}"/>
              </a:ext>
            </a:extLst>
          </p:cNvPr>
          <p:cNvSpPr>
            <a:spLocks noGrp="1"/>
          </p:cNvSpPr>
          <p:nvPr>
            <p:ph type="title"/>
          </p:nvPr>
        </p:nvSpPr>
        <p:spPr>
          <a:xfrm>
            <a:off x="6839999" y="1630069"/>
            <a:ext cx="4656675" cy="1080000"/>
          </a:xfrm>
        </p:spPr>
        <p:txBody>
          <a:bodyPr/>
          <a:lstStyle>
            <a:lvl1pPr>
              <a:defRPr sz="247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7C5B1B1-2C30-4FBB-9A09-B19A5FF8EBC5}"/>
              </a:ext>
            </a:extLst>
          </p:cNvPr>
          <p:cNvSpPr>
            <a:spLocks noGrp="1"/>
          </p:cNvSpPr>
          <p:nvPr>
            <p:ph type="body" sz="quarter" idx="14"/>
          </p:nvPr>
        </p:nvSpPr>
        <p:spPr>
          <a:xfrm>
            <a:off x="6840537" y="3008394"/>
            <a:ext cx="4656087" cy="29876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ource Placeholder 7">
            <a:extLst>
              <a:ext uri="{FF2B5EF4-FFF2-40B4-BE49-F238E27FC236}">
                <a16:creationId xmlns:a16="http://schemas.microsoft.com/office/drawing/2014/main" id="{06E9643A-57BF-448F-9752-C09A545646D5}"/>
              </a:ext>
            </a:extLst>
          </p:cNvPr>
          <p:cNvSpPr>
            <a:spLocks noGrp="1"/>
          </p:cNvSpPr>
          <p:nvPr>
            <p:ph type="body" sz="quarter" idx="24"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lang="en-GB" sz="800" b="0" smtClean="0">
                <a:solidFill>
                  <a:schemeClr val="bg1"/>
                </a:solidFill>
                <a:effectLst/>
              </a:defRPr>
            </a:lvl1pPr>
            <a:lvl2pPr>
              <a:spcAft>
                <a:spcPts val="200"/>
              </a:spcAft>
              <a:defRPr sz="800">
                <a:solidFill>
                  <a:schemeClr val="bg1"/>
                </a:solidFill>
              </a:defRPr>
            </a:lvl2pPr>
            <a:lvl3pPr marL="0" indent="0">
              <a:spcAft>
                <a:spcPts val="200"/>
              </a:spcAft>
              <a:buNone/>
              <a:defRPr sz="1000" b="1">
                <a:solidFill>
                  <a:schemeClr val="bg1"/>
                </a:solidFill>
              </a:defRPr>
            </a:lvl3pPr>
            <a:lvl4pPr marL="252000">
              <a:spcAft>
                <a:spcPts val="200"/>
              </a:spcAft>
              <a:defRPr sz="800">
                <a:solidFill>
                  <a:schemeClr val="bg1"/>
                </a:solidFill>
              </a:defRPr>
            </a:lvl4pPr>
            <a:lvl5pPr marL="504000">
              <a:spcAft>
                <a:spcPts val="200"/>
              </a:spcAft>
              <a:defRPr sz="800">
                <a:solidFill>
                  <a:schemeClr val="bg1"/>
                </a:solidFill>
              </a:defRPr>
            </a:lvl5pPr>
          </a:lstStyle>
          <a:p>
            <a:pPr lvl="0"/>
            <a:r>
              <a:rPr lang="en-US"/>
              <a:t>Source goes here, aligned to the bottom guide.</a:t>
            </a:r>
          </a:p>
        </p:txBody>
      </p:sp>
      <p:pic>
        <p:nvPicPr>
          <p:cNvPr id="10" name="Picture 9">
            <a:extLst>
              <a:ext uri="{FF2B5EF4-FFF2-40B4-BE49-F238E27FC236}">
                <a16:creationId xmlns:a16="http://schemas.microsoft.com/office/drawing/2014/main" id="{8D73AACA-400E-614A-B72D-B5754F326F8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1711791192"/>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Quotation and Text Teal">
    <p:bg>
      <p:bgPr>
        <a:solidFill>
          <a:schemeClr val="accent2"/>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045DACD-B0AF-402D-986B-4E6C0C7FA71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B4935CAB-0460-4258-88E9-D9AACE5731F9}"/>
              </a:ext>
            </a:extLst>
          </p:cNvPr>
          <p:cNvSpPr>
            <a:spLocks noGrp="1"/>
          </p:cNvSpPr>
          <p:nvPr>
            <p:ph type="sldNum" sz="quarter" idx="12"/>
          </p:nvPr>
        </p:nvSpPr>
        <p:spPr/>
        <p:txBody>
          <a:bodyPr/>
          <a:lstStyle>
            <a:lvl1pPr>
              <a:defRPr>
                <a:solidFill>
                  <a:schemeClr val="bg1"/>
                </a:solidFill>
              </a:defRPr>
            </a:lvl1pPr>
          </a:lstStyle>
          <a:p>
            <a:fld id="{54B1A0A0-1014-43B9-AECC-F6512CB9E662}" type="slidenum">
              <a:rPr lang="en-GB" smtClean="0"/>
              <a:pPr/>
              <a:t>‹#›</a:t>
            </a:fld>
            <a:endParaRPr lang="en-GB"/>
          </a:p>
        </p:txBody>
      </p:sp>
      <p:sp>
        <p:nvSpPr>
          <p:cNvPr id="7" name="Text Placeholder 6">
            <a:extLst>
              <a:ext uri="{FF2B5EF4-FFF2-40B4-BE49-F238E27FC236}">
                <a16:creationId xmlns:a16="http://schemas.microsoft.com/office/drawing/2014/main" id="{712C31A6-7521-419C-AFD2-645CA9BC1616}"/>
              </a:ext>
            </a:extLst>
          </p:cNvPr>
          <p:cNvSpPr>
            <a:spLocks noGrp="1"/>
          </p:cNvSpPr>
          <p:nvPr>
            <p:ph type="body" sz="quarter" idx="13"/>
          </p:nvPr>
        </p:nvSpPr>
        <p:spPr>
          <a:xfrm>
            <a:off x="1099458" y="1630069"/>
            <a:ext cx="5003800" cy="4356061"/>
          </a:xfrm>
        </p:spPr>
        <p:txBody>
          <a:bodyPr/>
          <a:lstStyle>
            <a:lvl1pPr>
              <a:spcAft>
                <a:spcPts val="4535"/>
              </a:spcAft>
              <a:defRPr sz="6000" b="1">
                <a:solidFill>
                  <a:schemeClr val="bg1"/>
                </a:solidFill>
              </a:defRPr>
            </a:lvl1pPr>
            <a:lvl2pPr>
              <a:defRPr sz="1600" b="0">
                <a:solidFill>
                  <a:schemeClr val="bg1"/>
                </a:solidFill>
              </a:defRPr>
            </a:lvl2pPr>
            <a:lvl3pPr>
              <a:defRPr sz="6000"/>
            </a:lvl3pPr>
            <a:lvl4pPr>
              <a:defRPr sz="6000"/>
            </a:lvl4pPr>
            <a:lvl5pPr>
              <a:defRPr sz="6000"/>
            </a:lvl5pPr>
          </a:lstStyle>
          <a:p>
            <a:pPr lvl="0"/>
            <a:r>
              <a:rPr lang="en-US"/>
              <a:t>Click to edit Master text styles</a:t>
            </a:r>
          </a:p>
          <a:p>
            <a:pPr lvl="1"/>
            <a:r>
              <a:rPr lang="en-US"/>
              <a:t>Second level</a:t>
            </a:r>
          </a:p>
        </p:txBody>
      </p:sp>
      <p:sp>
        <p:nvSpPr>
          <p:cNvPr id="2" name="Title 1">
            <a:extLst>
              <a:ext uri="{FF2B5EF4-FFF2-40B4-BE49-F238E27FC236}">
                <a16:creationId xmlns:a16="http://schemas.microsoft.com/office/drawing/2014/main" id="{AC8A4121-B46C-4E94-B818-07D21FBACF97}"/>
              </a:ext>
            </a:extLst>
          </p:cNvPr>
          <p:cNvSpPr>
            <a:spLocks noGrp="1"/>
          </p:cNvSpPr>
          <p:nvPr>
            <p:ph type="title"/>
          </p:nvPr>
        </p:nvSpPr>
        <p:spPr>
          <a:xfrm>
            <a:off x="6839999" y="1630069"/>
            <a:ext cx="4656675" cy="1080000"/>
          </a:xfrm>
        </p:spPr>
        <p:txBody>
          <a:bodyPr/>
          <a:lstStyle>
            <a:lvl1pPr>
              <a:defRPr sz="247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A7C5B1B1-2C30-4FBB-9A09-B19A5FF8EBC5}"/>
              </a:ext>
            </a:extLst>
          </p:cNvPr>
          <p:cNvSpPr>
            <a:spLocks noGrp="1"/>
          </p:cNvSpPr>
          <p:nvPr>
            <p:ph type="body" sz="quarter" idx="14"/>
          </p:nvPr>
        </p:nvSpPr>
        <p:spPr>
          <a:xfrm>
            <a:off x="6840537" y="3008394"/>
            <a:ext cx="4656087" cy="29876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ource Placeholder 7">
            <a:extLst>
              <a:ext uri="{FF2B5EF4-FFF2-40B4-BE49-F238E27FC236}">
                <a16:creationId xmlns:a16="http://schemas.microsoft.com/office/drawing/2014/main" id="{06E9643A-57BF-448F-9752-C09A545646D5}"/>
              </a:ext>
            </a:extLst>
          </p:cNvPr>
          <p:cNvSpPr>
            <a:spLocks noGrp="1"/>
          </p:cNvSpPr>
          <p:nvPr>
            <p:ph type="body" sz="quarter" idx="24"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lang="en-GB" sz="800" b="0" smtClean="0">
                <a:solidFill>
                  <a:schemeClr val="bg1"/>
                </a:solidFill>
                <a:effectLst/>
              </a:defRPr>
            </a:lvl1pPr>
            <a:lvl2pPr>
              <a:spcAft>
                <a:spcPts val="200"/>
              </a:spcAft>
              <a:defRPr sz="800">
                <a:solidFill>
                  <a:schemeClr val="bg1"/>
                </a:solidFill>
              </a:defRPr>
            </a:lvl2pPr>
            <a:lvl3pPr marL="0" indent="0">
              <a:spcAft>
                <a:spcPts val="200"/>
              </a:spcAft>
              <a:buNone/>
              <a:defRPr sz="1000" b="1">
                <a:solidFill>
                  <a:schemeClr val="bg1"/>
                </a:solidFill>
              </a:defRPr>
            </a:lvl3pPr>
            <a:lvl4pPr marL="252000">
              <a:spcAft>
                <a:spcPts val="200"/>
              </a:spcAft>
              <a:defRPr sz="800">
                <a:solidFill>
                  <a:schemeClr val="bg1"/>
                </a:solidFill>
              </a:defRPr>
            </a:lvl4pPr>
            <a:lvl5pPr marL="504000">
              <a:spcAft>
                <a:spcPts val="200"/>
              </a:spcAft>
              <a:defRPr sz="800">
                <a:solidFill>
                  <a:schemeClr val="bg1"/>
                </a:solidFill>
              </a:defRPr>
            </a:lvl5pPr>
          </a:lstStyle>
          <a:p>
            <a:pPr lvl="0"/>
            <a:r>
              <a:rPr lang="en-US"/>
              <a:t>Source goes here, aligned to the bottom guide.</a:t>
            </a:r>
          </a:p>
        </p:txBody>
      </p:sp>
      <p:pic>
        <p:nvPicPr>
          <p:cNvPr id="10" name="Picture 9">
            <a:extLst>
              <a:ext uri="{FF2B5EF4-FFF2-40B4-BE49-F238E27FC236}">
                <a16:creationId xmlns:a16="http://schemas.microsoft.com/office/drawing/2014/main" id="{8D73AACA-400E-614A-B72D-B5754F326F8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136212804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and Side Panel">
    <p:spTree>
      <p:nvGrpSpPr>
        <p:cNvPr id="1" name=""/>
        <p:cNvGrpSpPr/>
        <p:nvPr/>
      </p:nvGrpSpPr>
      <p:grpSpPr>
        <a:xfrm>
          <a:off x="0" y="0"/>
          <a:ext cx="0" cy="0"/>
          <a:chOff x="0" y="0"/>
          <a:chExt cx="0" cy="0"/>
        </a:xfrm>
      </p:grpSpPr>
      <p:sp>
        <p:nvSpPr>
          <p:cNvPr id="9" name="Google Shape;382;p30">
            <a:extLst>
              <a:ext uri="{FF2B5EF4-FFF2-40B4-BE49-F238E27FC236}">
                <a16:creationId xmlns:a16="http://schemas.microsoft.com/office/drawing/2014/main" id="{DD272E57-5434-4DA5-B58F-3E8FAF637323}"/>
              </a:ext>
            </a:extLst>
          </p:cNvPr>
          <p:cNvSpPr/>
          <p:nvPr userDrawn="1"/>
        </p:nvSpPr>
        <p:spPr>
          <a:xfrm>
            <a:off x="8708583" y="0"/>
            <a:ext cx="3483600" cy="6858000"/>
          </a:xfrm>
          <a:prstGeom prst="rect">
            <a:avLst/>
          </a:prstGeom>
          <a:solidFill>
            <a:srgbClr val="EEEEEE"/>
          </a:solidFill>
          <a:ln>
            <a:noFill/>
          </a:ln>
        </p:spPr>
        <p:txBody>
          <a:bodyPr spcFirstLastPara="1" wrap="square" lIns="60950" tIns="60950" rIns="60950" bIns="60950" anchor="ctr" anchorCtr="0">
            <a:noAutofit/>
          </a:bodyPr>
          <a:lstStyle/>
          <a:p>
            <a:endParaRPr sz="622"/>
          </a:p>
        </p:txBody>
      </p:sp>
      <p:sp>
        <p:nvSpPr>
          <p:cNvPr id="3" name="Content Placeholder 2">
            <a:extLst>
              <a:ext uri="{FF2B5EF4-FFF2-40B4-BE49-F238E27FC236}">
                <a16:creationId xmlns:a16="http://schemas.microsoft.com/office/drawing/2014/main" id="{C6437434-BB22-40C5-BDD9-E53C1C6F8699}"/>
              </a:ext>
            </a:extLst>
          </p:cNvPr>
          <p:cNvSpPr>
            <a:spLocks noGrp="1"/>
          </p:cNvSpPr>
          <p:nvPr>
            <p:ph idx="1"/>
          </p:nvPr>
        </p:nvSpPr>
        <p:spPr>
          <a:xfrm>
            <a:off x="1095355" y="2747524"/>
            <a:ext cx="7236000" cy="3203575"/>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59B1EC6A-3BD0-4B5C-BE35-1BCA9ED185C5}"/>
              </a:ext>
            </a:extLst>
          </p:cNvPr>
          <p:cNvSpPr>
            <a:spLocks noGrp="1"/>
          </p:cNvSpPr>
          <p:nvPr>
            <p:ph type="ftr" sz="quarter" idx="11"/>
          </p:nvPr>
        </p:nvSpPr>
        <p:spPr/>
        <p:txBody>
          <a:bodyPr/>
          <a:lstStyle>
            <a:lvl1pPr>
              <a:defRPr>
                <a:solidFill>
                  <a:srgbClr val="666666"/>
                </a:solidFill>
              </a:defRPr>
            </a:lvl1pPr>
          </a:lstStyle>
          <a:p>
            <a:endParaRPr lang="en-GB"/>
          </a:p>
        </p:txBody>
      </p:sp>
      <p:sp>
        <p:nvSpPr>
          <p:cNvPr id="6" name="Slide Number Placeholder 5">
            <a:extLst>
              <a:ext uri="{FF2B5EF4-FFF2-40B4-BE49-F238E27FC236}">
                <a16:creationId xmlns:a16="http://schemas.microsoft.com/office/drawing/2014/main" id="{31DEADBF-011F-417A-A20B-D5A1B678975B}"/>
              </a:ext>
            </a:extLst>
          </p:cNvPr>
          <p:cNvSpPr>
            <a:spLocks noGrp="1"/>
          </p:cNvSpPr>
          <p:nvPr>
            <p:ph type="sldNum" sz="quarter" idx="12"/>
          </p:nvPr>
        </p:nvSpPr>
        <p:spPr/>
        <p:txBody>
          <a:bodyPr/>
          <a:lstStyle>
            <a:lvl1pPr>
              <a:defRPr>
                <a:solidFill>
                  <a:srgbClr val="666666"/>
                </a:solidFill>
              </a:defRPr>
            </a:lvl1pPr>
          </a:lstStyle>
          <a:p>
            <a:fld id="{54B1A0A0-1014-43B9-AECC-F6512CB9E662}" type="slidenum">
              <a:rPr lang="en-GB" smtClean="0"/>
              <a:pPr/>
              <a:t>‹#›</a:t>
            </a:fld>
            <a:endParaRPr lang="en-GB"/>
          </a:p>
        </p:txBody>
      </p:sp>
      <p:sp>
        <p:nvSpPr>
          <p:cNvPr id="10" name="Text Placeholder 9">
            <a:extLst>
              <a:ext uri="{FF2B5EF4-FFF2-40B4-BE49-F238E27FC236}">
                <a16:creationId xmlns:a16="http://schemas.microsoft.com/office/drawing/2014/main" id="{AD80B6DF-8BCF-4E12-BE33-ED516EA017FE}"/>
              </a:ext>
            </a:extLst>
          </p:cNvPr>
          <p:cNvSpPr>
            <a:spLocks noGrp="1"/>
          </p:cNvSpPr>
          <p:nvPr>
            <p:ph type="body" sz="quarter" idx="14"/>
          </p:nvPr>
        </p:nvSpPr>
        <p:spPr>
          <a:xfrm>
            <a:off x="8982981" y="1630800"/>
            <a:ext cx="2943907" cy="4292600"/>
          </a:xfrm>
        </p:spPr>
        <p:txBody>
          <a:bodyPr/>
          <a:lstStyle>
            <a:lvl1pPr>
              <a:defRPr>
                <a:solidFill>
                  <a:srgbClr val="666666"/>
                </a:solidFill>
              </a:defRPr>
            </a:lvl1pPr>
            <a:lvl2pPr>
              <a:defRPr>
                <a:solidFill>
                  <a:srgbClr val="444444"/>
                </a:solidFill>
              </a:defRPr>
            </a:lvl2pPr>
            <a:lvl3pPr>
              <a:defRPr>
                <a:solidFill>
                  <a:srgbClr val="666666"/>
                </a:solidFill>
              </a:defRPr>
            </a:lvl3pPr>
            <a:lvl4pPr>
              <a:defRPr>
                <a:solidFill>
                  <a:srgbClr val="666666"/>
                </a:solidFill>
              </a:defRPr>
            </a:lvl4pPr>
            <a:lvl5pPr>
              <a:defRPr>
                <a:solidFill>
                  <a:srgbClr val="66666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Google Shape;170;p15">
            <a:extLst>
              <a:ext uri="{FF2B5EF4-FFF2-40B4-BE49-F238E27FC236}">
                <a16:creationId xmlns:a16="http://schemas.microsoft.com/office/drawing/2014/main" id="{B42A0BB5-3799-ED45-B6A0-C46C72AEC887}"/>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11" name="Text Placeholder 7">
            <a:extLst>
              <a:ext uri="{FF2B5EF4-FFF2-40B4-BE49-F238E27FC236}">
                <a16:creationId xmlns:a16="http://schemas.microsoft.com/office/drawing/2014/main" id="{3DC0BC22-41E4-344B-A81E-5CA17C29579B}"/>
              </a:ext>
            </a:extLst>
          </p:cNvPr>
          <p:cNvSpPr>
            <a:spLocks noGrp="1"/>
          </p:cNvSpPr>
          <p:nvPr>
            <p:ph type="body" sz="quarter" idx="15"/>
          </p:nvPr>
        </p:nvSpPr>
        <p:spPr>
          <a:xfrm>
            <a:off x="1095356" y="1629396"/>
            <a:ext cx="7236000" cy="914174"/>
          </a:xfrm>
        </p:spPr>
        <p:txBody>
          <a:bodyPr/>
          <a:lstStyle>
            <a:lvl1pPr>
              <a:defRPr sz="2200" b="1">
                <a:solidFill>
                  <a:srgbClr val="444444"/>
                </a:solidFill>
              </a:defRPr>
            </a:lvl1pPr>
            <a:lvl2pPr>
              <a:defRPr b="0">
                <a:solidFill>
                  <a:srgbClr val="666666"/>
                </a:solidFill>
              </a:defRPr>
            </a:lvl2pPr>
          </a:lstStyle>
          <a:p>
            <a:pPr lvl="0"/>
            <a:r>
              <a:rPr lang="en-US"/>
              <a:t>Click to edit Master text styles</a:t>
            </a:r>
          </a:p>
        </p:txBody>
      </p:sp>
      <p:sp>
        <p:nvSpPr>
          <p:cNvPr id="13" name="Title 1">
            <a:extLst>
              <a:ext uri="{FF2B5EF4-FFF2-40B4-BE49-F238E27FC236}">
                <a16:creationId xmlns:a16="http://schemas.microsoft.com/office/drawing/2014/main" id="{6BB80742-AB47-DE4B-9F24-D00B6D8F2CDC}"/>
              </a:ext>
            </a:extLst>
          </p:cNvPr>
          <p:cNvSpPr>
            <a:spLocks noGrp="1"/>
          </p:cNvSpPr>
          <p:nvPr>
            <p:ph type="title"/>
          </p:nvPr>
        </p:nvSpPr>
        <p:spPr>
          <a:xfrm>
            <a:off x="1095356" y="123751"/>
            <a:ext cx="7236000" cy="1069095"/>
          </a:xfrm>
        </p:spPr>
        <p:txBody>
          <a:bodyPr anchor="ctr"/>
          <a:lstStyle>
            <a:lvl1pPr>
              <a:defRPr sz="3600">
                <a:solidFill>
                  <a:srgbClr val="444444"/>
                </a:solidFill>
              </a:defRPr>
            </a:lvl1pPr>
          </a:lstStyle>
          <a:p>
            <a:r>
              <a:rPr lang="en-US"/>
              <a:t>Click to edit Master title style</a:t>
            </a:r>
            <a:endParaRPr lang="en-GB"/>
          </a:p>
        </p:txBody>
      </p:sp>
      <p:pic>
        <p:nvPicPr>
          <p:cNvPr id="14" name="Picture 13">
            <a:extLst>
              <a:ext uri="{FF2B5EF4-FFF2-40B4-BE49-F238E27FC236}">
                <a16:creationId xmlns:a16="http://schemas.microsoft.com/office/drawing/2014/main" id="{1BC733C0-7FC9-2049-97EE-3DF0A73DF1C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
        <p:nvSpPr>
          <p:cNvPr id="16" name="Source Placeholder 7">
            <a:extLst>
              <a:ext uri="{FF2B5EF4-FFF2-40B4-BE49-F238E27FC236}">
                <a16:creationId xmlns:a16="http://schemas.microsoft.com/office/drawing/2014/main" id="{5714F7C4-740A-CC48-B0B5-1BE5BBDE8173}"/>
              </a:ext>
            </a:extLst>
          </p:cNvPr>
          <p:cNvSpPr>
            <a:spLocks noGrp="1"/>
          </p:cNvSpPr>
          <p:nvPr>
            <p:ph type="body" sz="quarter" idx="22" hasCustomPrompt="1"/>
          </p:nvPr>
        </p:nvSpPr>
        <p:spPr>
          <a:xfrm>
            <a:off x="1099457" y="6220861"/>
            <a:ext cx="7193429" cy="195814"/>
          </a:xfrm>
          <a:noFill/>
          <a:ln>
            <a:noFill/>
          </a:ln>
          <a:effectLst/>
        </p:spPr>
        <p:txBody>
          <a:bodyPr wrap="square" lIns="0" tIns="36000" bIns="36000" anchor="b" anchorCtr="0">
            <a:spAutoFit/>
          </a:bodyPr>
          <a:lstStyle>
            <a:lvl1pPr>
              <a:spcAft>
                <a:spcPts val="200"/>
              </a:spcAft>
              <a:defRPr sz="800" b="0">
                <a:solidFill>
                  <a:srgbClr val="666666"/>
                </a:solidFill>
              </a:defRPr>
            </a:lvl1pPr>
            <a:lvl2pPr>
              <a:spcAft>
                <a:spcPts val="200"/>
              </a:spcAft>
              <a:defRPr sz="800">
                <a:solidFill>
                  <a:srgbClr val="666666"/>
                </a:solidFill>
              </a:defRPr>
            </a:lvl2pPr>
            <a:lvl3pPr marL="0" indent="0">
              <a:spcAft>
                <a:spcPts val="200"/>
              </a:spcAft>
              <a:buNone/>
              <a:defRPr sz="1000" b="1">
                <a:solidFill>
                  <a:srgbClr val="666666"/>
                </a:solidFill>
              </a:defRPr>
            </a:lvl3pPr>
            <a:lvl4pPr marL="252000">
              <a:spcAft>
                <a:spcPts val="200"/>
              </a:spcAft>
              <a:defRPr sz="800">
                <a:solidFill>
                  <a:srgbClr val="666666"/>
                </a:solidFill>
              </a:defRPr>
            </a:lvl4pPr>
            <a:lvl5pPr marL="504000">
              <a:spcAft>
                <a:spcPts val="200"/>
              </a:spcAft>
              <a:defRPr sz="800">
                <a:solidFill>
                  <a:srgbClr val="666666"/>
                </a:solidFill>
              </a:defRPr>
            </a:lvl5pPr>
          </a:lstStyle>
          <a:p>
            <a:pPr lvl="0"/>
            <a:r>
              <a:rPr lang="en-US"/>
              <a:t>Source goes here, aligned to the bottom guide.</a:t>
            </a:r>
          </a:p>
        </p:txBody>
      </p:sp>
    </p:spTree>
    <p:extLst>
      <p:ext uri="{BB962C8B-B14F-4D97-AF65-F5344CB8AC3E}">
        <p14:creationId xmlns:p14="http://schemas.microsoft.com/office/powerpoint/2010/main" val="796184779"/>
      </p:ext>
    </p:extLst>
  </p:cSld>
  <p:clrMapOvr>
    <a:masterClrMapping/>
  </p:clrMapOvr>
  <p:transition>
    <p:fade/>
  </p:transition>
  <p:extLst>
    <p:ext uri="{DCECCB84-F9BA-43D5-87BE-67443E8EF086}">
      <p15:sldGuideLst xmlns:p15="http://schemas.microsoft.com/office/powerpoint/2012/main">
        <p15:guide id="3" pos="5654">
          <p15:clr>
            <a:srgbClr val="FBAE40"/>
          </p15:clr>
        </p15:guide>
        <p15:guide id="4" pos="7513">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Dark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27878FC-6F43-4B5E-B742-DC72583E5951}"/>
              </a:ext>
            </a:extLst>
          </p:cNvPr>
          <p:cNvSpPr>
            <a:spLocks noGrp="1"/>
          </p:cNvSpPr>
          <p:nvPr>
            <p:ph type="body" sz="quarter" idx="14"/>
          </p:nvPr>
        </p:nvSpPr>
        <p:spPr>
          <a:xfrm>
            <a:off x="1099457" y="1629396"/>
            <a:ext cx="10400399" cy="914174"/>
          </a:xfrm>
        </p:spPr>
        <p:txBody>
          <a:bodyPr/>
          <a:lstStyle>
            <a:lvl1pPr>
              <a:defRPr sz="2200" b="1">
                <a:solidFill>
                  <a:srgbClr val="444444"/>
                </a:solidFill>
              </a:defRPr>
            </a:lvl1pPr>
            <a:lvl2pPr>
              <a:defRPr b="0">
                <a:solidFill>
                  <a:srgbClr val="666666"/>
                </a:solidFill>
              </a:defRPr>
            </a:lvl2pPr>
            <a:lvl3pPr>
              <a:defRPr>
                <a:solidFill>
                  <a:srgbClr val="666666"/>
                </a:solidFill>
              </a:defRPr>
            </a:lvl3pPr>
            <a:lvl4pPr>
              <a:defRPr>
                <a:solidFill>
                  <a:srgbClr val="666666"/>
                </a:solidFill>
              </a:defRPr>
            </a:lvl4pPr>
            <a:lvl5pPr>
              <a:defRPr>
                <a:solidFill>
                  <a:srgbClr val="444444"/>
                </a:solidFill>
              </a:defRPr>
            </a:lvl5pPr>
          </a:lstStyle>
          <a:p>
            <a:pPr lvl="0"/>
            <a:r>
              <a:rPr lang="en-US"/>
              <a:t>Click to edit Master text styles</a:t>
            </a:r>
          </a:p>
        </p:txBody>
      </p:sp>
      <p:sp>
        <p:nvSpPr>
          <p:cNvPr id="3" name="Date Placeholder 2">
            <a:extLst>
              <a:ext uri="{FF2B5EF4-FFF2-40B4-BE49-F238E27FC236}">
                <a16:creationId xmlns:a16="http://schemas.microsoft.com/office/drawing/2014/main" id="{F46A2440-7D69-461C-BF89-456E8B3DF58E}"/>
              </a:ext>
            </a:extLst>
          </p:cNvPr>
          <p:cNvSpPr>
            <a:spLocks noGrp="1"/>
          </p:cNvSpPr>
          <p:nvPr>
            <p:ph type="dt" sz="half" idx="10"/>
          </p:nvPr>
        </p:nvSpPr>
        <p:spPr/>
        <p:txBody>
          <a:bodyPr/>
          <a:lstStyle/>
          <a:p>
            <a:fld id="{B63000AF-9800-AE43-9970-C7BAE4666ED7}" type="datetime1">
              <a:rPr lang="en-GB" smtClean="0"/>
              <a:t>12/03/2024</a:t>
            </a:fld>
            <a:endParaRPr lang="en-GB"/>
          </a:p>
        </p:txBody>
      </p:sp>
      <p:sp>
        <p:nvSpPr>
          <p:cNvPr id="4" name="Footer Placeholder 3">
            <a:extLst>
              <a:ext uri="{FF2B5EF4-FFF2-40B4-BE49-F238E27FC236}">
                <a16:creationId xmlns:a16="http://schemas.microsoft.com/office/drawing/2014/main" id="{685A30B9-93F3-40D3-9123-BD4ED0B65AD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58C68F1-33CC-45E2-97EF-4024811861A3}"/>
              </a:ext>
            </a:extLst>
          </p:cNvPr>
          <p:cNvSpPr>
            <a:spLocks noGrp="1"/>
          </p:cNvSpPr>
          <p:nvPr>
            <p:ph type="sldNum" sz="quarter" idx="12"/>
          </p:nvPr>
        </p:nvSpPr>
        <p:spPr/>
        <p:txBody>
          <a:bodyPr/>
          <a:lstStyle/>
          <a:p>
            <a:fld id="{54B1A0A0-1014-43B9-AECC-F6512CB9E662}" type="slidenum">
              <a:rPr lang="en-GB" smtClean="0"/>
              <a:pPr/>
              <a:t>‹#›</a:t>
            </a:fld>
            <a:endParaRPr lang="en-GB"/>
          </a:p>
        </p:txBody>
      </p:sp>
      <p:sp>
        <p:nvSpPr>
          <p:cNvPr id="6" name="Google Shape;413;p31">
            <a:extLst>
              <a:ext uri="{FF2B5EF4-FFF2-40B4-BE49-F238E27FC236}">
                <a16:creationId xmlns:a16="http://schemas.microsoft.com/office/drawing/2014/main" id="{55B6DFF2-5A85-4154-A50B-D81FF689D778}"/>
              </a:ext>
            </a:extLst>
          </p:cNvPr>
          <p:cNvSpPr/>
          <p:nvPr userDrawn="1"/>
        </p:nvSpPr>
        <p:spPr>
          <a:xfrm>
            <a:off x="0" y="2716313"/>
            <a:ext cx="12192000" cy="4141687"/>
          </a:xfrm>
          <a:prstGeom prst="rect">
            <a:avLst/>
          </a:prstGeom>
          <a:solidFill>
            <a:schemeClr val="tx2"/>
          </a:solidFill>
          <a:ln>
            <a:noFill/>
          </a:ln>
        </p:spPr>
        <p:txBody>
          <a:bodyPr spcFirstLastPara="1" wrap="square" lIns="60950" tIns="60950" rIns="60950" bIns="60950" anchor="ctr" anchorCtr="0">
            <a:noAutofit/>
          </a:bodyPr>
          <a:lstStyle/>
          <a:p>
            <a:endParaRPr sz="622"/>
          </a:p>
        </p:txBody>
      </p:sp>
      <p:sp>
        <p:nvSpPr>
          <p:cNvPr id="8" name="Content Placeholder 2">
            <a:extLst>
              <a:ext uri="{FF2B5EF4-FFF2-40B4-BE49-F238E27FC236}">
                <a16:creationId xmlns:a16="http://schemas.microsoft.com/office/drawing/2014/main" id="{AE537D77-EC65-421D-B9C4-43AFE07583E4}"/>
              </a:ext>
            </a:extLst>
          </p:cNvPr>
          <p:cNvSpPr>
            <a:spLocks noGrp="1"/>
          </p:cNvSpPr>
          <p:nvPr>
            <p:ph idx="13"/>
          </p:nvPr>
        </p:nvSpPr>
        <p:spPr>
          <a:xfrm>
            <a:off x="1099457" y="3132000"/>
            <a:ext cx="10397218" cy="298138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lide Number Placeholder 4">
            <a:extLst>
              <a:ext uri="{FF2B5EF4-FFF2-40B4-BE49-F238E27FC236}">
                <a16:creationId xmlns:a16="http://schemas.microsoft.com/office/drawing/2014/main" id="{E19E8843-3AA4-7641-AE1B-C89A6E21B356}"/>
              </a:ext>
            </a:extLst>
          </p:cNvPr>
          <p:cNvSpPr txBox="1">
            <a:spLocks/>
          </p:cNvSpPr>
          <p:nvPr userDrawn="1"/>
        </p:nvSpPr>
        <p:spPr>
          <a:xfrm>
            <a:off x="144082" y="6573095"/>
            <a:ext cx="555247" cy="169423"/>
          </a:xfrm>
          <a:prstGeom prst="rect">
            <a:avLst/>
          </a:prstGeom>
        </p:spPr>
        <p:txBody>
          <a:bodyPr vert="horz" lIns="0" tIns="0" rIns="0" bIns="0" rtlCol="0" anchor="t">
            <a:noAutofit/>
          </a:bodyPr>
          <a:lstStyle>
            <a:defPPr>
              <a:defRPr lang="en-US"/>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4B1A0A0-1014-43B9-AECC-F6512CB9E662}" type="slidenum">
              <a:rPr lang="en-GB" smtClean="0"/>
              <a:pPr/>
              <a:t>‹#›</a:t>
            </a:fld>
            <a:endParaRPr lang="en-GB"/>
          </a:p>
        </p:txBody>
      </p:sp>
      <p:sp>
        <p:nvSpPr>
          <p:cNvPr id="12" name="Google Shape;170;p15">
            <a:extLst>
              <a:ext uri="{FF2B5EF4-FFF2-40B4-BE49-F238E27FC236}">
                <a16:creationId xmlns:a16="http://schemas.microsoft.com/office/drawing/2014/main" id="{D19B4E9D-0502-EB45-92EA-8342D3D6594B}"/>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11" name="Title 1">
            <a:extLst>
              <a:ext uri="{FF2B5EF4-FFF2-40B4-BE49-F238E27FC236}">
                <a16:creationId xmlns:a16="http://schemas.microsoft.com/office/drawing/2014/main" id="{4A1F6EBE-EFBB-3B4F-B9AC-53745F5AB9A0}"/>
              </a:ext>
            </a:extLst>
          </p:cNvPr>
          <p:cNvSpPr>
            <a:spLocks noGrp="1"/>
          </p:cNvSpPr>
          <p:nvPr>
            <p:ph type="title"/>
          </p:nvPr>
        </p:nvSpPr>
        <p:spPr>
          <a:xfrm>
            <a:off x="1095356" y="123751"/>
            <a:ext cx="10404000" cy="1069095"/>
          </a:xfrm>
        </p:spPr>
        <p:txBody>
          <a:bodyPr anchor="ctr"/>
          <a:lstStyle>
            <a:lvl1pPr>
              <a:defRPr sz="3600">
                <a:solidFill>
                  <a:srgbClr val="444444"/>
                </a:solidFill>
              </a:defRPr>
            </a:lvl1pPr>
          </a:lstStyle>
          <a:p>
            <a:r>
              <a:rPr lang="en-US"/>
              <a:t>Click to edit Master title style</a:t>
            </a:r>
            <a:endParaRPr lang="en-GB"/>
          </a:p>
        </p:txBody>
      </p:sp>
      <p:sp>
        <p:nvSpPr>
          <p:cNvPr id="14" name="Source Placeholder 7">
            <a:extLst>
              <a:ext uri="{FF2B5EF4-FFF2-40B4-BE49-F238E27FC236}">
                <a16:creationId xmlns:a16="http://schemas.microsoft.com/office/drawing/2014/main" id="{6790E276-B9B8-6A47-B568-2338C0A50A93}"/>
              </a:ext>
            </a:extLst>
          </p:cNvPr>
          <p:cNvSpPr>
            <a:spLocks noGrp="1"/>
          </p:cNvSpPr>
          <p:nvPr>
            <p:ph type="body" sz="quarter" idx="15"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lang="en-GB" sz="800" b="0" smtClean="0">
                <a:solidFill>
                  <a:schemeClr val="bg1"/>
                </a:solidFill>
                <a:effectLst/>
              </a:defRPr>
            </a:lvl1pPr>
            <a:lvl2pPr>
              <a:spcAft>
                <a:spcPts val="200"/>
              </a:spcAft>
              <a:defRPr sz="800">
                <a:solidFill>
                  <a:schemeClr val="bg1"/>
                </a:solidFill>
              </a:defRPr>
            </a:lvl2pPr>
            <a:lvl3pPr marL="0" indent="0">
              <a:spcAft>
                <a:spcPts val="200"/>
              </a:spcAft>
              <a:buNone/>
              <a:defRPr sz="1000" b="1">
                <a:solidFill>
                  <a:schemeClr val="bg1"/>
                </a:solidFill>
              </a:defRPr>
            </a:lvl3pPr>
            <a:lvl4pPr marL="252000">
              <a:spcAft>
                <a:spcPts val="200"/>
              </a:spcAft>
              <a:defRPr sz="800">
                <a:solidFill>
                  <a:schemeClr val="bg1"/>
                </a:solidFill>
              </a:defRPr>
            </a:lvl4pPr>
            <a:lvl5pPr marL="504000">
              <a:spcAft>
                <a:spcPts val="200"/>
              </a:spcAft>
              <a:defRPr sz="800">
                <a:solidFill>
                  <a:schemeClr val="bg1"/>
                </a:solidFill>
              </a:defRPr>
            </a:lvl5pPr>
          </a:lstStyle>
          <a:p>
            <a:pPr lvl="0"/>
            <a:r>
              <a:rPr lang="en-US"/>
              <a:t>Source goes here, aligned to the bottom guide.</a:t>
            </a:r>
          </a:p>
        </p:txBody>
      </p:sp>
      <p:pic>
        <p:nvPicPr>
          <p:cNvPr id="15" name="Picture 14">
            <a:extLst>
              <a:ext uri="{FF2B5EF4-FFF2-40B4-BE49-F238E27FC236}">
                <a16:creationId xmlns:a16="http://schemas.microsoft.com/office/drawing/2014/main" id="{8E9F3DB7-2607-BF4E-8C1E-B39C3AC10E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3760719193"/>
      </p:ext>
    </p:extLst>
  </p:cSld>
  <p:clrMapOvr>
    <a:masterClrMapping/>
  </p:clrMapOvr>
  <p:transition>
    <p:fade/>
  </p:transition>
  <p:extLst>
    <p:ext uri="{DCECCB84-F9BA-43D5-87BE-67443E8EF086}">
      <p15:sldGuideLst xmlns:p15="http://schemas.microsoft.com/office/powerpoint/2012/main">
        <p15:guide id="2" orient="horz" pos="197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609ED31-524C-4974-8407-537183FF6BCD}"/>
              </a:ext>
            </a:extLst>
          </p:cNvPr>
          <p:cNvSpPr>
            <a:spLocks noGrp="1"/>
          </p:cNvSpPr>
          <p:nvPr>
            <p:ph type="pic" sz="quarter" idx="15"/>
          </p:nvPr>
        </p:nvSpPr>
        <p:spPr>
          <a:xfrm>
            <a:off x="9291637" y="3939205"/>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8" name="Picture Placeholder 7">
            <a:extLst>
              <a:ext uri="{FF2B5EF4-FFF2-40B4-BE49-F238E27FC236}">
                <a16:creationId xmlns:a16="http://schemas.microsoft.com/office/drawing/2014/main" id="{1EFB8285-316E-4A4A-B2B9-9B6A1C2E2E5D}"/>
              </a:ext>
            </a:extLst>
          </p:cNvPr>
          <p:cNvSpPr>
            <a:spLocks noGrp="1"/>
          </p:cNvSpPr>
          <p:nvPr>
            <p:ph type="pic" sz="quarter" idx="13"/>
          </p:nvPr>
        </p:nvSpPr>
        <p:spPr>
          <a:xfrm>
            <a:off x="1101725" y="1629833"/>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4" name="Footer Placeholder 3">
            <a:extLst>
              <a:ext uri="{FF2B5EF4-FFF2-40B4-BE49-F238E27FC236}">
                <a16:creationId xmlns:a16="http://schemas.microsoft.com/office/drawing/2014/main" id="{A36E77E4-2A0A-4CF4-A901-17287C2CAA8E}"/>
              </a:ext>
            </a:extLst>
          </p:cNvPr>
          <p:cNvSpPr>
            <a:spLocks noGrp="1"/>
          </p:cNvSpPr>
          <p:nvPr>
            <p:ph type="ftr" sz="quarter" idx="11"/>
          </p:nvPr>
        </p:nvSpPr>
        <p:spPr/>
        <p:txBody>
          <a:bodyPr/>
          <a:lstStyle>
            <a:lvl1pPr>
              <a:defRPr>
                <a:solidFill>
                  <a:srgbClr val="666666"/>
                </a:solidFill>
              </a:defRPr>
            </a:lvl1pPr>
          </a:lstStyle>
          <a:p>
            <a:endParaRPr lang="en-GB"/>
          </a:p>
        </p:txBody>
      </p:sp>
      <p:sp>
        <p:nvSpPr>
          <p:cNvPr id="5" name="Slide Number Placeholder 4">
            <a:extLst>
              <a:ext uri="{FF2B5EF4-FFF2-40B4-BE49-F238E27FC236}">
                <a16:creationId xmlns:a16="http://schemas.microsoft.com/office/drawing/2014/main" id="{620C33E6-A868-4451-BB52-7C3FEB721677}"/>
              </a:ext>
            </a:extLst>
          </p:cNvPr>
          <p:cNvSpPr>
            <a:spLocks noGrp="1"/>
          </p:cNvSpPr>
          <p:nvPr>
            <p:ph type="sldNum" sz="quarter" idx="12"/>
          </p:nvPr>
        </p:nvSpPr>
        <p:spPr/>
        <p:txBody>
          <a:bodyPr/>
          <a:lstStyle>
            <a:lvl1pPr>
              <a:defRPr>
                <a:solidFill>
                  <a:srgbClr val="666666"/>
                </a:solidFill>
              </a:defRPr>
            </a:lvl1pPr>
          </a:lstStyle>
          <a:p>
            <a:fld id="{54B1A0A0-1014-43B9-AECC-F6512CB9E662}" type="slidenum">
              <a:rPr lang="en-GB" smtClean="0"/>
              <a:pPr/>
              <a:t>‹#›</a:t>
            </a:fld>
            <a:endParaRPr lang="en-GB"/>
          </a:p>
        </p:txBody>
      </p:sp>
      <p:sp>
        <p:nvSpPr>
          <p:cNvPr id="11" name="Text Placeholder 10">
            <a:extLst>
              <a:ext uri="{FF2B5EF4-FFF2-40B4-BE49-F238E27FC236}">
                <a16:creationId xmlns:a16="http://schemas.microsoft.com/office/drawing/2014/main" id="{83FD7B0F-9129-437C-A1C7-6B907C979FAA}"/>
              </a:ext>
            </a:extLst>
          </p:cNvPr>
          <p:cNvSpPr>
            <a:spLocks noGrp="1"/>
          </p:cNvSpPr>
          <p:nvPr>
            <p:ph type="body" sz="quarter" idx="14"/>
          </p:nvPr>
        </p:nvSpPr>
        <p:spPr>
          <a:xfrm>
            <a:off x="1101725" y="2645834"/>
            <a:ext cx="1808163" cy="1016000"/>
          </a:xfrm>
          <a:solidFill>
            <a:srgbClr val="EEEEEE"/>
          </a:solidFill>
        </p:spPr>
        <p:txBody>
          <a:bodyPr lIns="126000" tIns="126000" rIns="126000" bIns="126000"/>
          <a:lstStyle>
            <a:lvl1pPr>
              <a:spcAft>
                <a:spcPts val="0"/>
              </a:spcAft>
              <a:defRPr sz="1200">
                <a:solidFill>
                  <a:srgbClr val="444444"/>
                </a:solidFill>
                <a:latin typeface="Source Sans Pro Light" panose="020B0403030403020204" pitchFamily="34" charset="0"/>
              </a:defRPr>
            </a:lvl1pPr>
            <a:lvl2pPr>
              <a:spcAft>
                <a:spcPts val="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16" name="Text Placeholder 10">
            <a:extLst>
              <a:ext uri="{FF2B5EF4-FFF2-40B4-BE49-F238E27FC236}">
                <a16:creationId xmlns:a16="http://schemas.microsoft.com/office/drawing/2014/main" id="{2263A2DD-1180-4155-8E27-9D51B0F817A9}"/>
              </a:ext>
            </a:extLst>
          </p:cNvPr>
          <p:cNvSpPr>
            <a:spLocks noGrp="1"/>
          </p:cNvSpPr>
          <p:nvPr>
            <p:ph type="body" sz="quarter" idx="16"/>
          </p:nvPr>
        </p:nvSpPr>
        <p:spPr>
          <a:xfrm>
            <a:off x="9291637" y="4955206"/>
            <a:ext cx="1808163" cy="1016000"/>
          </a:xfrm>
          <a:solidFill>
            <a:srgbClr val="EEEEEE"/>
          </a:solidFill>
        </p:spPr>
        <p:txBody>
          <a:bodyPr lIns="126000" tIns="126000" rIns="126000" bIns="126000"/>
          <a:lstStyle>
            <a:lvl1pPr>
              <a:spcAft>
                <a:spcPts val="0"/>
              </a:spcAft>
              <a:defRPr sz="1200">
                <a:solidFill>
                  <a:srgbClr val="444444"/>
                </a:solidFill>
                <a:latin typeface="Source Sans Pro Light" panose="020B0403030403020204" pitchFamily="34" charset="0"/>
              </a:defRPr>
            </a:lvl1pPr>
            <a:lvl2pPr>
              <a:spcAft>
                <a:spcPts val="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17" name="Picture Placeholder 7">
            <a:extLst>
              <a:ext uri="{FF2B5EF4-FFF2-40B4-BE49-F238E27FC236}">
                <a16:creationId xmlns:a16="http://schemas.microsoft.com/office/drawing/2014/main" id="{3BF0DD87-E05D-4CA4-B404-34E6788500E9}"/>
              </a:ext>
            </a:extLst>
          </p:cNvPr>
          <p:cNvSpPr>
            <a:spLocks noGrp="1"/>
          </p:cNvSpPr>
          <p:nvPr>
            <p:ph type="pic" sz="quarter" idx="17"/>
          </p:nvPr>
        </p:nvSpPr>
        <p:spPr>
          <a:xfrm>
            <a:off x="9291637" y="1629833"/>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18" name="Text Placeholder 10">
            <a:extLst>
              <a:ext uri="{FF2B5EF4-FFF2-40B4-BE49-F238E27FC236}">
                <a16:creationId xmlns:a16="http://schemas.microsoft.com/office/drawing/2014/main" id="{764BF3E1-8693-4E3E-8020-F8F9EB9290B4}"/>
              </a:ext>
            </a:extLst>
          </p:cNvPr>
          <p:cNvSpPr>
            <a:spLocks noGrp="1"/>
          </p:cNvSpPr>
          <p:nvPr>
            <p:ph type="body" sz="quarter" idx="18"/>
          </p:nvPr>
        </p:nvSpPr>
        <p:spPr>
          <a:xfrm>
            <a:off x="9291637" y="2645834"/>
            <a:ext cx="1808163" cy="1016000"/>
          </a:xfrm>
          <a:solidFill>
            <a:srgbClr val="EEEEEE"/>
          </a:solidFill>
        </p:spPr>
        <p:txBody>
          <a:bodyPr lIns="126000" tIns="126000" rIns="126000" bIns="126000"/>
          <a:lstStyle>
            <a:lvl1pPr>
              <a:spcAft>
                <a:spcPts val="0"/>
              </a:spcAft>
              <a:defRPr sz="1200">
                <a:solidFill>
                  <a:srgbClr val="444444"/>
                </a:solidFill>
                <a:latin typeface="Source Sans Pro Light" panose="020B0403030403020204" pitchFamily="34" charset="0"/>
              </a:defRPr>
            </a:lvl1pPr>
            <a:lvl2pPr>
              <a:spcAft>
                <a:spcPts val="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19" name="Picture Placeholder 7">
            <a:extLst>
              <a:ext uri="{FF2B5EF4-FFF2-40B4-BE49-F238E27FC236}">
                <a16:creationId xmlns:a16="http://schemas.microsoft.com/office/drawing/2014/main" id="{C0923517-D50C-4735-9638-1E68E2C0F54C}"/>
              </a:ext>
            </a:extLst>
          </p:cNvPr>
          <p:cNvSpPr>
            <a:spLocks noGrp="1"/>
          </p:cNvSpPr>
          <p:nvPr>
            <p:ph type="pic" sz="quarter" idx="19"/>
          </p:nvPr>
        </p:nvSpPr>
        <p:spPr>
          <a:xfrm>
            <a:off x="3149203" y="1629833"/>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20" name="Text Placeholder 10">
            <a:extLst>
              <a:ext uri="{FF2B5EF4-FFF2-40B4-BE49-F238E27FC236}">
                <a16:creationId xmlns:a16="http://schemas.microsoft.com/office/drawing/2014/main" id="{4614CC62-C22C-49AB-AB18-88E36289BD7E}"/>
              </a:ext>
            </a:extLst>
          </p:cNvPr>
          <p:cNvSpPr>
            <a:spLocks noGrp="1"/>
          </p:cNvSpPr>
          <p:nvPr>
            <p:ph type="body" sz="quarter" idx="20"/>
          </p:nvPr>
        </p:nvSpPr>
        <p:spPr>
          <a:xfrm>
            <a:off x="3149203" y="2645834"/>
            <a:ext cx="1808163" cy="1016000"/>
          </a:xfrm>
          <a:solidFill>
            <a:srgbClr val="EEEEEE"/>
          </a:solidFill>
        </p:spPr>
        <p:txBody>
          <a:bodyPr lIns="126000" tIns="126000" rIns="126000" bIns="126000"/>
          <a:lstStyle>
            <a:lvl1pPr>
              <a:spcAft>
                <a:spcPts val="0"/>
              </a:spcAft>
              <a:defRPr sz="1200">
                <a:solidFill>
                  <a:srgbClr val="444444"/>
                </a:solidFill>
                <a:latin typeface="Source Sans Pro Light" panose="020B0403030403020204" pitchFamily="34" charset="0"/>
              </a:defRPr>
            </a:lvl1pPr>
            <a:lvl2pPr>
              <a:spcAft>
                <a:spcPts val="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21" name="Picture Placeholder 7">
            <a:extLst>
              <a:ext uri="{FF2B5EF4-FFF2-40B4-BE49-F238E27FC236}">
                <a16:creationId xmlns:a16="http://schemas.microsoft.com/office/drawing/2014/main" id="{78050C42-A548-4BCC-94A1-85A476CE7199}"/>
              </a:ext>
            </a:extLst>
          </p:cNvPr>
          <p:cNvSpPr>
            <a:spLocks noGrp="1"/>
          </p:cNvSpPr>
          <p:nvPr>
            <p:ph type="pic" sz="quarter" idx="21"/>
          </p:nvPr>
        </p:nvSpPr>
        <p:spPr>
          <a:xfrm>
            <a:off x="7244159" y="1629833"/>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22" name="Text Placeholder 10">
            <a:extLst>
              <a:ext uri="{FF2B5EF4-FFF2-40B4-BE49-F238E27FC236}">
                <a16:creationId xmlns:a16="http://schemas.microsoft.com/office/drawing/2014/main" id="{F0272DC6-8664-4B13-8BF6-99D4D249802F}"/>
              </a:ext>
            </a:extLst>
          </p:cNvPr>
          <p:cNvSpPr>
            <a:spLocks noGrp="1"/>
          </p:cNvSpPr>
          <p:nvPr>
            <p:ph type="body" sz="quarter" idx="22"/>
          </p:nvPr>
        </p:nvSpPr>
        <p:spPr>
          <a:xfrm>
            <a:off x="7244159" y="2645834"/>
            <a:ext cx="1808163" cy="1016000"/>
          </a:xfrm>
          <a:solidFill>
            <a:srgbClr val="EEEEEE"/>
          </a:solidFill>
        </p:spPr>
        <p:txBody>
          <a:bodyPr lIns="126000" tIns="126000" rIns="126000" bIns="126000"/>
          <a:lstStyle>
            <a:lvl1pPr>
              <a:spcAft>
                <a:spcPts val="0"/>
              </a:spcAft>
              <a:defRPr sz="1200">
                <a:solidFill>
                  <a:srgbClr val="444444"/>
                </a:solidFill>
                <a:latin typeface="Source Sans Pro Light" panose="020B0403030403020204" pitchFamily="34" charset="0"/>
              </a:defRPr>
            </a:lvl1pPr>
            <a:lvl2pPr>
              <a:spcAft>
                <a:spcPts val="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23" name="Picture Placeholder 7">
            <a:extLst>
              <a:ext uri="{FF2B5EF4-FFF2-40B4-BE49-F238E27FC236}">
                <a16:creationId xmlns:a16="http://schemas.microsoft.com/office/drawing/2014/main" id="{695C2F43-2973-411E-84F9-F52737C018F3}"/>
              </a:ext>
            </a:extLst>
          </p:cNvPr>
          <p:cNvSpPr>
            <a:spLocks noGrp="1"/>
          </p:cNvSpPr>
          <p:nvPr>
            <p:ph type="pic" sz="quarter" idx="23"/>
          </p:nvPr>
        </p:nvSpPr>
        <p:spPr>
          <a:xfrm>
            <a:off x="1101725" y="3939432"/>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24" name="Text Placeholder 10">
            <a:extLst>
              <a:ext uri="{FF2B5EF4-FFF2-40B4-BE49-F238E27FC236}">
                <a16:creationId xmlns:a16="http://schemas.microsoft.com/office/drawing/2014/main" id="{18B114FD-8D41-4479-B42C-652AFB7D71A0}"/>
              </a:ext>
            </a:extLst>
          </p:cNvPr>
          <p:cNvSpPr>
            <a:spLocks noGrp="1"/>
          </p:cNvSpPr>
          <p:nvPr>
            <p:ph type="body" sz="quarter" idx="24"/>
          </p:nvPr>
        </p:nvSpPr>
        <p:spPr>
          <a:xfrm>
            <a:off x="1101725" y="4955433"/>
            <a:ext cx="1808163" cy="1016000"/>
          </a:xfrm>
          <a:solidFill>
            <a:srgbClr val="EEEEEE"/>
          </a:solidFill>
        </p:spPr>
        <p:txBody>
          <a:bodyPr lIns="126000" tIns="126000" rIns="126000" bIns="126000"/>
          <a:lstStyle>
            <a:lvl1pPr>
              <a:spcAft>
                <a:spcPts val="0"/>
              </a:spcAft>
              <a:defRPr sz="1200">
                <a:solidFill>
                  <a:srgbClr val="444444"/>
                </a:solidFill>
                <a:latin typeface="Source Sans Pro Light" panose="020B0403030403020204" pitchFamily="34" charset="0"/>
              </a:defRPr>
            </a:lvl1pPr>
            <a:lvl2pPr>
              <a:spcAft>
                <a:spcPts val="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25" name="Picture Placeholder 7">
            <a:extLst>
              <a:ext uri="{FF2B5EF4-FFF2-40B4-BE49-F238E27FC236}">
                <a16:creationId xmlns:a16="http://schemas.microsoft.com/office/drawing/2014/main" id="{E36C0CCC-9E40-4E07-B70F-E78A97E431C9}"/>
              </a:ext>
            </a:extLst>
          </p:cNvPr>
          <p:cNvSpPr>
            <a:spLocks noGrp="1"/>
          </p:cNvSpPr>
          <p:nvPr>
            <p:ph type="pic" sz="quarter" idx="25"/>
          </p:nvPr>
        </p:nvSpPr>
        <p:spPr>
          <a:xfrm>
            <a:off x="3149203" y="3938873"/>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26" name="Text Placeholder 10">
            <a:extLst>
              <a:ext uri="{FF2B5EF4-FFF2-40B4-BE49-F238E27FC236}">
                <a16:creationId xmlns:a16="http://schemas.microsoft.com/office/drawing/2014/main" id="{631F7A6D-3CE1-4790-B168-1A74F06BEFF4}"/>
              </a:ext>
            </a:extLst>
          </p:cNvPr>
          <p:cNvSpPr>
            <a:spLocks noGrp="1"/>
          </p:cNvSpPr>
          <p:nvPr>
            <p:ph type="body" sz="quarter" idx="26"/>
          </p:nvPr>
        </p:nvSpPr>
        <p:spPr>
          <a:xfrm>
            <a:off x="3149203" y="4954874"/>
            <a:ext cx="1808163" cy="1016000"/>
          </a:xfrm>
          <a:solidFill>
            <a:srgbClr val="EEEEEE"/>
          </a:solidFill>
        </p:spPr>
        <p:txBody>
          <a:bodyPr lIns="126000" tIns="126000" rIns="126000" bIns="126000"/>
          <a:lstStyle>
            <a:lvl1pPr>
              <a:spcAft>
                <a:spcPts val="0"/>
              </a:spcAft>
              <a:defRPr sz="1200">
                <a:solidFill>
                  <a:srgbClr val="444444"/>
                </a:solidFill>
                <a:latin typeface="Source Sans Pro Light" panose="020B0403030403020204" pitchFamily="34" charset="0"/>
              </a:defRPr>
            </a:lvl1pPr>
            <a:lvl2pPr>
              <a:spcAft>
                <a:spcPts val="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27" name="Picture Placeholder 7">
            <a:extLst>
              <a:ext uri="{FF2B5EF4-FFF2-40B4-BE49-F238E27FC236}">
                <a16:creationId xmlns:a16="http://schemas.microsoft.com/office/drawing/2014/main" id="{FF92F749-01BF-4D01-8297-99FF1B67CECC}"/>
              </a:ext>
            </a:extLst>
          </p:cNvPr>
          <p:cNvSpPr>
            <a:spLocks noGrp="1"/>
          </p:cNvSpPr>
          <p:nvPr>
            <p:ph type="pic" sz="quarter" idx="27"/>
          </p:nvPr>
        </p:nvSpPr>
        <p:spPr>
          <a:xfrm>
            <a:off x="7244159" y="3938873"/>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28" name="Text Placeholder 10">
            <a:extLst>
              <a:ext uri="{FF2B5EF4-FFF2-40B4-BE49-F238E27FC236}">
                <a16:creationId xmlns:a16="http://schemas.microsoft.com/office/drawing/2014/main" id="{9EB90B6B-622C-4A65-B3CE-81D9B007DEBD}"/>
              </a:ext>
            </a:extLst>
          </p:cNvPr>
          <p:cNvSpPr>
            <a:spLocks noGrp="1"/>
          </p:cNvSpPr>
          <p:nvPr>
            <p:ph type="body" sz="quarter" idx="28"/>
          </p:nvPr>
        </p:nvSpPr>
        <p:spPr>
          <a:xfrm>
            <a:off x="7244159" y="4954874"/>
            <a:ext cx="1808163" cy="1016000"/>
          </a:xfrm>
          <a:solidFill>
            <a:srgbClr val="EEEEEE"/>
          </a:solidFill>
        </p:spPr>
        <p:txBody>
          <a:bodyPr lIns="126000" tIns="126000" rIns="126000" bIns="126000"/>
          <a:lstStyle>
            <a:lvl1pPr>
              <a:spcAft>
                <a:spcPts val="0"/>
              </a:spcAft>
              <a:defRPr sz="1200">
                <a:solidFill>
                  <a:srgbClr val="444444"/>
                </a:solidFill>
                <a:latin typeface="Source Sans Pro Light" panose="020B0403030403020204" pitchFamily="34" charset="0"/>
              </a:defRPr>
            </a:lvl1pPr>
            <a:lvl2pPr>
              <a:spcAft>
                <a:spcPts val="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29" name="Picture Placeholder 7">
            <a:extLst>
              <a:ext uri="{FF2B5EF4-FFF2-40B4-BE49-F238E27FC236}">
                <a16:creationId xmlns:a16="http://schemas.microsoft.com/office/drawing/2014/main" id="{7C99B4EA-3427-461B-AAAF-706D36A01101}"/>
              </a:ext>
            </a:extLst>
          </p:cNvPr>
          <p:cNvSpPr>
            <a:spLocks noGrp="1"/>
          </p:cNvSpPr>
          <p:nvPr>
            <p:ph type="pic" sz="quarter" idx="29"/>
          </p:nvPr>
        </p:nvSpPr>
        <p:spPr>
          <a:xfrm>
            <a:off x="5196681" y="1629833"/>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30" name="Text Placeholder 10">
            <a:extLst>
              <a:ext uri="{FF2B5EF4-FFF2-40B4-BE49-F238E27FC236}">
                <a16:creationId xmlns:a16="http://schemas.microsoft.com/office/drawing/2014/main" id="{1FC04389-1450-431A-9B9B-65E1CA881C04}"/>
              </a:ext>
            </a:extLst>
          </p:cNvPr>
          <p:cNvSpPr>
            <a:spLocks noGrp="1"/>
          </p:cNvSpPr>
          <p:nvPr>
            <p:ph type="body" sz="quarter" idx="30"/>
          </p:nvPr>
        </p:nvSpPr>
        <p:spPr>
          <a:xfrm>
            <a:off x="5196681" y="2645834"/>
            <a:ext cx="1808163" cy="1016000"/>
          </a:xfrm>
          <a:solidFill>
            <a:srgbClr val="EEEEEE"/>
          </a:solidFill>
        </p:spPr>
        <p:txBody>
          <a:bodyPr lIns="126000" tIns="126000" rIns="126000" bIns="126000"/>
          <a:lstStyle>
            <a:lvl1pPr>
              <a:spcAft>
                <a:spcPts val="0"/>
              </a:spcAft>
              <a:defRPr sz="1200">
                <a:solidFill>
                  <a:srgbClr val="444444"/>
                </a:solidFill>
                <a:latin typeface="Source Sans Pro Light" panose="020B0403030403020204" pitchFamily="34" charset="0"/>
              </a:defRPr>
            </a:lvl1pPr>
            <a:lvl2pPr>
              <a:spcAft>
                <a:spcPts val="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31" name="Picture Placeholder 7">
            <a:extLst>
              <a:ext uri="{FF2B5EF4-FFF2-40B4-BE49-F238E27FC236}">
                <a16:creationId xmlns:a16="http://schemas.microsoft.com/office/drawing/2014/main" id="{5A36A2A8-6A9D-4A0F-9250-C9333B330AC0}"/>
              </a:ext>
            </a:extLst>
          </p:cNvPr>
          <p:cNvSpPr>
            <a:spLocks noGrp="1"/>
          </p:cNvSpPr>
          <p:nvPr>
            <p:ph type="pic" sz="quarter" idx="31"/>
          </p:nvPr>
        </p:nvSpPr>
        <p:spPr>
          <a:xfrm>
            <a:off x="5196681" y="3938873"/>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32" name="Text Placeholder 10">
            <a:extLst>
              <a:ext uri="{FF2B5EF4-FFF2-40B4-BE49-F238E27FC236}">
                <a16:creationId xmlns:a16="http://schemas.microsoft.com/office/drawing/2014/main" id="{F554289A-CBAD-4699-90CD-20AD6AF15391}"/>
              </a:ext>
            </a:extLst>
          </p:cNvPr>
          <p:cNvSpPr>
            <a:spLocks noGrp="1"/>
          </p:cNvSpPr>
          <p:nvPr>
            <p:ph type="body" sz="quarter" idx="32"/>
          </p:nvPr>
        </p:nvSpPr>
        <p:spPr>
          <a:xfrm>
            <a:off x="5196681" y="4954874"/>
            <a:ext cx="1808163" cy="1016000"/>
          </a:xfrm>
          <a:solidFill>
            <a:srgbClr val="EEEEEE"/>
          </a:solidFill>
        </p:spPr>
        <p:txBody>
          <a:bodyPr lIns="126000" tIns="126000" rIns="126000" bIns="126000"/>
          <a:lstStyle>
            <a:lvl1pPr>
              <a:spcAft>
                <a:spcPts val="0"/>
              </a:spcAft>
              <a:defRPr sz="1200">
                <a:solidFill>
                  <a:srgbClr val="444444"/>
                </a:solidFill>
                <a:latin typeface="Source Sans Pro Light" panose="020B0403030403020204" pitchFamily="34" charset="0"/>
              </a:defRPr>
            </a:lvl1pPr>
            <a:lvl2pPr>
              <a:spcAft>
                <a:spcPts val="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35" name="Google Shape;170;p15">
            <a:extLst>
              <a:ext uri="{FF2B5EF4-FFF2-40B4-BE49-F238E27FC236}">
                <a16:creationId xmlns:a16="http://schemas.microsoft.com/office/drawing/2014/main" id="{BEF77337-D806-7D4D-BA7F-0051A6413EDD}"/>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33" name="Title 1">
            <a:extLst>
              <a:ext uri="{FF2B5EF4-FFF2-40B4-BE49-F238E27FC236}">
                <a16:creationId xmlns:a16="http://schemas.microsoft.com/office/drawing/2014/main" id="{BFC5E47E-EC2C-9F42-958C-2A6D9B2324C0}"/>
              </a:ext>
            </a:extLst>
          </p:cNvPr>
          <p:cNvSpPr>
            <a:spLocks noGrp="1"/>
          </p:cNvSpPr>
          <p:nvPr>
            <p:ph type="title"/>
          </p:nvPr>
        </p:nvSpPr>
        <p:spPr>
          <a:xfrm>
            <a:off x="1095356" y="123751"/>
            <a:ext cx="10404000" cy="1069095"/>
          </a:xfrm>
        </p:spPr>
        <p:txBody>
          <a:bodyPr anchor="ctr"/>
          <a:lstStyle>
            <a:lvl1pPr>
              <a:defRPr sz="3600">
                <a:solidFill>
                  <a:srgbClr val="444444"/>
                </a:solidFill>
              </a:defRPr>
            </a:lvl1pPr>
          </a:lstStyle>
          <a:p>
            <a:r>
              <a:rPr lang="en-US"/>
              <a:t>Click to edit Master title style</a:t>
            </a:r>
            <a:endParaRPr lang="en-GB"/>
          </a:p>
        </p:txBody>
      </p:sp>
      <p:pic>
        <p:nvPicPr>
          <p:cNvPr id="34" name="Picture 33">
            <a:extLst>
              <a:ext uri="{FF2B5EF4-FFF2-40B4-BE49-F238E27FC236}">
                <a16:creationId xmlns:a16="http://schemas.microsoft.com/office/drawing/2014/main" id="{BCEAA5E0-8E38-BD47-BC31-CD3978E6F54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4134945085"/>
      </p:ext>
    </p:extLst>
  </p:cSld>
  <p:clrMapOvr>
    <a:masterClrMapping/>
  </p:clrMapOvr>
  <p:transition>
    <p:fade/>
  </p:transition>
  <p:extLst>
    <p:ext uri="{DCECCB84-F9BA-43D5-87BE-67443E8EF086}">
      <p15:sldGuideLst xmlns:p15="http://schemas.microsoft.com/office/powerpoint/2012/main">
        <p15:guide id="2" orient="horz" pos="247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10" name="Text Placeholder 10">
            <a:extLst>
              <a:ext uri="{FF2B5EF4-FFF2-40B4-BE49-F238E27FC236}">
                <a16:creationId xmlns:a16="http://schemas.microsoft.com/office/drawing/2014/main" id="{2B6F4731-3519-4D93-A9CA-C66D3A5F498D}"/>
              </a:ext>
            </a:extLst>
          </p:cNvPr>
          <p:cNvSpPr>
            <a:spLocks noGrp="1"/>
          </p:cNvSpPr>
          <p:nvPr>
            <p:ph type="body" sz="quarter" idx="14"/>
          </p:nvPr>
        </p:nvSpPr>
        <p:spPr>
          <a:xfrm>
            <a:off x="1101601" y="3777364"/>
            <a:ext cx="3547200" cy="672611"/>
          </a:xfrm>
          <a:noFill/>
        </p:spPr>
        <p:txBody>
          <a:bodyPr lIns="0" tIns="0" rIns="0" bIns="0"/>
          <a:lstStyle>
            <a:lvl1pPr>
              <a:spcAft>
                <a:spcPts val="0"/>
              </a:spcAft>
              <a:defRPr sz="1900">
                <a:solidFill>
                  <a:srgbClr val="666666"/>
                </a:solidFill>
                <a:latin typeface="Source Sans Pro Light" panose="020B0403030403020204" pitchFamily="34" charset="0"/>
              </a:defRPr>
            </a:lvl1pPr>
            <a:lvl2pPr>
              <a:spcAft>
                <a:spcPts val="0"/>
              </a:spcAft>
              <a:defRPr sz="19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7" name="Picture Placeholder 7">
            <a:extLst>
              <a:ext uri="{FF2B5EF4-FFF2-40B4-BE49-F238E27FC236}">
                <a16:creationId xmlns:a16="http://schemas.microsoft.com/office/drawing/2014/main" id="{F0056EBF-BE05-42D2-875A-F88BB45383D5}"/>
              </a:ext>
            </a:extLst>
          </p:cNvPr>
          <p:cNvSpPr>
            <a:spLocks noGrp="1"/>
          </p:cNvSpPr>
          <p:nvPr>
            <p:ph type="pic" sz="quarter" idx="13"/>
          </p:nvPr>
        </p:nvSpPr>
        <p:spPr>
          <a:xfrm>
            <a:off x="1101725" y="1633559"/>
            <a:ext cx="3547076" cy="199243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4" name="Footer Placeholder 3">
            <a:extLst>
              <a:ext uri="{FF2B5EF4-FFF2-40B4-BE49-F238E27FC236}">
                <a16:creationId xmlns:a16="http://schemas.microsoft.com/office/drawing/2014/main" id="{26A0D417-B56C-4F40-BBB9-6353086C6FEE}"/>
              </a:ext>
            </a:extLst>
          </p:cNvPr>
          <p:cNvSpPr>
            <a:spLocks noGrp="1"/>
          </p:cNvSpPr>
          <p:nvPr>
            <p:ph type="ftr" sz="quarter" idx="11"/>
          </p:nvPr>
        </p:nvSpPr>
        <p:spPr/>
        <p:txBody>
          <a:bodyPr/>
          <a:lstStyle>
            <a:lvl1pPr>
              <a:defRPr>
                <a:solidFill>
                  <a:srgbClr val="666666"/>
                </a:solidFill>
              </a:defRPr>
            </a:lvl1pPr>
          </a:lstStyle>
          <a:p>
            <a:endParaRPr lang="en-GB"/>
          </a:p>
        </p:txBody>
      </p:sp>
      <p:sp>
        <p:nvSpPr>
          <p:cNvPr id="5" name="Slide Number Placeholder 4">
            <a:extLst>
              <a:ext uri="{FF2B5EF4-FFF2-40B4-BE49-F238E27FC236}">
                <a16:creationId xmlns:a16="http://schemas.microsoft.com/office/drawing/2014/main" id="{E0744BC2-6F26-4CBA-AF49-F421FA5E08B8}"/>
              </a:ext>
            </a:extLst>
          </p:cNvPr>
          <p:cNvSpPr>
            <a:spLocks noGrp="1"/>
          </p:cNvSpPr>
          <p:nvPr>
            <p:ph type="sldNum" sz="quarter" idx="12"/>
          </p:nvPr>
        </p:nvSpPr>
        <p:spPr/>
        <p:txBody>
          <a:bodyPr/>
          <a:lstStyle>
            <a:lvl1pPr>
              <a:defRPr>
                <a:solidFill>
                  <a:srgbClr val="666666"/>
                </a:solidFill>
              </a:defRPr>
            </a:lvl1pPr>
          </a:lstStyle>
          <a:p>
            <a:fld id="{54B1A0A0-1014-43B9-AECC-F6512CB9E662}" type="slidenum">
              <a:rPr lang="en-GB" smtClean="0"/>
              <a:pPr/>
              <a:t>‹#›</a:t>
            </a:fld>
            <a:endParaRPr lang="en-GB"/>
          </a:p>
        </p:txBody>
      </p:sp>
      <p:sp>
        <p:nvSpPr>
          <p:cNvPr id="8" name="Text Placeholder 10">
            <a:extLst>
              <a:ext uri="{FF2B5EF4-FFF2-40B4-BE49-F238E27FC236}">
                <a16:creationId xmlns:a16="http://schemas.microsoft.com/office/drawing/2014/main" id="{B69E4C35-1953-4E14-ADAF-58E488FCE9E6}"/>
              </a:ext>
            </a:extLst>
          </p:cNvPr>
          <p:cNvSpPr>
            <a:spLocks noGrp="1"/>
          </p:cNvSpPr>
          <p:nvPr>
            <p:ph type="body" sz="quarter" idx="15"/>
          </p:nvPr>
        </p:nvSpPr>
        <p:spPr>
          <a:xfrm>
            <a:off x="5277295" y="1633559"/>
            <a:ext cx="6219379" cy="4551363"/>
          </a:xfrm>
          <a:noFill/>
        </p:spPr>
        <p:txBody>
          <a:bodyPr lIns="0" tIns="0" rIns="0" bIns="0"/>
          <a:lstStyle>
            <a:lvl1pPr>
              <a:spcAft>
                <a:spcPts val="1600"/>
              </a:spcAft>
              <a:defRPr sz="1200">
                <a:solidFill>
                  <a:srgbClr val="666666"/>
                </a:solidFill>
                <a:latin typeface="Source Sans Pro Light" panose="020B0403030403020204" pitchFamily="34" charset="0"/>
              </a:defRPr>
            </a:lvl1pPr>
            <a:lvl2pPr>
              <a:spcAft>
                <a:spcPts val="800"/>
              </a:spcAft>
              <a:defRPr sz="147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12" name="Text Placeholder 10">
            <a:extLst>
              <a:ext uri="{FF2B5EF4-FFF2-40B4-BE49-F238E27FC236}">
                <a16:creationId xmlns:a16="http://schemas.microsoft.com/office/drawing/2014/main" id="{4F23BD84-B8C0-3D41-B529-95A9DE47751C}"/>
              </a:ext>
            </a:extLst>
          </p:cNvPr>
          <p:cNvSpPr>
            <a:spLocks noGrp="1"/>
          </p:cNvSpPr>
          <p:nvPr>
            <p:ph type="body" sz="quarter" idx="16"/>
          </p:nvPr>
        </p:nvSpPr>
        <p:spPr>
          <a:xfrm>
            <a:off x="1101601" y="4656618"/>
            <a:ext cx="3547200" cy="479496"/>
          </a:xfrm>
          <a:noFill/>
        </p:spPr>
        <p:txBody>
          <a:bodyPr lIns="0" tIns="0" rIns="0" bIns="0"/>
          <a:lstStyle>
            <a:lvl1pPr>
              <a:spcAft>
                <a:spcPts val="0"/>
              </a:spcAft>
              <a:defRPr sz="1400">
                <a:solidFill>
                  <a:srgbClr val="666666"/>
                </a:solidFill>
                <a:latin typeface="Source Sans Pro Light" panose="020B0403030403020204" pitchFamily="34" charset="0"/>
              </a:defRPr>
            </a:lvl1pPr>
            <a:lvl2pPr>
              <a:spcAft>
                <a:spcPts val="0"/>
              </a:spcAft>
              <a:defRPr sz="1900"/>
            </a:lvl2pPr>
            <a:lvl3pPr>
              <a:spcAft>
                <a:spcPts val="0"/>
              </a:spcAft>
              <a:defRPr sz="1200"/>
            </a:lvl3pPr>
            <a:lvl4pPr>
              <a:spcAft>
                <a:spcPts val="0"/>
              </a:spcAft>
              <a:defRPr sz="1200"/>
            </a:lvl4pPr>
            <a:lvl5pPr>
              <a:spcAft>
                <a:spcPts val="0"/>
              </a:spcAft>
              <a:defRPr sz="1200"/>
            </a:lvl5pPr>
          </a:lstStyle>
          <a:p>
            <a:pPr lvl="0"/>
            <a:r>
              <a:rPr lang="en-US"/>
              <a:t>Click to edit Master text styles</a:t>
            </a:r>
          </a:p>
        </p:txBody>
      </p:sp>
      <p:sp>
        <p:nvSpPr>
          <p:cNvPr id="13" name="Google Shape;170;p15">
            <a:extLst>
              <a:ext uri="{FF2B5EF4-FFF2-40B4-BE49-F238E27FC236}">
                <a16:creationId xmlns:a16="http://schemas.microsoft.com/office/drawing/2014/main" id="{57752E00-2425-A549-A0BC-4BCFDBCFDD7F}"/>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11" name="Title 1">
            <a:extLst>
              <a:ext uri="{FF2B5EF4-FFF2-40B4-BE49-F238E27FC236}">
                <a16:creationId xmlns:a16="http://schemas.microsoft.com/office/drawing/2014/main" id="{91268042-2E32-D742-A1CD-53CB2D2DE52D}"/>
              </a:ext>
            </a:extLst>
          </p:cNvPr>
          <p:cNvSpPr>
            <a:spLocks noGrp="1"/>
          </p:cNvSpPr>
          <p:nvPr>
            <p:ph type="title"/>
          </p:nvPr>
        </p:nvSpPr>
        <p:spPr>
          <a:xfrm>
            <a:off x="1095356" y="123751"/>
            <a:ext cx="10404000" cy="1069095"/>
          </a:xfrm>
        </p:spPr>
        <p:txBody>
          <a:bodyPr anchor="ctr"/>
          <a:lstStyle>
            <a:lvl1pPr>
              <a:defRPr sz="3600">
                <a:solidFill>
                  <a:srgbClr val="444444"/>
                </a:solidFill>
              </a:defRPr>
            </a:lvl1pPr>
          </a:lstStyle>
          <a:p>
            <a:r>
              <a:rPr lang="en-US"/>
              <a:t>Click to edit Master title style</a:t>
            </a:r>
            <a:endParaRPr lang="en-GB"/>
          </a:p>
        </p:txBody>
      </p:sp>
      <p:pic>
        <p:nvPicPr>
          <p:cNvPr id="14" name="Picture 13">
            <a:extLst>
              <a:ext uri="{FF2B5EF4-FFF2-40B4-BE49-F238E27FC236}">
                <a16:creationId xmlns:a16="http://schemas.microsoft.com/office/drawing/2014/main" id="{BF6467DA-3C36-324D-8A70-E800912421C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974376348"/>
      </p:ext>
    </p:extLst>
  </p:cSld>
  <p:clrMapOvr>
    <a:masterClrMapping/>
  </p:clrMapOvr>
  <p:transition>
    <p:fade/>
  </p:transition>
  <p:extLst>
    <p:ext uri="{DCECCB84-F9BA-43D5-87BE-67443E8EF086}">
      <p15:sldGuideLst xmlns:p15="http://schemas.microsoft.com/office/powerpoint/2012/main">
        <p15:guide id="1" pos="3318">
          <p15:clr>
            <a:srgbClr val="FBAE40"/>
          </p15:clr>
        </p15:guide>
        <p15:guide id="2" pos="293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Bio Slide">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C87D4821-96CC-4B12-9B66-87B023291BC0}"/>
              </a:ext>
            </a:extLst>
          </p:cNvPr>
          <p:cNvSpPr>
            <a:spLocks noGrp="1"/>
          </p:cNvSpPr>
          <p:nvPr>
            <p:ph type="body" sz="quarter" idx="14"/>
          </p:nvPr>
        </p:nvSpPr>
        <p:spPr>
          <a:xfrm>
            <a:off x="3215600" y="1633559"/>
            <a:ext cx="2713486" cy="580946"/>
          </a:xfrm>
          <a:noFill/>
        </p:spPr>
        <p:txBody>
          <a:bodyPr lIns="0" tIns="0" rIns="0" bIns="0"/>
          <a:lstStyle>
            <a:lvl1pPr>
              <a:spcAft>
                <a:spcPts val="0"/>
              </a:spcAft>
              <a:defRPr sz="1600">
                <a:solidFill>
                  <a:srgbClr val="666666"/>
                </a:solidFill>
                <a:latin typeface="Source Sans Pro Light" panose="020B0403030403020204" pitchFamily="34" charset="0"/>
              </a:defRPr>
            </a:lvl1pPr>
            <a:lvl2pPr>
              <a:spcAft>
                <a:spcPts val="0"/>
              </a:spcAft>
              <a:defRPr sz="16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7" name="Picture Placeholder 7">
            <a:extLst>
              <a:ext uri="{FF2B5EF4-FFF2-40B4-BE49-F238E27FC236}">
                <a16:creationId xmlns:a16="http://schemas.microsoft.com/office/drawing/2014/main" id="{28B3672A-1DAC-4CAC-B747-7FA1EEEEEA0D}"/>
              </a:ext>
            </a:extLst>
          </p:cNvPr>
          <p:cNvSpPr>
            <a:spLocks noGrp="1"/>
          </p:cNvSpPr>
          <p:nvPr>
            <p:ph type="pic" sz="quarter" idx="13"/>
          </p:nvPr>
        </p:nvSpPr>
        <p:spPr>
          <a:xfrm>
            <a:off x="1101725" y="1633559"/>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4" name="Footer Placeholder 3">
            <a:extLst>
              <a:ext uri="{FF2B5EF4-FFF2-40B4-BE49-F238E27FC236}">
                <a16:creationId xmlns:a16="http://schemas.microsoft.com/office/drawing/2014/main" id="{10611282-DD36-4027-B548-CBC7F5668276}"/>
              </a:ext>
            </a:extLst>
          </p:cNvPr>
          <p:cNvSpPr>
            <a:spLocks noGrp="1"/>
          </p:cNvSpPr>
          <p:nvPr>
            <p:ph type="ftr" sz="quarter" idx="11"/>
          </p:nvPr>
        </p:nvSpPr>
        <p:spPr/>
        <p:txBody>
          <a:bodyPr/>
          <a:lstStyle>
            <a:lvl1pPr>
              <a:defRPr>
                <a:solidFill>
                  <a:srgbClr val="666666"/>
                </a:solidFill>
              </a:defRPr>
            </a:lvl1pPr>
          </a:lstStyle>
          <a:p>
            <a:endParaRPr lang="en-GB"/>
          </a:p>
        </p:txBody>
      </p:sp>
      <p:sp>
        <p:nvSpPr>
          <p:cNvPr id="5" name="Slide Number Placeholder 4">
            <a:extLst>
              <a:ext uri="{FF2B5EF4-FFF2-40B4-BE49-F238E27FC236}">
                <a16:creationId xmlns:a16="http://schemas.microsoft.com/office/drawing/2014/main" id="{DCBC2929-59EA-4BAD-92C2-1819D8C26DCA}"/>
              </a:ext>
            </a:extLst>
          </p:cNvPr>
          <p:cNvSpPr>
            <a:spLocks noGrp="1"/>
          </p:cNvSpPr>
          <p:nvPr>
            <p:ph type="sldNum" sz="quarter" idx="12"/>
          </p:nvPr>
        </p:nvSpPr>
        <p:spPr/>
        <p:txBody>
          <a:bodyPr/>
          <a:lstStyle>
            <a:lvl1pPr>
              <a:defRPr>
                <a:solidFill>
                  <a:srgbClr val="666666"/>
                </a:solidFill>
              </a:defRPr>
            </a:lvl1pPr>
          </a:lstStyle>
          <a:p>
            <a:fld id="{54B1A0A0-1014-43B9-AECC-F6512CB9E662}" type="slidenum">
              <a:rPr lang="en-GB" smtClean="0"/>
              <a:pPr/>
              <a:t>‹#›</a:t>
            </a:fld>
            <a:endParaRPr lang="en-GB"/>
          </a:p>
        </p:txBody>
      </p:sp>
      <p:sp>
        <p:nvSpPr>
          <p:cNvPr id="11" name="Text Placeholder 10">
            <a:extLst>
              <a:ext uri="{FF2B5EF4-FFF2-40B4-BE49-F238E27FC236}">
                <a16:creationId xmlns:a16="http://schemas.microsoft.com/office/drawing/2014/main" id="{6FE3B156-9DD0-4598-9513-6F16D87D404E}"/>
              </a:ext>
            </a:extLst>
          </p:cNvPr>
          <p:cNvSpPr>
            <a:spLocks noGrp="1"/>
          </p:cNvSpPr>
          <p:nvPr>
            <p:ph type="body" sz="quarter" idx="15"/>
          </p:nvPr>
        </p:nvSpPr>
        <p:spPr>
          <a:xfrm>
            <a:off x="1100982" y="2852757"/>
            <a:ext cx="4828103" cy="2868839"/>
          </a:xfrm>
          <a:noFill/>
        </p:spPr>
        <p:txBody>
          <a:bodyPr lIns="0" tIns="0" rIns="0" bIns="0"/>
          <a:lstStyle>
            <a:lvl1pPr>
              <a:spcAft>
                <a:spcPts val="800"/>
              </a:spcAft>
              <a:defRPr sz="1200">
                <a:solidFill>
                  <a:srgbClr val="666666"/>
                </a:solidFill>
                <a:latin typeface="Source Sans Pro Light" panose="020B0403030403020204" pitchFamily="34" charset="0"/>
              </a:defRPr>
            </a:lvl1pPr>
            <a:lvl2pPr>
              <a:spcAft>
                <a:spcPts val="80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13" name="Picture Placeholder 7">
            <a:extLst>
              <a:ext uri="{FF2B5EF4-FFF2-40B4-BE49-F238E27FC236}">
                <a16:creationId xmlns:a16="http://schemas.microsoft.com/office/drawing/2014/main" id="{3B161333-BCF3-4063-BCCB-980F11648284}"/>
              </a:ext>
            </a:extLst>
          </p:cNvPr>
          <p:cNvSpPr>
            <a:spLocks noGrp="1"/>
          </p:cNvSpPr>
          <p:nvPr>
            <p:ph type="pic" sz="quarter" idx="17"/>
          </p:nvPr>
        </p:nvSpPr>
        <p:spPr>
          <a:xfrm>
            <a:off x="6675829" y="1633559"/>
            <a:ext cx="1808163" cy="1015669"/>
          </a:xfrm>
          <a:solidFill>
            <a:schemeClr val="bg1">
              <a:lumMod val="85000"/>
            </a:schemeClr>
          </a:solidFill>
        </p:spPr>
        <p:txBody>
          <a:bodyPr/>
          <a:lstStyle>
            <a:lvl1pPr>
              <a:defRPr>
                <a:solidFill>
                  <a:srgbClr val="666666"/>
                </a:solidFill>
              </a:defRPr>
            </a:lvl1pPr>
          </a:lstStyle>
          <a:p>
            <a:r>
              <a:rPr lang="en-US"/>
              <a:t>Click icon to add picture</a:t>
            </a:r>
            <a:endParaRPr lang="en-GB"/>
          </a:p>
        </p:txBody>
      </p:sp>
      <p:sp>
        <p:nvSpPr>
          <p:cNvPr id="14" name="Text Placeholder 10">
            <a:extLst>
              <a:ext uri="{FF2B5EF4-FFF2-40B4-BE49-F238E27FC236}">
                <a16:creationId xmlns:a16="http://schemas.microsoft.com/office/drawing/2014/main" id="{87D282C3-C680-4FC1-911F-8EEC5273D53D}"/>
              </a:ext>
            </a:extLst>
          </p:cNvPr>
          <p:cNvSpPr>
            <a:spLocks noGrp="1"/>
          </p:cNvSpPr>
          <p:nvPr>
            <p:ph type="body" sz="quarter" idx="18"/>
          </p:nvPr>
        </p:nvSpPr>
        <p:spPr>
          <a:xfrm>
            <a:off x="6675829" y="2852757"/>
            <a:ext cx="4818831" cy="2868839"/>
          </a:xfrm>
          <a:noFill/>
        </p:spPr>
        <p:txBody>
          <a:bodyPr lIns="0" tIns="0" rIns="0" bIns="0"/>
          <a:lstStyle>
            <a:lvl1pPr>
              <a:spcAft>
                <a:spcPts val="800"/>
              </a:spcAft>
              <a:defRPr sz="1200">
                <a:solidFill>
                  <a:srgbClr val="666666"/>
                </a:solidFill>
                <a:latin typeface="Source Sans Pro Light" panose="020B0403030403020204" pitchFamily="34" charset="0"/>
              </a:defRPr>
            </a:lvl1pPr>
            <a:lvl2pPr>
              <a:spcAft>
                <a:spcPts val="800"/>
              </a:spcAft>
              <a:defRPr sz="12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17" name="Text Placeholder 10">
            <a:extLst>
              <a:ext uri="{FF2B5EF4-FFF2-40B4-BE49-F238E27FC236}">
                <a16:creationId xmlns:a16="http://schemas.microsoft.com/office/drawing/2014/main" id="{D7856AFC-49D7-B242-93E7-06F9BBFAE9B6}"/>
              </a:ext>
            </a:extLst>
          </p:cNvPr>
          <p:cNvSpPr>
            <a:spLocks noGrp="1"/>
          </p:cNvSpPr>
          <p:nvPr>
            <p:ph type="body" sz="quarter" idx="19"/>
          </p:nvPr>
        </p:nvSpPr>
        <p:spPr>
          <a:xfrm>
            <a:off x="3215600" y="2358755"/>
            <a:ext cx="2713486" cy="290473"/>
          </a:xfrm>
          <a:noFill/>
        </p:spPr>
        <p:txBody>
          <a:bodyPr lIns="0" tIns="0" rIns="0" bIns="0" anchor="b"/>
          <a:lstStyle>
            <a:lvl1pPr>
              <a:spcAft>
                <a:spcPts val="0"/>
              </a:spcAft>
              <a:defRPr sz="1200">
                <a:solidFill>
                  <a:srgbClr val="666666"/>
                </a:solidFill>
                <a:latin typeface="Source Sans Pro Light" panose="020B0403030403020204" pitchFamily="34" charset="0"/>
              </a:defRPr>
            </a:lvl1pPr>
            <a:lvl2pPr>
              <a:spcAft>
                <a:spcPts val="0"/>
              </a:spcAft>
              <a:defRPr sz="1600"/>
            </a:lvl2pPr>
            <a:lvl3pPr>
              <a:spcAft>
                <a:spcPts val="0"/>
              </a:spcAft>
              <a:defRPr sz="1200"/>
            </a:lvl3pPr>
            <a:lvl4pPr>
              <a:spcAft>
                <a:spcPts val="0"/>
              </a:spcAft>
              <a:defRPr sz="1200"/>
            </a:lvl4pPr>
            <a:lvl5pPr>
              <a:spcAft>
                <a:spcPts val="0"/>
              </a:spcAft>
              <a:defRPr sz="1200"/>
            </a:lvl5pPr>
          </a:lstStyle>
          <a:p>
            <a:pPr lvl="0"/>
            <a:r>
              <a:rPr lang="en-US"/>
              <a:t>Click to edit Master text styles</a:t>
            </a:r>
          </a:p>
        </p:txBody>
      </p:sp>
      <p:sp>
        <p:nvSpPr>
          <p:cNvPr id="18" name="Text Placeholder 10">
            <a:extLst>
              <a:ext uri="{FF2B5EF4-FFF2-40B4-BE49-F238E27FC236}">
                <a16:creationId xmlns:a16="http://schemas.microsoft.com/office/drawing/2014/main" id="{D42551D7-6B04-C949-939D-95EBDE1C5F02}"/>
              </a:ext>
            </a:extLst>
          </p:cNvPr>
          <p:cNvSpPr>
            <a:spLocks noGrp="1"/>
          </p:cNvSpPr>
          <p:nvPr>
            <p:ph type="body" sz="quarter" idx="20"/>
          </p:nvPr>
        </p:nvSpPr>
        <p:spPr>
          <a:xfrm>
            <a:off x="8781174" y="1633559"/>
            <a:ext cx="2713486" cy="580946"/>
          </a:xfrm>
          <a:noFill/>
        </p:spPr>
        <p:txBody>
          <a:bodyPr lIns="0" tIns="0" rIns="0" bIns="0"/>
          <a:lstStyle>
            <a:lvl1pPr>
              <a:spcAft>
                <a:spcPts val="0"/>
              </a:spcAft>
              <a:defRPr sz="1600">
                <a:solidFill>
                  <a:srgbClr val="666666"/>
                </a:solidFill>
                <a:latin typeface="Source Sans Pro Light" panose="020B0403030403020204" pitchFamily="34" charset="0"/>
              </a:defRPr>
            </a:lvl1pPr>
            <a:lvl2pPr>
              <a:spcAft>
                <a:spcPts val="0"/>
              </a:spcAft>
              <a:defRPr sz="1600">
                <a:solidFill>
                  <a:srgbClr val="444444"/>
                </a:solidFill>
              </a:defRPr>
            </a:lvl2pPr>
            <a:lvl3pPr>
              <a:spcAft>
                <a:spcPts val="0"/>
              </a:spcAft>
              <a:defRPr sz="1200"/>
            </a:lvl3pPr>
            <a:lvl4pPr>
              <a:spcAft>
                <a:spcPts val="0"/>
              </a:spcAft>
              <a:defRPr sz="1200"/>
            </a:lvl4pPr>
            <a:lvl5pPr>
              <a:spcAft>
                <a:spcPts val="0"/>
              </a:spcAft>
              <a:defRPr sz="1200"/>
            </a:lvl5pPr>
          </a:lstStyle>
          <a:p>
            <a:pPr lvl="0"/>
            <a:r>
              <a:rPr lang="en-US"/>
              <a:t>Click to edit Master text styles</a:t>
            </a:r>
          </a:p>
          <a:p>
            <a:pPr lvl="1"/>
            <a:r>
              <a:rPr lang="en-US"/>
              <a:t>Second level</a:t>
            </a:r>
          </a:p>
        </p:txBody>
      </p:sp>
      <p:sp>
        <p:nvSpPr>
          <p:cNvPr id="19" name="Text Placeholder 10">
            <a:extLst>
              <a:ext uri="{FF2B5EF4-FFF2-40B4-BE49-F238E27FC236}">
                <a16:creationId xmlns:a16="http://schemas.microsoft.com/office/drawing/2014/main" id="{7701E258-AEED-0545-9DE7-DBAFAAFFF55E}"/>
              </a:ext>
            </a:extLst>
          </p:cNvPr>
          <p:cNvSpPr>
            <a:spLocks noGrp="1"/>
          </p:cNvSpPr>
          <p:nvPr>
            <p:ph type="body" sz="quarter" idx="21"/>
          </p:nvPr>
        </p:nvSpPr>
        <p:spPr>
          <a:xfrm>
            <a:off x="8781174" y="2358755"/>
            <a:ext cx="2713486" cy="290473"/>
          </a:xfrm>
          <a:noFill/>
        </p:spPr>
        <p:txBody>
          <a:bodyPr lIns="0" tIns="0" rIns="0" bIns="0" anchor="b"/>
          <a:lstStyle>
            <a:lvl1pPr>
              <a:spcAft>
                <a:spcPts val="0"/>
              </a:spcAft>
              <a:defRPr sz="1200">
                <a:solidFill>
                  <a:srgbClr val="666666"/>
                </a:solidFill>
                <a:latin typeface="Source Sans Pro Light" panose="020B0403030403020204" pitchFamily="34" charset="0"/>
              </a:defRPr>
            </a:lvl1pPr>
            <a:lvl2pPr>
              <a:spcAft>
                <a:spcPts val="0"/>
              </a:spcAft>
              <a:defRPr sz="1600"/>
            </a:lvl2pPr>
            <a:lvl3pPr>
              <a:spcAft>
                <a:spcPts val="0"/>
              </a:spcAft>
              <a:defRPr sz="1200"/>
            </a:lvl3pPr>
            <a:lvl4pPr>
              <a:spcAft>
                <a:spcPts val="0"/>
              </a:spcAft>
              <a:defRPr sz="1200"/>
            </a:lvl4pPr>
            <a:lvl5pPr>
              <a:spcAft>
                <a:spcPts val="0"/>
              </a:spcAft>
              <a:defRPr sz="1200"/>
            </a:lvl5pPr>
          </a:lstStyle>
          <a:p>
            <a:pPr lvl="0"/>
            <a:r>
              <a:rPr lang="en-US"/>
              <a:t>Click to edit Master text styles</a:t>
            </a:r>
          </a:p>
        </p:txBody>
      </p:sp>
      <p:sp>
        <p:nvSpPr>
          <p:cNvPr id="20" name="Google Shape;170;p15">
            <a:extLst>
              <a:ext uri="{FF2B5EF4-FFF2-40B4-BE49-F238E27FC236}">
                <a16:creationId xmlns:a16="http://schemas.microsoft.com/office/drawing/2014/main" id="{96B16AEF-8182-B04C-A1CC-07E97313F053}"/>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15" name="Title 1">
            <a:extLst>
              <a:ext uri="{FF2B5EF4-FFF2-40B4-BE49-F238E27FC236}">
                <a16:creationId xmlns:a16="http://schemas.microsoft.com/office/drawing/2014/main" id="{2AC40003-4AE3-B846-AA6A-700ECA98B538}"/>
              </a:ext>
            </a:extLst>
          </p:cNvPr>
          <p:cNvSpPr>
            <a:spLocks noGrp="1"/>
          </p:cNvSpPr>
          <p:nvPr>
            <p:ph type="title"/>
          </p:nvPr>
        </p:nvSpPr>
        <p:spPr>
          <a:xfrm>
            <a:off x="1095356" y="123751"/>
            <a:ext cx="10404000" cy="1069095"/>
          </a:xfrm>
        </p:spPr>
        <p:txBody>
          <a:bodyPr anchor="ctr"/>
          <a:lstStyle>
            <a:lvl1pPr>
              <a:defRPr sz="3600">
                <a:solidFill>
                  <a:srgbClr val="444444"/>
                </a:solidFill>
              </a:defRPr>
            </a:lvl1pPr>
          </a:lstStyle>
          <a:p>
            <a:r>
              <a:rPr lang="en-US"/>
              <a:t>Click to edit Master title style</a:t>
            </a:r>
            <a:endParaRPr lang="en-GB"/>
          </a:p>
        </p:txBody>
      </p:sp>
      <p:pic>
        <p:nvPicPr>
          <p:cNvPr id="16" name="Picture 15">
            <a:extLst>
              <a:ext uri="{FF2B5EF4-FFF2-40B4-BE49-F238E27FC236}">
                <a16:creationId xmlns:a16="http://schemas.microsoft.com/office/drawing/2014/main" id="{99E8AFD9-C100-6B4F-A47D-192494E5168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2323453423"/>
      </p:ext>
    </p:extLst>
  </p:cSld>
  <p:clrMapOvr>
    <a:masterClrMapping/>
  </p:clrMapOvr>
  <p:transition>
    <p:fade/>
  </p:transition>
  <p:extLst>
    <p:ext uri="{DCECCB84-F9BA-43D5-87BE-67443E8EF086}">
      <p15:sldGuideLst xmlns:p15="http://schemas.microsoft.com/office/powerpoint/2012/main">
        <p15:guide id="2" pos="4203">
          <p15:clr>
            <a:srgbClr val="FBAE40"/>
          </p15:clr>
        </p15:guide>
        <p15:guide id="3" pos="3735">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ack Cov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494AC0B-3490-4D7D-968F-B85262E1E306}"/>
              </a:ext>
            </a:extLst>
          </p:cNvPr>
          <p:cNvSpPr/>
          <p:nvPr userDrawn="1"/>
        </p:nvSpPr>
        <p:spPr>
          <a:xfrm>
            <a:off x="0" y="0"/>
            <a:ext cx="6096000" cy="685800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a:extLst>
              <a:ext uri="{FF2B5EF4-FFF2-40B4-BE49-F238E27FC236}">
                <a16:creationId xmlns:a16="http://schemas.microsoft.com/office/drawing/2014/main" id="{0EFA1529-36E5-4F47-BCAD-8926FDFE0452}"/>
              </a:ext>
            </a:extLst>
          </p:cNvPr>
          <p:cNvSpPr>
            <a:spLocks noGrp="1"/>
          </p:cNvSpPr>
          <p:nvPr>
            <p:ph type="subTitle" idx="1"/>
          </p:nvPr>
        </p:nvSpPr>
        <p:spPr>
          <a:xfrm>
            <a:off x="1101599" y="5695332"/>
            <a:ext cx="2124000" cy="721343"/>
          </a:xfrm>
        </p:spPr>
        <p:txBody>
          <a:bodyPr/>
          <a:lstStyle>
            <a:lvl1pPr marL="0" indent="0" algn="l">
              <a:spcAft>
                <a:spcPts val="0"/>
              </a:spcAft>
              <a:buNone/>
              <a:defRPr sz="1200">
                <a:solidFill>
                  <a:schemeClr val="bg1"/>
                </a:solidFill>
              </a:defRPr>
            </a:lvl1pPr>
            <a:lvl2pPr marL="0" indent="0" algn="l">
              <a:spcAft>
                <a:spcPts val="1100"/>
              </a:spcAft>
              <a:buNone/>
              <a:defRPr sz="1100" b="0">
                <a:solidFill>
                  <a:schemeClr val="accent3"/>
                </a:solidFill>
              </a:defRPr>
            </a:lvl2pPr>
            <a:lvl3pPr marL="0" indent="0" algn="l">
              <a:spcAft>
                <a:spcPts val="0"/>
              </a:spcAft>
              <a:buFont typeface="Arial" panose="020B0604020202020204" pitchFamily="34" charset="0"/>
              <a:buNone/>
              <a:defRPr sz="11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1" name="Google Shape;144;p13">
            <a:extLst>
              <a:ext uri="{FF2B5EF4-FFF2-40B4-BE49-F238E27FC236}">
                <a16:creationId xmlns:a16="http://schemas.microsoft.com/office/drawing/2014/main" id="{96093233-0248-4259-AAC4-862B575CFA53}"/>
              </a:ext>
            </a:extLst>
          </p:cNvPr>
          <p:cNvSpPr/>
          <p:nvPr userDrawn="1"/>
        </p:nvSpPr>
        <p:spPr>
          <a:xfrm>
            <a:off x="1099399" y="4652000"/>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accent3"/>
              </a:solidFill>
            </a:endParaRPr>
          </a:p>
        </p:txBody>
      </p:sp>
      <p:grpSp>
        <p:nvGrpSpPr>
          <p:cNvPr id="32" name="Google Shape;21;p2">
            <a:extLst>
              <a:ext uri="{FF2B5EF4-FFF2-40B4-BE49-F238E27FC236}">
                <a16:creationId xmlns:a16="http://schemas.microsoft.com/office/drawing/2014/main" id="{6E76771D-1CED-2D41-8A0E-F99A8426C209}"/>
              </a:ext>
            </a:extLst>
          </p:cNvPr>
          <p:cNvGrpSpPr/>
          <p:nvPr userDrawn="1"/>
        </p:nvGrpSpPr>
        <p:grpSpPr>
          <a:xfrm>
            <a:off x="1099106" y="-14"/>
            <a:ext cx="958858" cy="1185166"/>
            <a:chOff x="4763500" y="1239650"/>
            <a:chExt cx="2618400" cy="3235799"/>
          </a:xfrm>
        </p:grpSpPr>
        <p:sp>
          <p:nvSpPr>
            <p:cNvPr id="33" name="Google Shape;22;p2">
              <a:extLst>
                <a:ext uri="{FF2B5EF4-FFF2-40B4-BE49-F238E27FC236}">
                  <a16:creationId xmlns:a16="http://schemas.microsoft.com/office/drawing/2014/main" id="{AC9415F3-0C17-D840-A903-73808BCC4144}"/>
                </a:ext>
              </a:extLst>
            </p:cNvPr>
            <p:cNvSpPr/>
            <p:nvPr/>
          </p:nvSpPr>
          <p:spPr>
            <a:xfrm>
              <a:off x="4763500" y="1239650"/>
              <a:ext cx="2618400" cy="3235799"/>
            </a:xfrm>
            <a:custGeom>
              <a:avLst/>
              <a:gdLst/>
              <a:ahLst/>
              <a:cxnLst/>
              <a:rect l="l" t="t" r="r" b="b"/>
              <a:pathLst>
                <a:path w="120000" h="120000" extrusionOk="0">
                  <a:moveTo>
                    <a:pt x="0" y="0"/>
                  </a:moveTo>
                  <a:lnTo>
                    <a:pt x="0" y="120000"/>
                  </a:lnTo>
                  <a:lnTo>
                    <a:pt x="120000" y="120000"/>
                  </a:lnTo>
                  <a:lnTo>
                    <a:pt x="120000" y="0"/>
                  </a:lnTo>
                  <a:close/>
                </a:path>
              </a:pathLst>
            </a:custGeom>
            <a:solidFill>
              <a:srgbClr val="FFD9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nvGrpSpPr>
            <p:cNvPr id="34" name="Google Shape;23;p2">
              <a:extLst>
                <a:ext uri="{FF2B5EF4-FFF2-40B4-BE49-F238E27FC236}">
                  <a16:creationId xmlns:a16="http://schemas.microsoft.com/office/drawing/2014/main" id="{C229CEEC-D303-7247-BFDF-10F702A37D8E}"/>
                </a:ext>
              </a:extLst>
            </p:cNvPr>
            <p:cNvGrpSpPr/>
            <p:nvPr userDrawn="1"/>
          </p:nvGrpSpPr>
          <p:grpSpPr>
            <a:xfrm>
              <a:off x="5111949" y="2036274"/>
              <a:ext cx="1921499" cy="1642450"/>
              <a:chOff x="5111957" y="2036275"/>
              <a:chExt cx="1921504" cy="1642450"/>
            </a:xfrm>
          </p:grpSpPr>
          <p:sp>
            <p:nvSpPr>
              <p:cNvPr id="35" name="Google Shape;24;p2">
                <a:extLst>
                  <a:ext uri="{FF2B5EF4-FFF2-40B4-BE49-F238E27FC236}">
                    <a16:creationId xmlns:a16="http://schemas.microsoft.com/office/drawing/2014/main" id="{D975BF48-7993-F241-9940-E900271A120F}"/>
                  </a:ext>
                </a:extLst>
              </p:cNvPr>
              <p:cNvSpPr/>
              <p:nvPr/>
            </p:nvSpPr>
            <p:spPr>
              <a:xfrm>
                <a:off x="5111957" y="3461826"/>
                <a:ext cx="1921504" cy="216899"/>
              </a:xfrm>
              <a:custGeom>
                <a:avLst/>
                <a:gdLst/>
                <a:ahLst/>
                <a:cxnLst/>
                <a:rect l="l" t="t" r="r" b="b"/>
                <a:pathLst>
                  <a:path w="120000" h="120000" extrusionOk="0">
                    <a:moveTo>
                      <a:pt x="101489" y="17607"/>
                    </a:moveTo>
                    <a:lnTo>
                      <a:pt x="102301" y="18409"/>
                    </a:lnTo>
                    <a:lnTo>
                      <a:pt x="102933" y="20802"/>
                    </a:lnTo>
                    <a:lnTo>
                      <a:pt x="103205" y="22406"/>
                    </a:lnTo>
                    <a:lnTo>
                      <a:pt x="103475" y="24813"/>
                    </a:lnTo>
                    <a:lnTo>
                      <a:pt x="103565" y="27206"/>
                    </a:lnTo>
                    <a:lnTo>
                      <a:pt x="103747" y="29612"/>
                    </a:lnTo>
                    <a:lnTo>
                      <a:pt x="103836" y="36002"/>
                    </a:lnTo>
                    <a:lnTo>
                      <a:pt x="103747" y="40802"/>
                    </a:lnTo>
                    <a:lnTo>
                      <a:pt x="103565" y="45601"/>
                    </a:lnTo>
                    <a:lnTo>
                      <a:pt x="103294" y="48810"/>
                    </a:lnTo>
                    <a:lnTo>
                      <a:pt x="102933" y="52005"/>
                    </a:lnTo>
                    <a:lnTo>
                      <a:pt x="102482" y="54398"/>
                    </a:lnTo>
                    <a:lnTo>
                      <a:pt x="101850" y="56002"/>
                    </a:lnTo>
                    <a:lnTo>
                      <a:pt x="101127" y="56804"/>
                    </a:lnTo>
                    <a:lnTo>
                      <a:pt x="100315" y="57607"/>
                    </a:lnTo>
                    <a:lnTo>
                      <a:pt x="99231" y="56804"/>
                    </a:lnTo>
                    <a:lnTo>
                      <a:pt x="99231" y="17607"/>
                    </a:lnTo>
                    <a:close/>
                    <a:moveTo>
                      <a:pt x="85597" y="17607"/>
                    </a:moveTo>
                    <a:lnTo>
                      <a:pt x="86501" y="18409"/>
                    </a:lnTo>
                    <a:lnTo>
                      <a:pt x="87313" y="20013"/>
                    </a:lnTo>
                    <a:lnTo>
                      <a:pt x="88035" y="23208"/>
                    </a:lnTo>
                    <a:lnTo>
                      <a:pt x="88577" y="27206"/>
                    </a:lnTo>
                    <a:lnTo>
                      <a:pt x="89028" y="33609"/>
                    </a:lnTo>
                    <a:lnTo>
                      <a:pt x="89298" y="40802"/>
                    </a:lnTo>
                    <a:lnTo>
                      <a:pt x="89570" y="49598"/>
                    </a:lnTo>
                    <a:lnTo>
                      <a:pt x="89570" y="60000"/>
                    </a:lnTo>
                    <a:lnTo>
                      <a:pt x="89570" y="70401"/>
                    </a:lnTo>
                    <a:lnTo>
                      <a:pt x="89298" y="79197"/>
                    </a:lnTo>
                    <a:lnTo>
                      <a:pt x="89028" y="86403"/>
                    </a:lnTo>
                    <a:lnTo>
                      <a:pt x="88577" y="91991"/>
                    </a:lnTo>
                    <a:lnTo>
                      <a:pt x="88035" y="96791"/>
                    </a:lnTo>
                    <a:lnTo>
                      <a:pt x="87313" y="100000"/>
                    </a:lnTo>
                    <a:lnTo>
                      <a:pt x="86501" y="101590"/>
                    </a:lnTo>
                    <a:lnTo>
                      <a:pt x="85597" y="102392"/>
                    </a:lnTo>
                    <a:lnTo>
                      <a:pt x="84694" y="101590"/>
                    </a:lnTo>
                    <a:lnTo>
                      <a:pt x="83881" y="100000"/>
                    </a:lnTo>
                    <a:lnTo>
                      <a:pt x="83250" y="96791"/>
                    </a:lnTo>
                    <a:lnTo>
                      <a:pt x="82708" y="91991"/>
                    </a:lnTo>
                    <a:lnTo>
                      <a:pt x="82256" y="86403"/>
                    </a:lnTo>
                    <a:lnTo>
                      <a:pt x="81895" y="79197"/>
                    </a:lnTo>
                    <a:lnTo>
                      <a:pt x="81714" y="70401"/>
                    </a:lnTo>
                    <a:lnTo>
                      <a:pt x="81625" y="60000"/>
                    </a:lnTo>
                    <a:lnTo>
                      <a:pt x="81714" y="49598"/>
                    </a:lnTo>
                    <a:lnTo>
                      <a:pt x="81895" y="40802"/>
                    </a:lnTo>
                    <a:lnTo>
                      <a:pt x="82256" y="33609"/>
                    </a:lnTo>
                    <a:lnTo>
                      <a:pt x="82708" y="27206"/>
                    </a:lnTo>
                    <a:lnTo>
                      <a:pt x="83250" y="23208"/>
                    </a:lnTo>
                    <a:lnTo>
                      <a:pt x="83881" y="20013"/>
                    </a:lnTo>
                    <a:lnTo>
                      <a:pt x="84694" y="18409"/>
                    </a:lnTo>
                    <a:lnTo>
                      <a:pt x="85597" y="17607"/>
                    </a:lnTo>
                    <a:close/>
                    <a:moveTo>
                      <a:pt x="0" y="2406"/>
                    </a:moveTo>
                    <a:lnTo>
                      <a:pt x="0" y="6403"/>
                    </a:lnTo>
                    <a:lnTo>
                      <a:pt x="451" y="7206"/>
                    </a:lnTo>
                    <a:lnTo>
                      <a:pt x="902" y="9612"/>
                    </a:lnTo>
                    <a:lnTo>
                      <a:pt x="1174" y="12807"/>
                    </a:lnTo>
                    <a:lnTo>
                      <a:pt x="1264" y="14412"/>
                    </a:lnTo>
                    <a:lnTo>
                      <a:pt x="1355" y="16002"/>
                    </a:lnTo>
                    <a:lnTo>
                      <a:pt x="1355" y="115988"/>
                    </a:lnTo>
                    <a:lnTo>
                      <a:pt x="4694" y="115988"/>
                    </a:lnTo>
                    <a:lnTo>
                      <a:pt x="4694" y="2406"/>
                    </a:lnTo>
                    <a:close/>
                    <a:moveTo>
                      <a:pt x="7133" y="2406"/>
                    </a:moveTo>
                    <a:lnTo>
                      <a:pt x="7133" y="6403"/>
                    </a:lnTo>
                    <a:lnTo>
                      <a:pt x="7584" y="7206"/>
                    </a:lnTo>
                    <a:lnTo>
                      <a:pt x="7945" y="9612"/>
                    </a:lnTo>
                    <a:lnTo>
                      <a:pt x="8307" y="12807"/>
                    </a:lnTo>
                    <a:lnTo>
                      <a:pt x="8398" y="14412"/>
                    </a:lnTo>
                    <a:lnTo>
                      <a:pt x="8398" y="16002"/>
                    </a:lnTo>
                    <a:lnTo>
                      <a:pt x="8398" y="115988"/>
                    </a:lnTo>
                    <a:lnTo>
                      <a:pt x="10925" y="115988"/>
                    </a:lnTo>
                    <a:lnTo>
                      <a:pt x="10925" y="40802"/>
                    </a:lnTo>
                    <a:lnTo>
                      <a:pt x="17336" y="115988"/>
                    </a:lnTo>
                    <a:lnTo>
                      <a:pt x="21670" y="115988"/>
                    </a:lnTo>
                    <a:lnTo>
                      <a:pt x="21670" y="2406"/>
                    </a:lnTo>
                    <a:lnTo>
                      <a:pt x="19231" y="2406"/>
                    </a:lnTo>
                    <a:lnTo>
                      <a:pt x="19231" y="86403"/>
                    </a:lnTo>
                    <a:lnTo>
                      <a:pt x="12009" y="2406"/>
                    </a:lnTo>
                    <a:close/>
                    <a:moveTo>
                      <a:pt x="23837" y="2406"/>
                    </a:moveTo>
                    <a:lnTo>
                      <a:pt x="23837" y="6403"/>
                    </a:lnTo>
                    <a:lnTo>
                      <a:pt x="24288" y="8008"/>
                    </a:lnTo>
                    <a:lnTo>
                      <a:pt x="24740" y="9612"/>
                    </a:lnTo>
                    <a:lnTo>
                      <a:pt x="25011" y="12005"/>
                    </a:lnTo>
                    <a:lnTo>
                      <a:pt x="25281" y="15214"/>
                    </a:lnTo>
                    <a:lnTo>
                      <a:pt x="29706" y="115988"/>
                    </a:lnTo>
                    <a:lnTo>
                      <a:pt x="33317" y="115988"/>
                    </a:lnTo>
                    <a:lnTo>
                      <a:pt x="38644" y="2406"/>
                    </a:lnTo>
                    <a:lnTo>
                      <a:pt x="36117" y="2406"/>
                    </a:lnTo>
                    <a:lnTo>
                      <a:pt x="32234" y="85601"/>
                    </a:lnTo>
                    <a:lnTo>
                      <a:pt x="28532" y="2406"/>
                    </a:lnTo>
                    <a:close/>
                    <a:moveTo>
                      <a:pt x="40451" y="2406"/>
                    </a:moveTo>
                    <a:lnTo>
                      <a:pt x="40451" y="6403"/>
                    </a:lnTo>
                    <a:lnTo>
                      <a:pt x="40902" y="7206"/>
                    </a:lnTo>
                    <a:lnTo>
                      <a:pt x="41353" y="9612"/>
                    </a:lnTo>
                    <a:lnTo>
                      <a:pt x="41625" y="12005"/>
                    </a:lnTo>
                    <a:lnTo>
                      <a:pt x="41715" y="14412"/>
                    </a:lnTo>
                    <a:lnTo>
                      <a:pt x="41715" y="16002"/>
                    </a:lnTo>
                    <a:lnTo>
                      <a:pt x="41715" y="115988"/>
                    </a:lnTo>
                    <a:lnTo>
                      <a:pt x="50654" y="115988"/>
                    </a:lnTo>
                    <a:lnTo>
                      <a:pt x="50654" y="99197"/>
                    </a:lnTo>
                    <a:lnTo>
                      <a:pt x="45145" y="99197"/>
                    </a:lnTo>
                    <a:lnTo>
                      <a:pt x="45145" y="63997"/>
                    </a:lnTo>
                    <a:lnTo>
                      <a:pt x="50202" y="63997"/>
                    </a:lnTo>
                    <a:lnTo>
                      <a:pt x="50202" y="48008"/>
                    </a:lnTo>
                    <a:lnTo>
                      <a:pt x="45145" y="48008"/>
                    </a:lnTo>
                    <a:lnTo>
                      <a:pt x="45145" y="19211"/>
                    </a:lnTo>
                    <a:lnTo>
                      <a:pt x="50654" y="19211"/>
                    </a:lnTo>
                    <a:lnTo>
                      <a:pt x="50654" y="2406"/>
                    </a:lnTo>
                    <a:close/>
                    <a:moveTo>
                      <a:pt x="64740" y="2406"/>
                    </a:moveTo>
                    <a:lnTo>
                      <a:pt x="64740" y="19211"/>
                    </a:lnTo>
                    <a:lnTo>
                      <a:pt x="69344" y="19211"/>
                    </a:lnTo>
                    <a:lnTo>
                      <a:pt x="69344" y="115988"/>
                    </a:lnTo>
                    <a:lnTo>
                      <a:pt x="72685" y="115988"/>
                    </a:lnTo>
                    <a:lnTo>
                      <a:pt x="72685" y="19211"/>
                    </a:lnTo>
                    <a:lnTo>
                      <a:pt x="77291" y="19211"/>
                    </a:lnTo>
                    <a:lnTo>
                      <a:pt x="77291" y="2406"/>
                    </a:lnTo>
                    <a:close/>
                    <a:moveTo>
                      <a:pt x="94537" y="2406"/>
                    </a:moveTo>
                    <a:lnTo>
                      <a:pt x="94537" y="6403"/>
                    </a:lnTo>
                    <a:lnTo>
                      <a:pt x="94988" y="7206"/>
                    </a:lnTo>
                    <a:lnTo>
                      <a:pt x="95439" y="9612"/>
                    </a:lnTo>
                    <a:lnTo>
                      <a:pt x="95709" y="12005"/>
                    </a:lnTo>
                    <a:lnTo>
                      <a:pt x="95800" y="13609"/>
                    </a:lnTo>
                    <a:lnTo>
                      <a:pt x="95890" y="15214"/>
                    </a:lnTo>
                    <a:lnTo>
                      <a:pt x="95890" y="115988"/>
                    </a:lnTo>
                    <a:lnTo>
                      <a:pt x="99231" y="115988"/>
                    </a:lnTo>
                    <a:lnTo>
                      <a:pt x="99231" y="66403"/>
                    </a:lnTo>
                    <a:lnTo>
                      <a:pt x="99954" y="70401"/>
                    </a:lnTo>
                    <a:lnTo>
                      <a:pt x="100676" y="76002"/>
                    </a:lnTo>
                    <a:lnTo>
                      <a:pt x="101759" y="88796"/>
                    </a:lnTo>
                    <a:lnTo>
                      <a:pt x="104288" y="115988"/>
                    </a:lnTo>
                    <a:lnTo>
                      <a:pt x="108260" y="115988"/>
                    </a:lnTo>
                    <a:lnTo>
                      <a:pt x="105191" y="83195"/>
                    </a:lnTo>
                    <a:lnTo>
                      <a:pt x="104740" y="77593"/>
                    </a:lnTo>
                    <a:lnTo>
                      <a:pt x="104288" y="72793"/>
                    </a:lnTo>
                    <a:lnTo>
                      <a:pt x="103836" y="68008"/>
                    </a:lnTo>
                    <a:lnTo>
                      <a:pt x="103384" y="64799"/>
                    </a:lnTo>
                    <a:lnTo>
                      <a:pt x="104288" y="63208"/>
                    </a:lnTo>
                    <a:lnTo>
                      <a:pt x="105010" y="61604"/>
                    </a:lnTo>
                    <a:lnTo>
                      <a:pt x="105733" y="58409"/>
                    </a:lnTo>
                    <a:lnTo>
                      <a:pt x="106184" y="55200"/>
                    </a:lnTo>
                    <a:lnTo>
                      <a:pt x="106635" y="51203"/>
                    </a:lnTo>
                    <a:lnTo>
                      <a:pt x="106907" y="46403"/>
                    </a:lnTo>
                    <a:lnTo>
                      <a:pt x="107086" y="41604"/>
                    </a:lnTo>
                    <a:lnTo>
                      <a:pt x="107177" y="36002"/>
                    </a:lnTo>
                    <a:lnTo>
                      <a:pt x="107086" y="28008"/>
                    </a:lnTo>
                    <a:lnTo>
                      <a:pt x="106816" y="21604"/>
                    </a:lnTo>
                    <a:lnTo>
                      <a:pt x="106365" y="16002"/>
                    </a:lnTo>
                    <a:lnTo>
                      <a:pt x="105823" y="11203"/>
                    </a:lnTo>
                    <a:lnTo>
                      <a:pt x="105010" y="7206"/>
                    </a:lnTo>
                    <a:lnTo>
                      <a:pt x="104107" y="4813"/>
                    </a:lnTo>
                    <a:lnTo>
                      <a:pt x="103024" y="3208"/>
                    </a:lnTo>
                    <a:lnTo>
                      <a:pt x="101759" y="2406"/>
                    </a:lnTo>
                    <a:close/>
                    <a:moveTo>
                      <a:pt x="58871" y="816"/>
                    </a:moveTo>
                    <a:lnTo>
                      <a:pt x="57606" y="1604"/>
                    </a:lnTo>
                    <a:lnTo>
                      <a:pt x="56523" y="3208"/>
                    </a:lnTo>
                    <a:lnTo>
                      <a:pt x="55530" y="5615"/>
                    </a:lnTo>
                    <a:lnTo>
                      <a:pt x="54718" y="9612"/>
                    </a:lnTo>
                    <a:lnTo>
                      <a:pt x="54085" y="13609"/>
                    </a:lnTo>
                    <a:lnTo>
                      <a:pt x="53634" y="19211"/>
                    </a:lnTo>
                    <a:lnTo>
                      <a:pt x="53362" y="24813"/>
                    </a:lnTo>
                    <a:lnTo>
                      <a:pt x="53272" y="31203"/>
                    </a:lnTo>
                    <a:lnTo>
                      <a:pt x="53362" y="36804"/>
                    </a:lnTo>
                    <a:lnTo>
                      <a:pt x="53634" y="42406"/>
                    </a:lnTo>
                    <a:lnTo>
                      <a:pt x="53904" y="47206"/>
                    </a:lnTo>
                    <a:lnTo>
                      <a:pt x="54446" y="52005"/>
                    </a:lnTo>
                    <a:lnTo>
                      <a:pt x="55259" y="58409"/>
                    </a:lnTo>
                    <a:lnTo>
                      <a:pt x="56613" y="66403"/>
                    </a:lnTo>
                    <a:lnTo>
                      <a:pt x="58419" y="76002"/>
                    </a:lnTo>
                    <a:lnTo>
                      <a:pt x="58961" y="80000"/>
                    </a:lnTo>
                    <a:lnTo>
                      <a:pt x="59322" y="83997"/>
                    </a:lnTo>
                    <a:lnTo>
                      <a:pt x="59503" y="87192"/>
                    </a:lnTo>
                    <a:lnTo>
                      <a:pt x="59594" y="91203"/>
                    </a:lnTo>
                    <a:lnTo>
                      <a:pt x="59503" y="93596"/>
                    </a:lnTo>
                    <a:lnTo>
                      <a:pt x="59412" y="96002"/>
                    </a:lnTo>
                    <a:lnTo>
                      <a:pt x="59141" y="98395"/>
                    </a:lnTo>
                    <a:lnTo>
                      <a:pt x="58871" y="100000"/>
                    </a:lnTo>
                    <a:lnTo>
                      <a:pt x="58238" y="101590"/>
                    </a:lnTo>
                    <a:lnTo>
                      <a:pt x="56432" y="101590"/>
                    </a:lnTo>
                    <a:lnTo>
                      <a:pt x="55259" y="100000"/>
                    </a:lnTo>
                    <a:lnTo>
                      <a:pt x="54176" y="96791"/>
                    </a:lnTo>
                    <a:lnTo>
                      <a:pt x="53181" y="92793"/>
                    </a:lnTo>
                    <a:lnTo>
                      <a:pt x="53181" y="112793"/>
                    </a:lnTo>
                    <a:lnTo>
                      <a:pt x="54176" y="115200"/>
                    </a:lnTo>
                    <a:lnTo>
                      <a:pt x="55169" y="116791"/>
                    </a:lnTo>
                    <a:lnTo>
                      <a:pt x="56252" y="117593"/>
                    </a:lnTo>
                    <a:lnTo>
                      <a:pt x="57245" y="118395"/>
                    </a:lnTo>
                    <a:lnTo>
                      <a:pt x="58148" y="117593"/>
                    </a:lnTo>
                    <a:lnTo>
                      <a:pt x="58961" y="116791"/>
                    </a:lnTo>
                    <a:lnTo>
                      <a:pt x="59773" y="115988"/>
                    </a:lnTo>
                    <a:lnTo>
                      <a:pt x="60496" y="113596"/>
                    </a:lnTo>
                    <a:lnTo>
                      <a:pt x="61038" y="111189"/>
                    </a:lnTo>
                    <a:lnTo>
                      <a:pt x="61670" y="108796"/>
                    </a:lnTo>
                    <a:lnTo>
                      <a:pt x="62121" y="105601"/>
                    </a:lnTo>
                    <a:lnTo>
                      <a:pt x="62482" y="102392"/>
                    </a:lnTo>
                    <a:lnTo>
                      <a:pt x="62754" y="98395"/>
                    </a:lnTo>
                    <a:lnTo>
                      <a:pt x="62933" y="94398"/>
                    </a:lnTo>
                    <a:lnTo>
                      <a:pt x="63114" y="89598"/>
                    </a:lnTo>
                    <a:lnTo>
                      <a:pt x="63114" y="84799"/>
                    </a:lnTo>
                    <a:lnTo>
                      <a:pt x="63114" y="80802"/>
                    </a:lnTo>
                    <a:lnTo>
                      <a:pt x="62933" y="76804"/>
                    </a:lnTo>
                    <a:lnTo>
                      <a:pt x="62754" y="72793"/>
                    </a:lnTo>
                    <a:lnTo>
                      <a:pt x="62391" y="68796"/>
                    </a:lnTo>
                    <a:lnTo>
                      <a:pt x="61940" y="63997"/>
                    </a:lnTo>
                    <a:lnTo>
                      <a:pt x="61489" y="60000"/>
                    </a:lnTo>
                    <a:lnTo>
                      <a:pt x="60857" y="56002"/>
                    </a:lnTo>
                    <a:lnTo>
                      <a:pt x="60134" y="52005"/>
                    </a:lnTo>
                    <a:lnTo>
                      <a:pt x="58238" y="41604"/>
                    </a:lnTo>
                    <a:lnTo>
                      <a:pt x="57516" y="36804"/>
                    </a:lnTo>
                    <a:lnTo>
                      <a:pt x="57064" y="33609"/>
                    </a:lnTo>
                    <a:lnTo>
                      <a:pt x="56794" y="30401"/>
                    </a:lnTo>
                    <a:lnTo>
                      <a:pt x="56704" y="28008"/>
                    </a:lnTo>
                    <a:lnTo>
                      <a:pt x="56794" y="24813"/>
                    </a:lnTo>
                    <a:lnTo>
                      <a:pt x="57064" y="21604"/>
                    </a:lnTo>
                    <a:lnTo>
                      <a:pt x="57427" y="20013"/>
                    </a:lnTo>
                    <a:lnTo>
                      <a:pt x="57878" y="18409"/>
                    </a:lnTo>
                    <a:lnTo>
                      <a:pt x="58419" y="17607"/>
                    </a:lnTo>
                    <a:lnTo>
                      <a:pt x="59052" y="16804"/>
                    </a:lnTo>
                    <a:lnTo>
                      <a:pt x="59864" y="17607"/>
                    </a:lnTo>
                    <a:lnTo>
                      <a:pt x="60587" y="19211"/>
                    </a:lnTo>
                    <a:lnTo>
                      <a:pt x="61128" y="20802"/>
                    </a:lnTo>
                    <a:lnTo>
                      <a:pt x="61580" y="23208"/>
                    </a:lnTo>
                    <a:lnTo>
                      <a:pt x="61850" y="26403"/>
                    </a:lnTo>
                    <a:lnTo>
                      <a:pt x="62121" y="29612"/>
                    </a:lnTo>
                    <a:lnTo>
                      <a:pt x="62482" y="29612"/>
                    </a:lnTo>
                    <a:lnTo>
                      <a:pt x="62482" y="5615"/>
                    </a:lnTo>
                    <a:lnTo>
                      <a:pt x="61670" y="3208"/>
                    </a:lnTo>
                    <a:lnTo>
                      <a:pt x="60766" y="1604"/>
                    </a:lnTo>
                    <a:lnTo>
                      <a:pt x="59864" y="816"/>
                    </a:lnTo>
                    <a:close/>
                    <a:moveTo>
                      <a:pt x="115754" y="816"/>
                    </a:moveTo>
                    <a:lnTo>
                      <a:pt x="114491" y="1604"/>
                    </a:lnTo>
                    <a:lnTo>
                      <a:pt x="113317" y="3208"/>
                    </a:lnTo>
                    <a:lnTo>
                      <a:pt x="112413" y="5615"/>
                    </a:lnTo>
                    <a:lnTo>
                      <a:pt x="111601" y="9612"/>
                    </a:lnTo>
                    <a:lnTo>
                      <a:pt x="110969" y="13609"/>
                    </a:lnTo>
                    <a:lnTo>
                      <a:pt x="110518" y="19211"/>
                    </a:lnTo>
                    <a:lnTo>
                      <a:pt x="110248" y="24813"/>
                    </a:lnTo>
                    <a:lnTo>
                      <a:pt x="110157" y="31203"/>
                    </a:lnTo>
                    <a:lnTo>
                      <a:pt x="110248" y="36804"/>
                    </a:lnTo>
                    <a:lnTo>
                      <a:pt x="110427" y="42406"/>
                    </a:lnTo>
                    <a:lnTo>
                      <a:pt x="110788" y="47206"/>
                    </a:lnTo>
                    <a:lnTo>
                      <a:pt x="111330" y="52005"/>
                    </a:lnTo>
                    <a:lnTo>
                      <a:pt x="112143" y="58409"/>
                    </a:lnTo>
                    <a:lnTo>
                      <a:pt x="113497" y="66403"/>
                    </a:lnTo>
                    <a:lnTo>
                      <a:pt x="115303" y="76002"/>
                    </a:lnTo>
                    <a:lnTo>
                      <a:pt x="115845" y="80000"/>
                    </a:lnTo>
                    <a:lnTo>
                      <a:pt x="116206" y="83997"/>
                    </a:lnTo>
                    <a:lnTo>
                      <a:pt x="116387" y="87192"/>
                    </a:lnTo>
                    <a:lnTo>
                      <a:pt x="116477" y="91203"/>
                    </a:lnTo>
                    <a:lnTo>
                      <a:pt x="116387" y="93596"/>
                    </a:lnTo>
                    <a:lnTo>
                      <a:pt x="116296" y="96002"/>
                    </a:lnTo>
                    <a:lnTo>
                      <a:pt x="116026" y="98395"/>
                    </a:lnTo>
                    <a:lnTo>
                      <a:pt x="115754" y="100000"/>
                    </a:lnTo>
                    <a:lnTo>
                      <a:pt x="115122" y="101590"/>
                    </a:lnTo>
                    <a:lnTo>
                      <a:pt x="113227" y="101590"/>
                    </a:lnTo>
                    <a:lnTo>
                      <a:pt x="112143" y="100000"/>
                    </a:lnTo>
                    <a:lnTo>
                      <a:pt x="111060" y="96791"/>
                    </a:lnTo>
                    <a:lnTo>
                      <a:pt x="110067" y="92793"/>
                    </a:lnTo>
                    <a:lnTo>
                      <a:pt x="110067" y="112793"/>
                    </a:lnTo>
                    <a:lnTo>
                      <a:pt x="111060" y="115200"/>
                    </a:lnTo>
                    <a:lnTo>
                      <a:pt x="112053" y="116791"/>
                    </a:lnTo>
                    <a:lnTo>
                      <a:pt x="113046" y="117593"/>
                    </a:lnTo>
                    <a:lnTo>
                      <a:pt x="114129" y="118395"/>
                    </a:lnTo>
                    <a:lnTo>
                      <a:pt x="115033" y="117593"/>
                    </a:lnTo>
                    <a:lnTo>
                      <a:pt x="115845" y="116791"/>
                    </a:lnTo>
                    <a:lnTo>
                      <a:pt x="116658" y="115988"/>
                    </a:lnTo>
                    <a:lnTo>
                      <a:pt x="117289" y="113596"/>
                    </a:lnTo>
                    <a:lnTo>
                      <a:pt x="117921" y="111189"/>
                    </a:lnTo>
                    <a:lnTo>
                      <a:pt x="118463" y="108796"/>
                    </a:lnTo>
                    <a:lnTo>
                      <a:pt x="118914" y="105601"/>
                    </a:lnTo>
                    <a:lnTo>
                      <a:pt x="119367" y="102392"/>
                    </a:lnTo>
                    <a:lnTo>
                      <a:pt x="119637" y="98395"/>
                    </a:lnTo>
                    <a:lnTo>
                      <a:pt x="119818" y="94398"/>
                    </a:lnTo>
                    <a:lnTo>
                      <a:pt x="119998" y="89598"/>
                    </a:lnTo>
                    <a:lnTo>
                      <a:pt x="119998" y="84799"/>
                    </a:lnTo>
                    <a:lnTo>
                      <a:pt x="119909" y="80802"/>
                    </a:lnTo>
                    <a:lnTo>
                      <a:pt x="119818" y="76804"/>
                    </a:lnTo>
                    <a:lnTo>
                      <a:pt x="119547" y="72793"/>
                    </a:lnTo>
                    <a:lnTo>
                      <a:pt x="119277" y="68796"/>
                    </a:lnTo>
                    <a:lnTo>
                      <a:pt x="118825" y="63997"/>
                    </a:lnTo>
                    <a:lnTo>
                      <a:pt x="118373" y="60000"/>
                    </a:lnTo>
                    <a:lnTo>
                      <a:pt x="117742" y="56002"/>
                    </a:lnTo>
                    <a:lnTo>
                      <a:pt x="117019" y="52005"/>
                    </a:lnTo>
                    <a:lnTo>
                      <a:pt x="115033" y="41604"/>
                    </a:lnTo>
                    <a:lnTo>
                      <a:pt x="114401" y="36804"/>
                    </a:lnTo>
                    <a:lnTo>
                      <a:pt x="113950" y="33609"/>
                    </a:lnTo>
                    <a:lnTo>
                      <a:pt x="113678" y="30401"/>
                    </a:lnTo>
                    <a:lnTo>
                      <a:pt x="113587" y="28008"/>
                    </a:lnTo>
                    <a:lnTo>
                      <a:pt x="113678" y="24813"/>
                    </a:lnTo>
                    <a:lnTo>
                      <a:pt x="113950" y="21604"/>
                    </a:lnTo>
                    <a:lnTo>
                      <a:pt x="114310" y="20013"/>
                    </a:lnTo>
                    <a:lnTo>
                      <a:pt x="114761" y="18409"/>
                    </a:lnTo>
                    <a:lnTo>
                      <a:pt x="115303" y="17607"/>
                    </a:lnTo>
                    <a:lnTo>
                      <a:pt x="115935" y="16804"/>
                    </a:lnTo>
                    <a:lnTo>
                      <a:pt x="116747" y="17607"/>
                    </a:lnTo>
                    <a:lnTo>
                      <a:pt x="117470" y="19211"/>
                    </a:lnTo>
                    <a:lnTo>
                      <a:pt x="118012" y="20802"/>
                    </a:lnTo>
                    <a:lnTo>
                      <a:pt x="118463" y="23208"/>
                    </a:lnTo>
                    <a:lnTo>
                      <a:pt x="118735" y="26403"/>
                    </a:lnTo>
                    <a:lnTo>
                      <a:pt x="118914" y="29612"/>
                    </a:lnTo>
                    <a:lnTo>
                      <a:pt x="119367" y="29612"/>
                    </a:lnTo>
                    <a:lnTo>
                      <a:pt x="119367" y="5615"/>
                    </a:lnTo>
                    <a:lnTo>
                      <a:pt x="118463" y="3208"/>
                    </a:lnTo>
                    <a:lnTo>
                      <a:pt x="117651" y="1604"/>
                    </a:lnTo>
                    <a:lnTo>
                      <a:pt x="116747" y="816"/>
                    </a:lnTo>
                    <a:close/>
                    <a:moveTo>
                      <a:pt x="84785" y="13"/>
                    </a:moveTo>
                    <a:lnTo>
                      <a:pt x="83971" y="816"/>
                    </a:lnTo>
                    <a:lnTo>
                      <a:pt x="83160" y="2406"/>
                    </a:lnTo>
                    <a:lnTo>
                      <a:pt x="82527" y="4813"/>
                    </a:lnTo>
                    <a:lnTo>
                      <a:pt x="81804" y="7206"/>
                    </a:lnTo>
                    <a:lnTo>
                      <a:pt x="81172" y="10414"/>
                    </a:lnTo>
                    <a:lnTo>
                      <a:pt x="80630" y="13609"/>
                    </a:lnTo>
                    <a:lnTo>
                      <a:pt x="80179" y="17607"/>
                    </a:lnTo>
                    <a:lnTo>
                      <a:pt x="79728" y="21604"/>
                    </a:lnTo>
                    <a:lnTo>
                      <a:pt x="79277" y="26403"/>
                    </a:lnTo>
                    <a:lnTo>
                      <a:pt x="78916" y="31203"/>
                    </a:lnTo>
                    <a:lnTo>
                      <a:pt x="78644" y="36804"/>
                    </a:lnTo>
                    <a:lnTo>
                      <a:pt x="78463" y="41604"/>
                    </a:lnTo>
                    <a:lnTo>
                      <a:pt x="78284" y="48008"/>
                    </a:lnTo>
                    <a:lnTo>
                      <a:pt x="78193" y="53609"/>
                    </a:lnTo>
                    <a:lnTo>
                      <a:pt x="78103" y="60000"/>
                    </a:lnTo>
                    <a:lnTo>
                      <a:pt x="78193" y="65601"/>
                    </a:lnTo>
                    <a:lnTo>
                      <a:pt x="78284" y="72005"/>
                    </a:lnTo>
                    <a:lnTo>
                      <a:pt x="78463" y="77593"/>
                    </a:lnTo>
                    <a:lnTo>
                      <a:pt x="78644" y="83195"/>
                    </a:lnTo>
                    <a:lnTo>
                      <a:pt x="78916" y="88796"/>
                    </a:lnTo>
                    <a:lnTo>
                      <a:pt x="79277" y="93596"/>
                    </a:lnTo>
                    <a:lnTo>
                      <a:pt x="79728" y="98395"/>
                    </a:lnTo>
                    <a:lnTo>
                      <a:pt x="80179" y="102392"/>
                    </a:lnTo>
                    <a:lnTo>
                      <a:pt x="80630" y="106390"/>
                    </a:lnTo>
                    <a:lnTo>
                      <a:pt x="81172" y="109598"/>
                    </a:lnTo>
                    <a:lnTo>
                      <a:pt x="81804" y="112793"/>
                    </a:lnTo>
                    <a:lnTo>
                      <a:pt x="82527" y="115200"/>
                    </a:lnTo>
                    <a:lnTo>
                      <a:pt x="83160" y="116791"/>
                    </a:lnTo>
                    <a:lnTo>
                      <a:pt x="83971" y="118395"/>
                    </a:lnTo>
                    <a:lnTo>
                      <a:pt x="84785" y="119197"/>
                    </a:lnTo>
                    <a:lnTo>
                      <a:pt x="85597" y="120000"/>
                    </a:lnTo>
                    <a:lnTo>
                      <a:pt x="86501" y="119197"/>
                    </a:lnTo>
                    <a:lnTo>
                      <a:pt x="87222" y="118395"/>
                    </a:lnTo>
                    <a:lnTo>
                      <a:pt x="88035" y="116791"/>
                    </a:lnTo>
                    <a:lnTo>
                      <a:pt x="88757" y="115200"/>
                    </a:lnTo>
                    <a:lnTo>
                      <a:pt x="89389" y="112793"/>
                    </a:lnTo>
                    <a:lnTo>
                      <a:pt x="90021" y="109598"/>
                    </a:lnTo>
                    <a:lnTo>
                      <a:pt x="90563" y="106390"/>
                    </a:lnTo>
                    <a:lnTo>
                      <a:pt x="91105" y="102392"/>
                    </a:lnTo>
                    <a:lnTo>
                      <a:pt x="91556" y="98395"/>
                    </a:lnTo>
                    <a:lnTo>
                      <a:pt x="91918" y="93596"/>
                    </a:lnTo>
                    <a:lnTo>
                      <a:pt x="92279" y="88796"/>
                    </a:lnTo>
                    <a:lnTo>
                      <a:pt x="92549" y="83195"/>
                    </a:lnTo>
                    <a:lnTo>
                      <a:pt x="92821" y="77593"/>
                    </a:lnTo>
                    <a:lnTo>
                      <a:pt x="92911" y="72005"/>
                    </a:lnTo>
                    <a:lnTo>
                      <a:pt x="93091" y="65601"/>
                    </a:lnTo>
                    <a:lnTo>
                      <a:pt x="93091" y="60000"/>
                    </a:lnTo>
                    <a:lnTo>
                      <a:pt x="93091" y="53609"/>
                    </a:lnTo>
                    <a:lnTo>
                      <a:pt x="92911" y="48008"/>
                    </a:lnTo>
                    <a:lnTo>
                      <a:pt x="92821" y="41604"/>
                    </a:lnTo>
                    <a:lnTo>
                      <a:pt x="92549" y="36804"/>
                    </a:lnTo>
                    <a:lnTo>
                      <a:pt x="92279" y="31203"/>
                    </a:lnTo>
                    <a:lnTo>
                      <a:pt x="91918" y="26403"/>
                    </a:lnTo>
                    <a:lnTo>
                      <a:pt x="91556" y="21604"/>
                    </a:lnTo>
                    <a:lnTo>
                      <a:pt x="91105" y="17607"/>
                    </a:lnTo>
                    <a:lnTo>
                      <a:pt x="90563" y="13609"/>
                    </a:lnTo>
                    <a:lnTo>
                      <a:pt x="90021" y="10414"/>
                    </a:lnTo>
                    <a:lnTo>
                      <a:pt x="89389" y="7206"/>
                    </a:lnTo>
                    <a:lnTo>
                      <a:pt x="88757" y="4813"/>
                    </a:lnTo>
                    <a:lnTo>
                      <a:pt x="88035" y="2406"/>
                    </a:lnTo>
                    <a:lnTo>
                      <a:pt x="87222" y="816"/>
                    </a:lnTo>
                    <a:lnTo>
                      <a:pt x="86501" y="13"/>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6" name="Google Shape;25;p2">
                <a:extLst>
                  <a:ext uri="{FF2B5EF4-FFF2-40B4-BE49-F238E27FC236}">
                    <a16:creationId xmlns:a16="http://schemas.microsoft.com/office/drawing/2014/main" id="{4D1B0EA9-3A8B-D744-BE4B-9A085CB5F47D}"/>
                  </a:ext>
                </a:extLst>
              </p:cNvPr>
              <p:cNvSpPr/>
              <p:nvPr/>
            </p:nvSpPr>
            <p:spPr>
              <a:xfrm>
                <a:off x="5111957" y="3466175"/>
                <a:ext cx="75301" cy="205200"/>
              </a:xfrm>
              <a:custGeom>
                <a:avLst/>
                <a:gdLst/>
                <a:ahLst/>
                <a:cxnLst/>
                <a:rect l="l" t="t" r="r" b="b"/>
                <a:pathLst>
                  <a:path w="120000" h="120000" fill="none" extrusionOk="0">
                    <a:moveTo>
                      <a:pt x="0" y="4222"/>
                    </a:moveTo>
                    <a:lnTo>
                      <a:pt x="0" y="4222"/>
                    </a:lnTo>
                    <a:lnTo>
                      <a:pt x="11529" y="5070"/>
                    </a:lnTo>
                    <a:lnTo>
                      <a:pt x="23058" y="7612"/>
                    </a:lnTo>
                    <a:lnTo>
                      <a:pt x="23058" y="7612"/>
                    </a:lnTo>
                    <a:lnTo>
                      <a:pt x="30000" y="10987"/>
                    </a:lnTo>
                    <a:lnTo>
                      <a:pt x="32313" y="12682"/>
                    </a:lnTo>
                    <a:lnTo>
                      <a:pt x="34627" y="14362"/>
                    </a:lnTo>
                    <a:lnTo>
                      <a:pt x="34627" y="119985"/>
                    </a:lnTo>
                    <a:lnTo>
                      <a:pt x="119960" y="119985"/>
                    </a:lnTo>
                    <a:lnTo>
                      <a:pt x="119960"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7" name="Google Shape;26;p2">
                <a:extLst>
                  <a:ext uri="{FF2B5EF4-FFF2-40B4-BE49-F238E27FC236}">
                    <a16:creationId xmlns:a16="http://schemas.microsoft.com/office/drawing/2014/main" id="{BC220B86-4ACB-EE4E-9097-9FC22D93A174}"/>
                  </a:ext>
                </a:extLst>
              </p:cNvPr>
              <p:cNvSpPr/>
              <p:nvPr/>
            </p:nvSpPr>
            <p:spPr>
              <a:xfrm>
                <a:off x="5226157" y="3466175"/>
                <a:ext cx="232800" cy="205200"/>
              </a:xfrm>
              <a:custGeom>
                <a:avLst/>
                <a:gdLst/>
                <a:ahLst/>
                <a:cxnLst/>
                <a:rect l="l" t="t" r="r" b="b"/>
                <a:pathLst>
                  <a:path w="120000" h="120000" fill="none" extrusionOk="0">
                    <a:moveTo>
                      <a:pt x="99871" y="88732"/>
                    </a:moveTo>
                    <a:lnTo>
                      <a:pt x="40257" y="0"/>
                    </a:lnTo>
                    <a:lnTo>
                      <a:pt x="12" y="0"/>
                    </a:lnTo>
                    <a:lnTo>
                      <a:pt x="12" y="4222"/>
                    </a:lnTo>
                    <a:lnTo>
                      <a:pt x="12" y="4222"/>
                    </a:lnTo>
                    <a:lnTo>
                      <a:pt x="3737" y="5070"/>
                    </a:lnTo>
                    <a:lnTo>
                      <a:pt x="6713" y="7612"/>
                    </a:lnTo>
                    <a:lnTo>
                      <a:pt x="6713" y="7612"/>
                    </a:lnTo>
                    <a:lnTo>
                      <a:pt x="9703" y="10987"/>
                    </a:lnTo>
                    <a:lnTo>
                      <a:pt x="10451" y="12682"/>
                    </a:lnTo>
                    <a:lnTo>
                      <a:pt x="10451" y="14362"/>
                    </a:lnTo>
                    <a:lnTo>
                      <a:pt x="10451" y="119985"/>
                    </a:lnTo>
                    <a:lnTo>
                      <a:pt x="31314" y="119985"/>
                    </a:lnTo>
                    <a:lnTo>
                      <a:pt x="31314" y="40560"/>
                    </a:lnTo>
                    <a:lnTo>
                      <a:pt x="84226" y="119985"/>
                    </a:lnTo>
                    <a:lnTo>
                      <a:pt x="120000" y="119985"/>
                    </a:lnTo>
                    <a:lnTo>
                      <a:pt x="120000" y="0"/>
                    </a:lnTo>
                    <a:lnTo>
                      <a:pt x="99871" y="0"/>
                    </a:lnTo>
                    <a:lnTo>
                      <a:pt x="99871" y="8873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8" name="Google Shape;27;p2">
                <a:extLst>
                  <a:ext uri="{FF2B5EF4-FFF2-40B4-BE49-F238E27FC236}">
                    <a16:creationId xmlns:a16="http://schemas.microsoft.com/office/drawing/2014/main" id="{76D57566-0380-8D4C-A822-8BD22835B2B8}"/>
                  </a:ext>
                </a:extLst>
              </p:cNvPr>
              <p:cNvSpPr/>
              <p:nvPr/>
            </p:nvSpPr>
            <p:spPr>
              <a:xfrm>
                <a:off x="5493632" y="3466175"/>
                <a:ext cx="236999" cy="205200"/>
              </a:xfrm>
              <a:custGeom>
                <a:avLst/>
                <a:gdLst/>
                <a:ahLst/>
                <a:cxnLst/>
                <a:rect l="l" t="t" r="r" b="b"/>
                <a:pathLst>
                  <a:path w="120000" h="120000" fill="none" extrusionOk="0">
                    <a:moveTo>
                      <a:pt x="68045" y="87885"/>
                    </a:moveTo>
                    <a:lnTo>
                      <a:pt x="38051" y="0"/>
                    </a:lnTo>
                    <a:lnTo>
                      <a:pt x="12" y="0"/>
                    </a:lnTo>
                    <a:lnTo>
                      <a:pt x="12" y="4222"/>
                    </a:lnTo>
                    <a:lnTo>
                      <a:pt x="12" y="4222"/>
                    </a:lnTo>
                    <a:lnTo>
                      <a:pt x="3668" y="5917"/>
                    </a:lnTo>
                    <a:lnTo>
                      <a:pt x="7324" y="7612"/>
                    </a:lnTo>
                    <a:lnTo>
                      <a:pt x="9525" y="10140"/>
                    </a:lnTo>
                    <a:lnTo>
                      <a:pt x="11714" y="13529"/>
                    </a:lnTo>
                    <a:lnTo>
                      <a:pt x="47564" y="119985"/>
                    </a:lnTo>
                    <a:lnTo>
                      <a:pt x="76824" y="119985"/>
                    </a:lnTo>
                    <a:lnTo>
                      <a:pt x="119987" y="0"/>
                    </a:lnTo>
                    <a:lnTo>
                      <a:pt x="99506" y="0"/>
                    </a:lnTo>
                    <a:lnTo>
                      <a:pt x="68045" y="8788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39" name="Google Shape;28;p2">
                <a:extLst>
                  <a:ext uri="{FF2B5EF4-FFF2-40B4-BE49-F238E27FC236}">
                    <a16:creationId xmlns:a16="http://schemas.microsoft.com/office/drawing/2014/main" id="{39A9F05D-E287-504B-9629-BA7179193F4B}"/>
                  </a:ext>
                </a:extLst>
              </p:cNvPr>
              <p:cNvSpPr/>
              <p:nvPr/>
            </p:nvSpPr>
            <p:spPr>
              <a:xfrm>
                <a:off x="5759684" y="3466175"/>
                <a:ext cx="163501" cy="205200"/>
              </a:xfrm>
              <a:custGeom>
                <a:avLst/>
                <a:gdLst/>
                <a:ahLst/>
                <a:cxnLst/>
                <a:rect l="l" t="t" r="r" b="b"/>
                <a:pathLst>
                  <a:path w="120000" h="120000" fill="none" extrusionOk="0">
                    <a:moveTo>
                      <a:pt x="0" y="4222"/>
                    </a:moveTo>
                    <a:lnTo>
                      <a:pt x="0" y="4222"/>
                    </a:lnTo>
                    <a:lnTo>
                      <a:pt x="5305" y="5070"/>
                    </a:lnTo>
                    <a:lnTo>
                      <a:pt x="10611" y="7612"/>
                    </a:lnTo>
                    <a:lnTo>
                      <a:pt x="10611" y="7612"/>
                    </a:lnTo>
                    <a:lnTo>
                      <a:pt x="13806" y="10140"/>
                    </a:lnTo>
                    <a:lnTo>
                      <a:pt x="14871" y="12682"/>
                    </a:lnTo>
                    <a:lnTo>
                      <a:pt x="14871" y="14362"/>
                    </a:lnTo>
                    <a:lnTo>
                      <a:pt x="14871" y="119985"/>
                    </a:lnTo>
                    <a:lnTo>
                      <a:pt x="119981" y="119985"/>
                    </a:lnTo>
                    <a:lnTo>
                      <a:pt x="119981" y="102247"/>
                    </a:lnTo>
                    <a:lnTo>
                      <a:pt x="55208" y="102247"/>
                    </a:lnTo>
                    <a:lnTo>
                      <a:pt x="55208" y="65062"/>
                    </a:lnTo>
                    <a:lnTo>
                      <a:pt x="114675" y="65062"/>
                    </a:lnTo>
                    <a:lnTo>
                      <a:pt x="114675" y="48172"/>
                    </a:lnTo>
                    <a:lnTo>
                      <a:pt x="55208" y="48172"/>
                    </a:lnTo>
                    <a:lnTo>
                      <a:pt x="55208" y="17752"/>
                    </a:lnTo>
                    <a:lnTo>
                      <a:pt x="119981" y="17752"/>
                    </a:lnTo>
                    <a:lnTo>
                      <a:pt x="119981" y="0"/>
                    </a:lnTo>
                    <a:lnTo>
                      <a:pt x="0" y="0"/>
                    </a:lnTo>
                    <a:lnTo>
                      <a:pt x="0" y="422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0" name="Google Shape;29;p2">
                <a:extLst>
                  <a:ext uri="{FF2B5EF4-FFF2-40B4-BE49-F238E27FC236}">
                    <a16:creationId xmlns:a16="http://schemas.microsoft.com/office/drawing/2014/main" id="{EEAEF07B-A4C4-1142-8258-977C1A97E9A1}"/>
                  </a:ext>
                </a:extLst>
              </p:cNvPr>
              <p:cNvSpPr/>
              <p:nvPr/>
            </p:nvSpPr>
            <p:spPr>
              <a:xfrm>
                <a:off x="5963535" y="3463276"/>
                <a:ext cx="159001" cy="212400"/>
              </a:xfrm>
              <a:custGeom>
                <a:avLst/>
                <a:gdLst/>
                <a:ahLst/>
                <a:cxnLst/>
                <a:rect l="l" t="t" r="r" b="b"/>
                <a:pathLst>
                  <a:path w="120000" h="120000" fill="none" extrusionOk="0">
                    <a:moveTo>
                      <a:pt x="83992" y="52251"/>
                    </a:moveTo>
                    <a:lnTo>
                      <a:pt x="83992" y="52251"/>
                    </a:lnTo>
                    <a:lnTo>
                      <a:pt x="61093" y="41637"/>
                    </a:lnTo>
                    <a:lnTo>
                      <a:pt x="61093" y="41637"/>
                    </a:lnTo>
                    <a:lnTo>
                      <a:pt x="52360" y="36739"/>
                    </a:lnTo>
                    <a:lnTo>
                      <a:pt x="46909" y="33479"/>
                    </a:lnTo>
                    <a:lnTo>
                      <a:pt x="43646" y="30204"/>
                    </a:lnTo>
                    <a:lnTo>
                      <a:pt x="42552" y="27762"/>
                    </a:lnTo>
                    <a:lnTo>
                      <a:pt x="42552" y="27762"/>
                    </a:lnTo>
                    <a:lnTo>
                      <a:pt x="43646" y="24502"/>
                    </a:lnTo>
                    <a:lnTo>
                      <a:pt x="46909" y="21227"/>
                    </a:lnTo>
                    <a:lnTo>
                      <a:pt x="46909" y="21227"/>
                    </a:lnTo>
                    <a:lnTo>
                      <a:pt x="51285" y="19604"/>
                    </a:lnTo>
                    <a:lnTo>
                      <a:pt x="56736" y="17967"/>
                    </a:lnTo>
                    <a:lnTo>
                      <a:pt x="63281" y="17148"/>
                    </a:lnTo>
                    <a:lnTo>
                      <a:pt x="70921" y="16330"/>
                    </a:lnTo>
                    <a:lnTo>
                      <a:pt x="70921" y="16330"/>
                    </a:lnTo>
                    <a:lnTo>
                      <a:pt x="80729" y="17148"/>
                    </a:lnTo>
                    <a:lnTo>
                      <a:pt x="89462" y="18786"/>
                    </a:lnTo>
                    <a:lnTo>
                      <a:pt x="89462" y="18786"/>
                    </a:lnTo>
                    <a:lnTo>
                      <a:pt x="96007" y="20409"/>
                    </a:lnTo>
                    <a:lnTo>
                      <a:pt x="101458" y="22865"/>
                    </a:lnTo>
                    <a:lnTo>
                      <a:pt x="104721" y="26125"/>
                    </a:lnTo>
                    <a:lnTo>
                      <a:pt x="108003" y="29400"/>
                    </a:lnTo>
                    <a:lnTo>
                      <a:pt x="112360" y="29400"/>
                    </a:lnTo>
                    <a:lnTo>
                      <a:pt x="112360" y="4911"/>
                    </a:lnTo>
                    <a:lnTo>
                      <a:pt x="112360" y="4911"/>
                    </a:lnTo>
                    <a:lnTo>
                      <a:pt x="102552" y="2455"/>
                    </a:lnTo>
                    <a:lnTo>
                      <a:pt x="91631" y="818"/>
                    </a:lnTo>
                    <a:lnTo>
                      <a:pt x="80729" y="14"/>
                    </a:lnTo>
                    <a:lnTo>
                      <a:pt x="68733" y="14"/>
                    </a:lnTo>
                    <a:lnTo>
                      <a:pt x="68733" y="14"/>
                    </a:lnTo>
                    <a:lnTo>
                      <a:pt x="53454" y="818"/>
                    </a:lnTo>
                    <a:lnTo>
                      <a:pt x="40364" y="2455"/>
                    </a:lnTo>
                    <a:lnTo>
                      <a:pt x="28368" y="4911"/>
                    </a:lnTo>
                    <a:lnTo>
                      <a:pt x="18560" y="8990"/>
                    </a:lnTo>
                    <a:lnTo>
                      <a:pt x="18560" y="8990"/>
                    </a:lnTo>
                    <a:lnTo>
                      <a:pt x="10921" y="13069"/>
                    </a:lnTo>
                    <a:lnTo>
                      <a:pt x="5469" y="18786"/>
                    </a:lnTo>
                    <a:lnTo>
                      <a:pt x="2187" y="24502"/>
                    </a:lnTo>
                    <a:lnTo>
                      <a:pt x="1093" y="31023"/>
                    </a:lnTo>
                    <a:lnTo>
                      <a:pt x="1093" y="31023"/>
                    </a:lnTo>
                    <a:lnTo>
                      <a:pt x="2187" y="36739"/>
                    </a:lnTo>
                    <a:lnTo>
                      <a:pt x="5469" y="42455"/>
                    </a:lnTo>
                    <a:lnTo>
                      <a:pt x="8733" y="47353"/>
                    </a:lnTo>
                    <a:lnTo>
                      <a:pt x="15278" y="52251"/>
                    </a:lnTo>
                    <a:lnTo>
                      <a:pt x="15278" y="52251"/>
                    </a:lnTo>
                    <a:lnTo>
                      <a:pt x="25105" y="58786"/>
                    </a:lnTo>
                    <a:lnTo>
                      <a:pt x="41458" y="66944"/>
                    </a:lnTo>
                    <a:lnTo>
                      <a:pt x="41458" y="66944"/>
                    </a:lnTo>
                    <a:lnTo>
                      <a:pt x="63281" y="76739"/>
                    </a:lnTo>
                    <a:lnTo>
                      <a:pt x="63281" y="76739"/>
                    </a:lnTo>
                    <a:lnTo>
                      <a:pt x="69827" y="80818"/>
                    </a:lnTo>
                    <a:lnTo>
                      <a:pt x="74184" y="84897"/>
                    </a:lnTo>
                    <a:lnTo>
                      <a:pt x="76372" y="88158"/>
                    </a:lnTo>
                    <a:lnTo>
                      <a:pt x="77466" y="92251"/>
                    </a:lnTo>
                    <a:lnTo>
                      <a:pt x="77466" y="92251"/>
                    </a:lnTo>
                    <a:lnTo>
                      <a:pt x="76372" y="94693"/>
                    </a:lnTo>
                    <a:lnTo>
                      <a:pt x="75278" y="97148"/>
                    </a:lnTo>
                    <a:lnTo>
                      <a:pt x="71996" y="99590"/>
                    </a:lnTo>
                    <a:lnTo>
                      <a:pt x="68733" y="101227"/>
                    </a:lnTo>
                    <a:lnTo>
                      <a:pt x="68733" y="101227"/>
                    </a:lnTo>
                    <a:lnTo>
                      <a:pt x="61093" y="102851"/>
                    </a:lnTo>
                    <a:lnTo>
                      <a:pt x="53454" y="102851"/>
                    </a:lnTo>
                    <a:lnTo>
                      <a:pt x="53454" y="102851"/>
                    </a:lnTo>
                    <a:lnTo>
                      <a:pt x="39270" y="102851"/>
                    </a:lnTo>
                    <a:lnTo>
                      <a:pt x="25105" y="101227"/>
                    </a:lnTo>
                    <a:lnTo>
                      <a:pt x="12015" y="97953"/>
                    </a:lnTo>
                    <a:lnTo>
                      <a:pt x="0" y="93874"/>
                    </a:lnTo>
                    <a:lnTo>
                      <a:pt x="0" y="114283"/>
                    </a:lnTo>
                    <a:lnTo>
                      <a:pt x="0" y="114283"/>
                    </a:lnTo>
                    <a:lnTo>
                      <a:pt x="12015" y="116739"/>
                    </a:lnTo>
                    <a:lnTo>
                      <a:pt x="24011" y="118362"/>
                    </a:lnTo>
                    <a:lnTo>
                      <a:pt x="37101" y="119181"/>
                    </a:lnTo>
                    <a:lnTo>
                      <a:pt x="49097" y="120000"/>
                    </a:lnTo>
                    <a:lnTo>
                      <a:pt x="49097" y="120000"/>
                    </a:lnTo>
                    <a:lnTo>
                      <a:pt x="59999" y="119181"/>
                    </a:lnTo>
                    <a:lnTo>
                      <a:pt x="69827" y="118362"/>
                    </a:lnTo>
                    <a:lnTo>
                      <a:pt x="79635" y="117544"/>
                    </a:lnTo>
                    <a:lnTo>
                      <a:pt x="88368" y="115102"/>
                    </a:lnTo>
                    <a:lnTo>
                      <a:pt x="88368" y="115102"/>
                    </a:lnTo>
                    <a:lnTo>
                      <a:pt x="94913" y="112646"/>
                    </a:lnTo>
                    <a:lnTo>
                      <a:pt x="102552" y="110204"/>
                    </a:lnTo>
                    <a:lnTo>
                      <a:pt x="108003" y="106944"/>
                    </a:lnTo>
                    <a:lnTo>
                      <a:pt x="112360" y="103669"/>
                    </a:lnTo>
                    <a:lnTo>
                      <a:pt x="115642" y="99590"/>
                    </a:lnTo>
                    <a:lnTo>
                      <a:pt x="117812" y="95511"/>
                    </a:lnTo>
                    <a:lnTo>
                      <a:pt x="119999" y="90613"/>
                    </a:lnTo>
                    <a:lnTo>
                      <a:pt x="119999" y="85716"/>
                    </a:lnTo>
                    <a:lnTo>
                      <a:pt x="119999" y="85716"/>
                    </a:lnTo>
                    <a:lnTo>
                      <a:pt x="119999" y="81637"/>
                    </a:lnTo>
                    <a:lnTo>
                      <a:pt x="117812" y="77558"/>
                    </a:lnTo>
                    <a:lnTo>
                      <a:pt x="115642" y="73465"/>
                    </a:lnTo>
                    <a:lnTo>
                      <a:pt x="111266" y="69386"/>
                    </a:lnTo>
                    <a:lnTo>
                      <a:pt x="105815" y="64488"/>
                    </a:lnTo>
                    <a:lnTo>
                      <a:pt x="100364" y="60409"/>
                    </a:lnTo>
                    <a:lnTo>
                      <a:pt x="92725" y="56330"/>
                    </a:lnTo>
                    <a:lnTo>
                      <a:pt x="83992"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1" name="Google Shape;30;p2">
                <a:extLst>
                  <a:ext uri="{FF2B5EF4-FFF2-40B4-BE49-F238E27FC236}">
                    <a16:creationId xmlns:a16="http://schemas.microsoft.com/office/drawing/2014/main" id="{3FD177F5-A9C0-B34F-AB21-45F9AF953C1D}"/>
                  </a:ext>
                </a:extLst>
              </p:cNvPr>
              <p:cNvSpPr/>
              <p:nvPr/>
            </p:nvSpPr>
            <p:spPr>
              <a:xfrm>
                <a:off x="6148584" y="3466175"/>
                <a:ext cx="201000" cy="205200"/>
              </a:xfrm>
              <a:custGeom>
                <a:avLst/>
                <a:gdLst/>
                <a:ahLst/>
                <a:cxnLst/>
                <a:rect l="l" t="t" r="r" b="b"/>
                <a:pathLst>
                  <a:path w="120000" h="120000" fill="none" extrusionOk="0">
                    <a:moveTo>
                      <a:pt x="14" y="17752"/>
                    </a:moveTo>
                    <a:lnTo>
                      <a:pt x="44029" y="17752"/>
                    </a:lnTo>
                    <a:lnTo>
                      <a:pt x="44029" y="119985"/>
                    </a:lnTo>
                    <a:lnTo>
                      <a:pt x="75970" y="119985"/>
                    </a:lnTo>
                    <a:lnTo>
                      <a:pt x="75970" y="17752"/>
                    </a:lnTo>
                    <a:lnTo>
                      <a:pt x="120000" y="17752"/>
                    </a:lnTo>
                    <a:lnTo>
                      <a:pt x="120000" y="0"/>
                    </a:lnTo>
                    <a:lnTo>
                      <a:pt x="14" y="0"/>
                    </a:lnTo>
                    <a:lnTo>
                      <a:pt x="14" y="17752"/>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2" name="Google Shape;31;p2">
                <a:extLst>
                  <a:ext uri="{FF2B5EF4-FFF2-40B4-BE49-F238E27FC236}">
                    <a16:creationId xmlns:a16="http://schemas.microsoft.com/office/drawing/2014/main" id="{6D2C30F4-484D-A244-8CA8-7153FF95FB0C}"/>
                  </a:ext>
                </a:extLst>
              </p:cNvPr>
              <p:cNvSpPr/>
              <p:nvPr/>
            </p:nvSpPr>
            <p:spPr>
              <a:xfrm>
                <a:off x="6625710" y="3466175"/>
                <a:ext cx="219899" cy="205200"/>
              </a:xfrm>
              <a:custGeom>
                <a:avLst/>
                <a:gdLst/>
                <a:ahLst/>
                <a:cxnLst/>
                <a:rect l="l" t="t" r="r" b="b"/>
                <a:pathLst>
                  <a:path w="120000" h="120000" fill="none" extrusionOk="0">
                    <a:moveTo>
                      <a:pt x="89208" y="79425"/>
                    </a:moveTo>
                    <a:lnTo>
                      <a:pt x="89208" y="79425"/>
                    </a:lnTo>
                    <a:lnTo>
                      <a:pt x="85263" y="74355"/>
                    </a:lnTo>
                    <a:lnTo>
                      <a:pt x="85263" y="74355"/>
                    </a:lnTo>
                    <a:lnTo>
                      <a:pt x="81305" y="69299"/>
                    </a:lnTo>
                    <a:lnTo>
                      <a:pt x="77361" y="65910"/>
                    </a:lnTo>
                    <a:lnTo>
                      <a:pt x="77361" y="65910"/>
                    </a:lnTo>
                    <a:lnTo>
                      <a:pt x="85263" y="64229"/>
                    </a:lnTo>
                    <a:lnTo>
                      <a:pt x="91569" y="62535"/>
                    </a:lnTo>
                    <a:lnTo>
                      <a:pt x="97888" y="59159"/>
                    </a:lnTo>
                    <a:lnTo>
                      <a:pt x="101833" y="55770"/>
                    </a:lnTo>
                    <a:lnTo>
                      <a:pt x="105777" y="51547"/>
                    </a:lnTo>
                    <a:lnTo>
                      <a:pt x="108152" y="46477"/>
                    </a:lnTo>
                    <a:lnTo>
                      <a:pt x="109722" y="41407"/>
                    </a:lnTo>
                    <a:lnTo>
                      <a:pt x="110514" y="35490"/>
                    </a:lnTo>
                    <a:lnTo>
                      <a:pt x="110514" y="35490"/>
                    </a:lnTo>
                    <a:lnTo>
                      <a:pt x="109722" y="27044"/>
                    </a:lnTo>
                    <a:lnTo>
                      <a:pt x="107361" y="20280"/>
                    </a:lnTo>
                    <a:lnTo>
                      <a:pt x="103416" y="14362"/>
                    </a:lnTo>
                    <a:lnTo>
                      <a:pt x="98680" y="9292"/>
                    </a:lnTo>
                    <a:lnTo>
                      <a:pt x="91569" y="5070"/>
                    </a:lnTo>
                    <a:lnTo>
                      <a:pt x="83680" y="2542"/>
                    </a:lnTo>
                    <a:lnTo>
                      <a:pt x="74208" y="847"/>
                    </a:lnTo>
                    <a:lnTo>
                      <a:pt x="63152" y="0"/>
                    </a:lnTo>
                    <a:lnTo>
                      <a:pt x="13" y="0"/>
                    </a:lnTo>
                    <a:lnTo>
                      <a:pt x="13" y="4222"/>
                    </a:lnTo>
                    <a:lnTo>
                      <a:pt x="13" y="4222"/>
                    </a:lnTo>
                    <a:lnTo>
                      <a:pt x="3958" y="5070"/>
                    </a:lnTo>
                    <a:lnTo>
                      <a:pt x="7902" y="7612"/>
                    </a:lnTo>
                    <a:lnTo>
                      <a:pt x="7902" y="7612"/>
                    </a:lnTo>
                    <a:lnTo>
                      <a:pt x="10263" y="10140"/>
                    </a:lnTo>
                    <a:lnTo>
                      <a:pt x="11055" y="11834"/>
                    </a:lnTo>
                    <a:lnTo>
                      <a:pt x="11847" y="13529"/>
                    </a:lnTo>
                    <a:lnTo>
                      <a:pt x="11847" y="119985"/>
                    </a:lnTo>
                    <a:lnTo>
                      <a:pt x="41055" y="119985"/>
                    </a:lnTo>
                    <a:lnTo>
                      <a:pt x="41055" y="67605"/>
                    </a:lnTo>
                    <a:lnTo>
                      <a:pt x="41055" y="67605"/>
                    </a:lnTo>
                    <a:lnTo>
                      <a:pt x="47374" y="71827"/>
                    </a:lnTo>
                    <a:lnTo>
                      <a:pt x="53680" y="77745"/>
                    </a:lnTo>
                    <a:lnTo>
                      <a:pt x="53680" y="77745"/>
                    </a:lnTo>
                    <a:lnTo>
                      <a:pt x="63152" y="91260"/>
                    </a:lnTo>
                    <a:lnTo>
                      <a:pt x="85263" y="119985"/>
                    </a:lnTo>
                    <a:lnTo>
                      <a:pt x="119986" y="119985"/>
                    </a:lnTo>
                    <a:lnTo>
                      <a:pt x="93152" y="85342"/>
                    </a:lnTo>
                    <a:lnTo>
                      <a:pt x="89208" y="794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3" name="Google Shape;32;p2">
                <a:extLst>
                  <a:ext uri="{FF2B5EF4-FFF2-40B4-BE49-F238E27FC236}">
                    <a16:creationId xmlns:a16="http://schemas.microsoft.com/office/drawing/2014/main" id="{E22A9EE3-62F2-5B47-A3FC-73273B99726C}"/>
                  </a:ext>
                </a:extLst>
              </p:cNvPr>
              <p:cNvSpPr/>
              <p:nvPr/>
            </p:nvSpPr>
            <p:spPr>
              <a:xfrm>
                <a:off x="6700885" y="3493650"/>
                <a:ext cx="73801" cy="72300"/>
              </a:xfrm>
              <a:custGeom>
                <a:avLst/>
                <a:gdLst/>
                <a:ahLst/>
                <a:cxnLst/>
                <a:rect l="l" t="t" r="r" b="b"/>
                <a:pathLst>
                  <a:path w="120000" h="120000" fill="none" extrusionOk="0">
                    <a:moveTo>
                      <a:pt x="28261" y="120000"/>
                    </a:moveTo>
                    <a:lnTo>
                      <a:pt x="28261" y="120000"/>
                    </a:lnTo>
                    <a:lnTo>
                      <a:pt x="40" y="117593"/>
                    </a:lnTo>
                    <a:lnTo>
                      <a:pt x="40" y="0"/>
                    </a:lnTo>
                    <a:lnTo>
                      <a:pt x="30620" y="0"/>
                    </a:lnTo>
                    <a:lnTo>
                      <a:pt x="30620" y="0"/>
                    </a:lnTo>
                    <a:lnTo>
                      <a:pt x="58841" y="0"/>
                    </a:lnTo>
                    <a:lnTo>
                      <a:pt x="79986" y="2406"/>
                    </a:lnTo>
                    <a:lnTo>
                      <a:pt x="79986" y="2406"/>
                    </a:lnTo>
                    <a:lnTo>
                      <a:pt x="96455" y="9585"/>
                    </a:lnTo>
                    <a:lnTo>
                      <a:pt x="103531" y="14398"/>
                    </a:lnTo>
                    <a:lnTo>
                      <a:pt x="110565" y="21618"/>
                    </a:lnTo>
                    <a:lnTo>
                      <a:pt x="112924" y="28796"/>
                    </a:lnTo>
                    <a:lnTo>
                      <a:pt x="117641" y="36016"/>
                    </a:lnTo>
                    <a:lnTo>
                      <a:pt x="119959" y="55186"/>
                    </a:lnTo>
                    <a:lnTo>
                      <a:pt x="119959" y="55186"/>
                    </a:lnTo>
                    <a:lnTo>
                      <a:pt x="117641" y="69585"/>
                    </a:lnTo>
                    <a:lnTo>
                      <a:pt x="112924" y="83983"/>
                    </a:lnTo>
                    <a:lnTo>
                      <a:pt x="105848" y="93609"/>
                    </a:lnTo>
                    <a:lnTo>
                      <a:pt x="96455" y="103195"/>
                    </a:lnTo>
                    <a:lnTo>
                      <a:pt x="84703" y="110373"/>
                    </a:lnTo>
                    <a:lnTo>
                      <a:pt x="68234" y="115186"/>
                    </a:lnTo>
                    <a:lnTo>
                      <a:pt x="49406" y="117593"/>
                    </a:lnTo>
                    <a:lnTo>
                      <a:pt x="28261" y="12000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4" name="Google Shape;33;p2">
                <a:extLst>
                  <a:ext uri="{FF2B5EF4-FFF2-40B4-BE49-F238E27FC236}">
                    <a16:creationId xmlns:a16="http://schemas.microsoft.com/office/drawing/2014/main" id="{B4D11244-A951-6F46-8A44-15CF7E061657}"/>
                  </a:ext>
                </a:extLst>
              </p:cNvPr>
              <p:cNvSpPr/>
              <p:nvPr/>
            </p:nvSpPr>
            <p:spPr>
              <a:xfrm>
                <a:off x="6874386" y="3463276"/>
                <a:ext cx="159001" cy="212400"/>
              </a:xfrm>
              <a:custGeom>
                <a:avLst/>
                <a:gdLst/>
                <a:ahLst/>
                <a:cxnLst/>
                <a:rect l="l" t="t" r="r" b="b"/>
                <a:pathLst>
                  <a:path w="120000" h="120000" fill="none" extrusionOk="0">
                    <a:moveTo>
                      <a:pt x="83998" y="52251"/>
                    </a:moveTo>
                    <a:lnTo>
                      <a:pt x="83998" y="52251"/>
                    </a:lnTo>
                    <a:lnTo>
                      <a:pt x="60009" y="41637"/>
                    </a:lnTo>
                    <a:lnTo>
                      <a:pt x="60009" y="41637"/>
                    </a:lnTo>
                    <a:lnTo>
                      <a:pt x="52371" y="36739"/>
                    </a:lnTo>
                    <a:lnTo>
                      <a:pt x="46921" y="33479"/>
                    </a:lnTo>
                    <a:lnTo>
                      <a:pt x="43639" y="30204"/>
                    </a:lnTo>
                    <a:lnTo>
                      <a:pt x="42545" y="27762"/>
                    </a:lnTo>
                    <a:lnTo>
                      <a:pt x="42545" y="27762"/>
                    </a:lnTo>
                    <a:lnTo>
                      <a:pt x="43639" y="24502"/>
                    </a:lnTo>
                    <a:lnTo>
                      <a:pt x="46921" y="21227"/>
                    </a:lnTo>
                    <a:lnTo>
                      <a:pt x="46921" y="21227"/>
                    </a:lnTo>
                    <a:lnTo>
                      <a:pt x="51277" y="19604"/>
                    </a:lnTo>
                    <a:lnTo>
                      <a:pt x="56727" y="17967"/>
                    </a:lnTo>
                    <a:lnTo>
                      <a:pt x="63272" y="17148"/>
                    </a:lnTo>
                    <a:lnTo>
                      <a:pt x="70909" y="16330"/>
                    </a:lnTo>
                    <a:lnTo>
                      <a:pt x="70909" y="16330"/>
                    </a:lnTo>
                    <a:lnTo>
                      <a:pt x="80716" y="17148"/>
                    </a:lnTo>
                    <a:lnTo>
                      <a:pt x="89448" y="18786"/>
                    </a:lnTo>
                    <a:lnTo>
                      <a:pt x="89448" y="18786"/>
                    </a:lnTo>
                    <a:lnTo>
                      <a:pt x="95992" y="20409"/>
                    </a:lnTo>
                    <a:lnTo>
                      <a:pt x="101442" y="22865"/>
                    </a:lnTo>
                    <a:lnTo>
                      <a:pt x="104724" y="26125"/>
                    </a:lnTo>
                    <a:lnTo>
                      <a:pt x="106892" y="29400"/>
                    </a:lnTo>
                    <a:lnTo>
                      <a:pt x="112362" y="29400"/>
                    </a:lnTo>
                    <a:lnTo>
                      <a:pt x="112362" y="4911"/>
                    </a:lnTo>
                    <a:lnTo>
                      <a:pt x="112362" y="4911"/>
                    </a:lnTo>
                    <a:lnTo>
                      <a:pt x="101442" y="2455"/>
                    </a:lnTo>
                    <a:lnTo>
                      <a:pt x="91636" y="818"/>
                    </a:lnTo>
                    <a:lnTo>
                      <a:pt x="80716" y="14"/>
                    </a:lnTo>
                    <a:lnTo>
                      <a:pt x="68722" y="14"/>
                    </a:lnTo>
                    <a:lnTo>
                      <a:pt x="68722" y="14"/>
                    </a:lnTo>
                    <a:lnTo>
                      <a:pt x="53465" y="818"/>
                    </a:lnTo>
                    <a:lnTo>
                      <a:pt x="39283" y="2455"/>
                    </a:lnTo>
                    <a:lnTo>
                      <a:pt x="28363" y="4911"/>
                    </a:lnTo>
                    <a:lnTo>
                      <a:pt x="18557" y="8990"/>
                    </a:lnTo>
                    <a:lnTo>
                      <a:pt x="18557" y="8990"/>
                    </a:lnTo>
                    <a:lnTo>
                      <a:pt x="10919" y="13069"/>
                    </a:lnTo>
                    <a:lnTo>
                      <a:pt x="5469" y="18786"/>
                    </a:lnTo>
                    <a:lnTo>
                      <a:pt x="2206" y="24502"/>
                    </a:lnTo>
                    <a:lnTo>
                      <a:pt x="1112" y="31023"/>
                    </a:lnTo>
                    <a:lnTo>
                      <a:pt x="1112" y="31023"/>
                    </a:lnTo>
                    <a:lnTo>
                      <a:pt x="2206" y="36739"/>
                    </a:lnTo>
                    <a:lnTo>
                      <a:pt x="4375" y="42455"/>
                    </a:lnTo>
                    <a:lnTo>
                      <a:pt x="8731" y="47353"/>
                    </a:lnTo>
                    <a:lnTo>
                      <a:pt x="15275" y="52251"/>
                    </a:lnTo>
                    <a:lnTo>
                      <a:pt x="15275" y="52251"/>
                    </a:lnTo>
                    <a:lnTo>
                      <a:pt x="25101" y="58786"/>
                    </a:lnTo>
                    <a:lnTo>
                      <a:pt x="41452" y="66944"/>
                    </a:lnTo>
                    <a:lnTo>
                      <a:pt x="41452" y="66944"/>
                    </a:lnTo>
                    <a:lnTo>
                      <a:pt x="63272" y="76739"/>
                    </a:lnTo>
                    <a:lnTo>
                      <a:pt x="63272" y="76739"/>
                    </a:lnTo>
                    <a:lnTo>
                      <a:pt x="69816" y="80818"/>
                    </a:lnTo>
                    <a:lnTo>
                      <a:pt x="74172" y="84897"/>
                    </a:lnTo>
                    <a:lnTo>
                      <a:pt x="76360" y="88158"/>
                    </a:lnTo>
                    <a:lnTo>
                      <a:pt x="77454" y="92251"/>
                    </a:lnTo>
                    <a:lnTo>
                      <a:pt x="77454" y="92251"/>
                    </a:lnTo>
                    <a:lnTo>
                      <a:pt x="76360" y="94693"/>
                    </a:lnTo>
                    <a:lnTo>
                      <a:pt x="75266" y="97148"/>
                    </a:lnTo>
                    <a:lnTo>
                      <a:pt x="72003" y="99590"/>
                    </a:lnTo>
                    <a:lnTo>
                      <a:pt x="68722" y="101227"/>
                    </a:lnTo>
                    <a:lnTo>
                      <a:pt x="68722" y="101227"/>
                    </a:lnTo>
                    <a:lnTo>
                      <a:pt x="61084" y="102851"/>
                    </a:lnTo>
                    <a:lnTo>
                      <a:pt x="52371" y="102851"/>
                    </a:lnTo>
                    <a:lnTo>
                      <a:pt x="52371" y="102851"/>
                    </a:lnTo>
                    <a:lnTo>
                      <a:pt x="38189" y="102851"/>
                    </a:lnTo>
                    <a:lnTo>
                      <a:pt x="25101" y="101227"/>
                    </a:lnTo>
                    <a:lnTo>
                      <a:pt x="12013" y="97953"/>
                    </a:lnTo>
                    <a:lnTo>
                      <a:pt x="18" y="93874"/>
                    </a:lnTo>
                    <a:lnTo>
                      <a:pt x="18" y="114283"/>
                    </a:lnTo>
                    <a:lnTo>
                      <a:pt x="18" y="114283"/>
                    </a:lnTo>
                    <a:lnTo>
                      <a:pt x="12013" y="116739"/>
                    </a:lnTo>
                    <a:lnTo>
                      <a:pt x="24007" y="118362"/>
                    </a:lnTo>
                    <a:lnTo>
                      <a:pt x="36001" y="119181"/>
                    </a:lnTo>
                    <a:lnTo>
                      <a:pt x="49090" y="120000"/>
                    </a:lnTo>
                    <a:lnTo>
                      <a:pt x="49090" y="120000"/>
                    </a:lnTo>
                    <a:lnTo>
                      <a:pt x="60009" y="119181"/>
                    </a:lnTo>
                    <a:lnTo>
                      <a:pt x="69816" y="118362"/>
                    </a:lnTo>
                    <a:lnTo>
                      <a:pt x="79641" y="117544"/>
                    </a:lnTo>
                    <a:lnTo>
                      <a:pt x="87260" y="115102"/>
                    </a:lnTo>
                    <a:lnTo>
                      <a:pt x="87260" y="115102"/>
                    </a:lnTo>
                    <a:lnTo>
                      <a:pt x="94898" y="112646"/>
                    </a:lnTo>
                    <a:lnTo>
                      <a:pt x="101442" y="110204"/>
                    </a:lnTo>
                    <a:lnTo>
                      <a:pt x="106892" y="106944"/>
                    </a:lnTo>
                    <a:lnTo>
                      <a:pt x="112362" y="103669"/>
                    </a:lnTo>
                    <a:lnTo>
                      <a:pt x="115624" y="99590"/>
                    </a:lnTo>
                    <a:lnTo>
                      <a:pt x="117812" y="95511"/>
                    </a:lnTo>
                    <a:lnTo>
                      <a:pt x="119981" y="90613"/>
                    </a:lnTo>
                    <a:lnTo>
                      <a:pt x="119981" y="85716"/>
                    </a:lnTo>
                    <a:lnTo>
                      <a:pt x="119981" y="85716"/>
                    </a:lnTo>
                    <a:lnTo>
                      <a:pt x="118906" y="81637"/>
                    </a:lnTo>
                    <a:lnTo>
                      <a:pt x="117812" y="77558"/>
                    </a:lnTo>
                    <a:lnTo>
                      <a:pt x="114530" y="73465"/>
                    </a:lnTo>
                    <a:lnTo>
                      <a:pt x="111268" y="69386"/>
                    </a:lnTo>
                    <a:lnTo>
                      <a:pt x="105818" y="64488"/>
                    </a:lnTo>
                    <a:lnTo>
                      <a:pt x="100348" y="60409"/>
                    </a:lnTo>
                    <a:lnTo>
                      <a:pt x="92729" y="56330"/>
                    </a:lnTo>
                    <a:lnTo>
                      <a:pt x="83998" y="52251"/>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5" name="Google Shape;34;p2">
                <a:extLst>
                  <a:ext uri="{FF2B5EF4-FFF2-40B4-BE49-F238E27FC236}">
                    <a16:creationId xmlns:a16="http://schemas.microsoft.com/office/drawing/2014/main" id="{DCB299AA-E624-764F-9FF2-9D9CD5066CD3}"/>
                  </a:ext>
                </a:extLst>
              </p:cNvPr>
              <p:cNvSpPr/>
              <p:nvPr/>
            </p:nvSpPr>
            <p:spPr>
              <a:xfrm>
                <a:off x="6362585" y="3461826"/>
                <a:ext cx="240001" cy="216899"/>
              </a:xfrm>
              <a:custGeom>
                <a:avLst/>
                <a:gdLst/>
                <a:ahLst/>
                <a:cxnLst/>
                <a:rect l="l" t="t" r="r" b="b"/>
                <a:pathLst>
                  <a:path w="120000" h="120000" fill="none" extrusionOk="0">
                    <a:moveTo>
                      <a:pt x="59993" y="13"/>
                    </a:moveTo>
                    <a:lnTo>
                      <a:pt x="59993" y="13"/>
                    </a:lnTo>
                    <a:lnTo>
                      <a:pt x="53494" y="13"/>
                    </a:lnTo>
                    <a:lnTo>
                      <a:pt x="46982" y="816"/>
                    </a:lnTo>
                    <a:lnTo>
                      <a:pt x="40483" y="2406"/>
                    </a:lnTo>
                    <a:lnTo>
                      <a:pt x="35421" y="4813"/>
                    </a:lnTo>
                    <a:lnTo>
                      <a:pt x="29634" y="7206"/>
                    </a:lnTo>
                    <a:lnTo>
                      <a:pt x="24572" y="10414"/>
                    </a:lnTo>
                    <a:lnTo>
                      <a:pt x="20235" y="13609"/>
                    </a:lnTo>
                    <a:lnTo>
                      <a:pt x="16623" y="17607"/>
                    </a:lnTo>
                    <a:lnTo>
                      <a:pt x="13011" y="21604"/>
                    </a:lnTo>
                    <a:lnTo>
                      <a:pt x="9399" y="26403"/>
                    </a:lnTo>
                    <a:lnTo>
                      <a:pt x="6511" y="31203"/>
                    </a:lnTo>
                    <a:lnTo>
                      <a:pt x="4337" y="36804"/>
                    </a:lnTo>
                    <a:lnTo>
                      <a:pt x="2887" y="41604"/>
                    </a:lnTo>
                    <a:lnTo>
                      <a:pt x="1449" y="48008"/>
                    </a:lnTo>
                    <a:lnTo>
                      <a:pt x="724" y="53609"/>
                    </a:lnTo>
                    <a:lnTo>
                      <a:pt x="0" y="60000"/>
                    </a:lnTo>
                    <a:lnTo>
                      <a:pt x="0" y="60000"/>
                    </a:lnTo>
                    <a:lnTo>
                      <a:pt x="724" y="65601"/>
                    </a:lnTo>
                    <a:lnTo>
                      <a:pt x="1449" y="72005"/>
                    </a:lnTo>
                    <a:lnTo>
                      <a:pt x="2887" y="77593"/>
                    </a:lnTo>
                    <a:lnTo>
                      <a:pt x="4337" y="83195"/>
                    </a:lnTo>
                    <a:lnTo>
                      <a:pt x="6511" y="88796"/>
                    </a:lnTo>
                    <a:lnTo>
                      <a:pt x="9399" y="93596"/>
                    </a:lnTo>
                    <a:lnTo>
                      <a:pt x="13011" y="98395"/>
                    </a:lnTo>
                    <a:lnTo>
                      <a:pt x="16623" y="102392"/>
                    </a:lnTo>
                    <a:lnTo>
                      <a:pt x="20235" y="106390"/>
                    </a:lnTo>
                    <a:lnTo>
                      <a:pt x="24572" y="109598"/>
                    </a:lnTo>
                    <a:lnTo>
                      <a:pt x="29634" y="112793"/>
                    </a:lnTo>
                    <a:lnTo>
                      <a:pt x="35421" y="115200"/>
                    </a:lnTo>
                    <a:lnTo>
                      <a:pt x="40483" y="116791"/>
                    </a:lnTo>
                    <a:lnTo>
                      <a:pt x="46982" y="118395"/>
                    </a:lnTo>
                    <a:lnTo>
                      <a:pt x="53494" y="119197"/>
                    </a:lnTo>
                    <a:lnTo>
                      <a:pt x="59993" y="120000"/>
                    </a:lnTo>
                    <a:lnTo>
                      <a:pt x="59993" y="120000"/>
                    </a:lnTo>
                    <a:lnTo>
                      <a:pt x="67230" y="119197"/>
                    </a:lnTo>
                    <a:lnTo>
                      <a:pt x="73004" y="118395"/>
                    </a:lnTo>
                    <a:lnTo>
                      <a:pt x="79516" y="116791"/>
                    </a:lnTo>
                    <a:lnTo>
                      <a:pt x="85291" y="115200"/>
                    </a:lnTo>
                    <a:lnTo>
                      <a:pt x="90353" y="112793"/>
                    </a:lnTo>
                    <a:lnTo>
                      <a:pt x="95415" y="109598"/>
                    </a:lnTo>
                    <a:lnTo>
                      <a:pt x="99752" y="106390"/>
                    </a:lnTo>
                    <a:lnTo>
                      <a:pt x="104089" y="102392"/>
                    </a:lnTo>
                    <a:lnTo>
                      <a:pt x="107701" y="98395"/>
                    </a:lnTo>
                    <a:lnTo>
                      <a:pt x="110600" y="93596"/>
                    </a:lnTo>
                    <a:lnTo>
                      <a:pt x="113488" y="88796"/>
                    </a:lnTo>
                    <a:lnTo>
                      <a:pt x="115650" y="83195"/>
                    </a:lnTo>
                    <a:lnTo>
                      <a:pt x="117825" y="77593"/>
                    </a:lnTo>
                    <a:lnTo>
                      <a:pt x="118550" y="72005"/>
                    </a:lnTo>
                    <a:lnTo>
                      <a:pt x="119987" y="65601"/>
                    </a:lnTo>
                    <a:lnTo>
                      <a:pt x="119987" y="60000"/>
                    </a:lnTo>
                    <a:lnTo>
                      <a:pt x="119987" y="60000"/>
                    </a:lnTo>
                    <a:lnTo>
                      <a:pt x="119987" y="53609"/>
                    </a:lnTo>
                    <a:lnTo>
                      <a:pt x="118550" y="48008"/>
                    </a:lnTo>
                    <a:lnTo>
                      <a:pt x="117825" y="41604"/>
                    </a:lnTo>
                    <a:lnTo>
                      <a:pt x="115650" y="36804"/>
                    </a:lnTo>
                    <a:lnTo>
                      <a:pt x="113488" y="31203"/>
                    </a:lnTo>
                    <a:lnTo>
                      <a:pt x="110600" y="26403"/>
                    </a:lnTo>
                    <a:lnTo>
                      <a:pt x="107701" y="21604"/>
                    </a:lnTo>
                    <a:lnTo>
                      <a:pt x="104089" y="17607"/>
                    </a:lnTo>
                    <a:lnTo>
                      <a:pt x="99752" y="13609"/>
                    </a:lnTo>
                    <a:lnTo>
                      <a:pt x="95415" y="10414"/>
                    </a:lnTo>
                    <a:lnTo>
                      <a:pt x="90353" y="7206"/>
                    </a:lnTo>
                    <a:lnTo>
                      <a:pt x="85291" y="4813"/>
                    </a:lnTo>
                    <a:lnTo>
                      <a:pt x="79516" y="2406"/>
                    </a:lnTo>
                    <a:lnTo>
                      <a:pt x="73004" y="816"/>
                    </a:lnTo>
                    <a:lnTo>
                      <a:pt x="67230" y="13"/>
                    </a:lnTo>
                    <a:lnTo>
                      <a:pt x="59993" y="13"/>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6" name="Google Shape;35;p2">
                <a:extLst>
                  <a:ext uri="{FF2B5EF4-FFF2-40B4-BE49-F238E27FC236}">
                    <a16:creationId xmlns:a16="http://schemas.microsoft.com/office/drawing/2014/main" id="{F15DEFC4-DEF0-EC44-8593-DCB6FB0B2F03}"/>
                  </a:ext>
                </a:extLst>
              </p:cNvPr>
              <p:cNvSpPr/>
              <p:nvPr/>
            </p:nvSpPr>
            <p:spPr>
              <a:xfrm>
                <a:off x="6418959" y="3493650"/>
                <a:ext cx="127201" cy="153301"/>
              </a:xfrm>
              <a:custGeom>
                <a:avLst/>
                <a:gdLst/>
                <a:ahLst/>
                <a:cxnLst/>
                <a:rect l="l" t="t" r="r" b="b"/>
                <a:pathLst>
                  <a:path w="120000" h="120000" fill="none" extrusionOk="0">
                    <a:moveTo>
                      <a:pt x="60000" y="119980"/>
                    </a:moveTo>
                    <a:lnTo>
                      <a:pt x="60000" y="119980"/>
                    </a:lnTo>
                    <a:lnTo>
                      <a:pt x="46373" y="118845"/>
                    </a:lnTo>
                    <a:lnTo>
                      <a:pt x="34090" y="116594"/>
                    </a:lnTo>
                    <a:lnTo>
                      <a:pt x="24565" y="112053"/>
                    </a:lnTo>
                    <a:lnTo>
                      <a:pt x="16385" y="105261"/>
                    </a:lnTo>
                    <a:lnTo>
                      <a:pt x="9548" y="97354"/>
                    </a:lnTo>
                    <a:lnTo>
                      <a:pt x="4102" y="87157"/>
                    </a:lnTo>
                    <a:lnTo>
                      <a:pt x="1367" y="74708"/>
                    </a:lnTo>
                    <a:lnTo>
                      <a:pt x="23" y="59990"/>
                    </a:lnTo>
                    <a:lnTo>
                      <a:pt x="23" y="59990"/>
                    </a:lnTo>
                    <a:lnTo>
                      <a:pt x="1367" y="45271"/>
                    </a:lnTo>
                    <a:lnTo>
                      <a:pt x="4102" y="32823"/>
                    </a:lnTo>
                    <a:lnTo>
                      <a:pt x="9548" y="22645"/>
                    </a:lnTo>
                    <a:lnTo>
                      <a:pt x="16385" y="13583"/>
                    </a:lnTo>
                    <a:lnTo>
                      <a:pt x="24565" y="7926"/>
                    </a:lnTo>
                    <a:lnTo>
                      <a:pt x="34090" y="3405"/>
                    </a:lnTo>
                    <a:lnTo>
                      <a:pt x="46373" y="1135"/>
                    </a:lnTo>
                    <a:lnTo>
                      <a:pt x="60000" y="0"/>
                    </a:lnTo>
                    <a:lnTo>
                      <a:pt x="60000" y="0"/>
                    </a:lnTo>
                    <a:lnTo>
                      <a:pt x="73650" y="1135"/>
                    </a:lnTo>
                    <a:lnTo>
                      <a:pt x="85909" y="3405"/>
                    </a:lnTo>
                    <a:lnTo>
                      <a:pt x="96825" y="7926"/>
                    </a:lnTo>
                    <a:lnTo>
                      <a:pt x="105005" y="13583"/>
                    </a:lnTo>
                    <a:lnTo>
                      <a:pt x="111819" y="22645"/>
                    </a:lnTo>
                    <a:lnTo>
                      <a:pt x="115897" y="32823"/>
                    </a:lnTo>
                    <a:lnTo>
                      <a:pt x="120000" y="45271"/>
                    </a:lnTo>
                    <a:lnTo>
                      <a:pt x="120000" y="59990"/>
                    </a:lnTo>
                    <a:lnTo>
                      <a:pt x="120000" y="59990"/>
                    </a:lnTo>
                    <a:lnTo>
                      <a:pt x="120000" y="74708"/>
                    </a:lnTo>
                    <a:lnTo>
                      <a:pt x="115897" y="87157"/>
                    </a:lnTo>
                    <a:lnTo>
                      <a:pt x="111819" y="97354"/>
                    </a:lnTo>
                    <a:lnTo>
                      <a:pt x="105005" y="105261"/>
                    </a:lnTo>
                    <a:lnTo>
                      <a:pt x="96825" y="112053"/>
                    </a:lnTo>
                    <a:lnTo>
                      <a:pt x="85909" y="116594"/>
                    </a:lnTo>
                    <a:lnTo>
                      <a:pt x="73650" y="118845"/>
                    </a:lnTo>
                    <a:lnTo>
                      <a:pt x="60000" y="119980"/>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7" name="Google Shape;36;p2">
                <a:extLst>
                  <a:ext uri="{FF2B5EF4-FFF2-40B4-BE49-F238E27FC236}">
                    <a16:creationId xmlns:a16="http://schemas.microsoft.com/office/drawing/2014/main" id="{161AEB69-E578-DA42-AFB7-952CD6F8A1A1}"/>
                  </a:ext>
                </a:extLst>
              </p:cNvPr>
              <p:cNvSpPr/>
              <p:nvPr/>
            </p:nvSpPr>
            <p:spPr>
              <a:xfrm>
                <a:off x="5123508" y="2991950"/>
                <a:ext cx="1876804" cy="365701"/>
              </a:xfrm>
              <a:custGeom>
                <a:avLst/>
                <a:gdLst/>
                <a:ahLst/>
                <a:cxnLst/>
                <a:rect l="l" t="t" r="r" b="b"/>
                <a:pathLst>
                  <a:path w="120000" h="120000" extrusionOk="0">
                    <a:moveTo>
                      <a:pt x="13128" y="25136"/>
                    </a:moveTo>
                    <a:lnTo>
                      <a:pt x="16733" y="72096"/>
                    </a:lnTo>
                    <a:lnTo>
                      <a:pt x="9060" y="72096"/>
                    </a:lnTo>
                    <a:lnTo>
                      <a:pt x="13128" y="25136"/>
                    </a:lnTo>
                    <a:close/>
                    <a:moveTo>
                      <a:pt x="106316" y="25136"/>
                    </a:moveTo>
                    <a:lnTo>
                      <a:pt x="109922" y="72096"/>
                    </a:lnTo>
                    <a:lnTo>
                      <a:pt x="102248" y="72096"/>
                    </a:lnTo>
                    <a:lnTo>
                      <a:pt x="106316" y="25136"/>
                    </a:lnTo>
                    <a:close/>
                    <a:moveTo>
                      <a:pt x="7489" y="0"/>
                    </a:moveTo>
                    <a:lnTo>
                      <a:pt x="7489" y="3797"/>
                    </a:lnTo>
                    <a:lnTo>
                      <a:pt x="8136" y="4748"/>
                    </a:lnTo>
                    <a:lnTo>
                      <a:pt x="8505" y="5691"/>
                    </a:lnTo>
                    <a:lnTo>
                      <a:pt x="8876" y="6642"/>
                    </a:lnTo>
                    <a:lnTo>
                      <a:pt x="9153" y="8069"/>
                    </a:lnTo>
                    <a:lnTo>
                      <a:pt x="9338" y="9488"/>
                    </a:lnTo>
                    <a:lnTo>
                      <a:pt x="9338" y="11858"/>
                    </a:lnTo>
                    <a:lnTo>
                      <a:pt x="9153" y="14229"/>
                    </a:lnTo>
                    <a:lnTo>
                      <a:pt x="1" y="120000"/>
                    </a:lnTo>
                    <a:lnTo>
                      <a:pt x="4808" y="120000"/>
                    </a:lnTo>
                    <a:lnTo>
                      <a:pt x="7767" y="86801"/>
                    </a:lnTo>
                    <a:lnTo>
                      <a:pt x="17935" y="86801"/>
                    </a:lnTo>
                    <a:lnTo>
                      <a:pt x="20432" y="120000"/>
                    </a:lnTo>
                    <a:lnTo>
                      <a:pt x="26810" y="120000"/>
                    </a:lnTo>
                    <a:lnTo>
                      <a:pt x="17659" y="0"/>
                    </a:lnTo>
                    <a:close/>
                    <a:moveTo>
                      <a:pt x="24777" y="0"/>
                    </a:moveTo>
                    <a:lnTo>
                      <a:pt x="24777" y="3797"/>
                    </a:lnTo>
                    <a:lnTo>
                      <a:pt x="25517" y="4748"/>
                    </a:lnTo>
                    <a:lnTo>
                      <a:pt x="26256" y="6642"/>
                    </a:lnTo>
                    <a:lnTo>
                      <a:pt x="26627" y="7594"/>
                    </a:lnTo>
                    <a:lnTo>
                      <a:pt x="26903" y="9488"/>
                    </a:lnTo>
                    <a:lnTo>
                      <a:pt x="27180" y="11383"/>
                    </a:lnTo>
                    <a:lnTo>
                      <a:pt x="27365" y="13761"/>
                    </a:lnTo>
                    <a:lnTo>
                      <a:pt x="35593" y="120000"/>
                    </a:lnTo>
                    <a:lnTo>
                      <a:pt x="42249" y="120000"/>
                    </a:lnTo>
                    <a:lnTo>
                      <a:pt x="51957" y="0"/>
                    </a:lnTo>
                    <a:lnTo>
                      <a:pt x="47334" y="0"/>
                    </a:lnTo>
                    <a:lnTo>
                      <a:pt x="40216" y="87744"/>
                    </a:lnTo>
                    <a:lnTo>
                      <a:pt x="33374" y="0"/>
                    </a:lnTo>
                    <a:close/>
                    <a:moveTo>
                      <a:pt x="55285" y="0"/>
                    </a:moveTo>
                    <a:lnTo>
                      <a:pt x="55285" y="3797"/>
                    </a:lnTo>
                    <a:lnTo>
                      <a:pt x="55840" y="4748"/>
                    </a:lnTo>
                    <a:lnTo>
                      <a:pt x="56671" y="6167"/>
                    </a:lnTo>
                    <a:lnTo>
                      <a:pt x="57041" y="7594"/>
                    </a:lnTo>
                    <a:lnTo>
                      <a:pt x="57319" y="9488"/>
                    </a:lnTo>
                    <a:lnTo>
                      <a:pt x="57504" y="11383"/>
                    </a:lnTo>
                    <a:lnTo>
                      <a:pt x="57595" y="13761"/>
                    </a:lnTo>
                    <a:lnTo>
                      <a:pt x="57595" y="120000"/>
                    </a:lnTo>
                    <a:lnTo>
                      <a:pt x="63790" y="120000"/>
                    </a:lnTo>
                    <a:lnTo>
                      <a:pt x="63790" y="0"/>
                    </a:lnTo>
                    <a:close/>
                    <a:moveTo>
                      <a:pt x="67396" y="0"/>
                    </a:moveTo>
                    <a:lnTo>
                      <a:pt x="67396" y="3797"/>
                    </a:lnTo>
                    <a:lnTo>
                      <a:pt x="68227" y="4748"/>
                    </a:lnTo>
                    <a:lnTo>
                      <a:pt x="68967" y="6642"/>
                    </a:lnTo>
                    <a:lnTo>
                      <a:pt x="69244" y="7594"/>
                    </a:lnTo>
                    <a:lnTo>
                      <a:pt x="69615" y="9488"/>
                    </a:lnTo>
                    <a:lnTo>
                      <a:pt x="69799" y="11383"/>
                    </a:lnTo>
                    <a:lnTo>
                      <a:pt x="70077" y="13761"/>
                    </a:lnTo>
                    <a:lnTo>
                      <a:pt x="78305" y="120000"/>
                    </a:lnTo>
                    <a:lnTo>
                      <a:pt x="84868" y="120000"/>
                    </a:lnTo>
                    <a:lnTo>
                      <a:pt x="94575" y="0"/>
                    </a:lnTo>
                    <a:lnTo>
                      <a:pt x="90046" y="0"/>
                    </a:lnTo>
                    <a:lnTo>
                      <a:pt x="82835" y="87744"/>
                    </a:lnTo>
                    <a:lnTo>
                      <a:pt x="76086" y="0"/>
                    </a:lnTo>
                    <a:close/>
                    <a:moveTo>
                      <a:pt x="100676" y="0"/>
                    </a:moveTo>
                    <a:lnTo>
                      <a:pt x="100676" y="3797"/>
                    </a:lnTo>
                    <a:lnTo>
                      <a:pt x="101324" y="4748"/>
                    </a:lnTo>
                    <a:lnTo>
                      <a:pt x="101693" y="5691"/>
                    </a:lnTo>
                    <a:lnTo>
                      <a:pt x="102064" y="6642"/>
                    </a:lnTo>
                    <a:lnTo>
                      <a:pt x="102340" y="8069"/>
                    </a:lnTo>
                    <a:lnTo>
                      <a:pt x="102433" y="9488"/>
                    </a:lnTo>
                    <a:lnTo>
                      <a:pt x="102526" y="11858"/>
                    </a:lnTo>
                    <a:lnTo>
                      <a:pt x="102340" y="14229"/>
                    </a:lnTo>
                    <a:lnTo>
                      <a:pt x="93189" y="120000"/>
                    </a:lnTo>
                    <a:lnTo>
                      <a:pt x="97995" y="120000"/>
                    </a:lnTo>
                    <a:lnTo>
                      <a:pt x="100862" y="86801"/>
                    </a:lnTo>
                    <a:lnTo>
                      <a:pt x="111032" y="86801"/>
                    </a:lnTo>
                    <a:lnTo>
                      <a:pt x="113620" y="120000"/>
                    </a:lnTo>
                    <a:lnTo>
                      <a:pt x="119998" y="120000"/>
                    </a:lnTo>
                    <a:lnTo>
                      <a:pt x="110846"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8" name="Google Shape;37;p2">
                <a:extLst>
                  <a:ext uri="{FF2B5EF4-FFF2-40B4-BE49-F238E27FC236}">
                    <a16:creationId xmlns:a16="http://schemas.microsoft.com/office/drawing/2014/main" id="{9F891F40-45DF-E24B-AA4A-26A08B845635}"/>
                  </a:ext>
                </a:extLst>
              </p:cNvPr>
              <p:cNvSpPr/>
              <p:nvPr/>
            </p:nvSpPr>
            <p:spPr>
              <a:xfrm>
                <a:off x="6196309" y="2036275"/>
                <a:ext cx="130200" cy="669299"/>
              </a:xfrm>
              <a:custGeom>
                <a:avLst/>
                <a:gdLst/>
                <a:ahLst/>
                <a:cxnLst/>
                <a:rect l="l" t="t" r="r" b="b"/>
                <a:pathLst>
                  <a:path w="120000" h="120000" extrusionOk="0">
                    <a:moveTo>
                      <a:pt x="60000" y="0"/>
                    </a:moveTo>
                    <a:lnTo>
                      <a:pt x="0" y="120000"/>
                    </a:lnTo>
                    <a:lnTo>
                      <a:pt x="60000" y="118700"/>
                    </a:lnTo>
                    <a:lnTo>
                      <a:pt x="119976" y="117925"/>
                    </a:lnTo>
                    <a:lnTo>
                      <a:pt x="60000" y="0"/>
                    </a:lnTo>
                    <a:close/>
                  </a:path>
                </a:pathLst>
              </a:custGeom>
              <a:solidFill>
                <a:srgbClr val="FFDD00"/>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49" name="Google Shape;38;p2">
                <a:extLst>
                  <a:ext uri="{FF2B5EF4-FFF2-40B4-BE49-F238E27FC236}">
                    <a16:creationId xmlns:a16="http://schemas.microsoft.com/office/drawing/2014/main" id="{1EF4B6FD-F2E0-A34F-BB5D-C01E55997665}"/>
                  </a:ext>
                </a:extLst>
              </p:cNvPr>
              <p:cNvSpPr/>
              <p:nvPr/>
            </p:nvSpPr>
            <p:spPr>
              <a:xfrm>
                <a:off x="6196309" y="2036275"/>
                <a:ext cx="130200" cy="669299"/>
              </a:xfrm>
              <a:custGeom>
                <a:avLst/>
                <a:gdLst/>
                <a:ahLst/>
                <a:cxnLst/>
                <a:rect l="l" t="t" r="r" b="b"/>
                <a:pathLst>
                  <a:path w="120000" h="120000" fill="none" extrusionOk="0">
                    <a:moveTo>
                      <a:pt x="119976" y="117925"/>
                    </a:moveTo>
                    <a:lnTo>
                      <a:pt x="60000" y="0"/>
                    </a:lnTo>
                    <a:lnTo>
                      <a:pt x="0" y="120000"/>
                    </a:lnTo>
                    <a:lnTo>
                      <a:pt x="0" y="120000"/>
                    </a:lnTo>
                    <a:lnTo>
                      <a:pt x="60000" y="118700"/>
                    </a:lnTo>
                    <a:lnTo>
                      <a:pt x="119976" y="117925"/>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50" name="Google Shape;39;p2">
                <a:extLst>
                  <a:ext uri="{FF2B5EF4-FFF2-40B4-BE49-F238E27FC236}">
                    <a16:creationId xmlns:a16="http://schemas.microsoft.com/office/drawing/2014/main" id="{6F189D89-679B-D54F-94BE-0B1409FF2D68}"/>
                  </a:ext>
                </a:extLst>
              </p:cNvPr>
              <p:cNvSpPr/>
              <p:nvPr/>
            </p:nvSpPr>
            <p:spPr>
              <a:xfrm>
                <a:off x="6261356" y="2036275"/>
                <a:ext cx="221101" cy="657900"/>
              </a:xfrm>
              <a:custGeom>
                <a:avLst/>
                <a:gdLst/>
                <a:ahLst/>
                <a:cxnLst/>
                <a:rect l="l" t="t" r="r" b="b"/>
                <a:pathLst>
                  <a:path w="120000" h="120000" extrusionOk="0">
                    <a:moveTo>
                      <a:pt x="13" y="0"/>
                    </a:moveTo>
                    <a:lnTo>
                      <a:pt x="35294" y="120000"/>
                    </a:lnTo>
                    <a:lnTo>
                      <a:pt x="76854" y="119471"/>
                    </a:lnTo>
                    <a:lnTo>
                      <a:pt x="119986" y="119206"/>
                    </a:lnTo>
                    <a:lnTo>
                      <a:pt x="119986" y="0"/>
                    </a:lnTo>
                    <a:close/>
                  </a:path>
                </a:pathLst>
              </a:custGeom>
              <a:solidFill>
                <a:srgbClr val="5EB62D"/>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51" name="Google Shape;40;p2">
                <a:extLst>
                  <a:ext uri="{FF2B5EF4-FFF2-40B4-BE49-F238E27FC236}">
                    <a16:creationId xmlns:a16="http://schemas.microsoft.com/office/drawing/2014/main" id="{9F509DF7-F613-4C4D-8EC0-C517EA14EA34}"/>
                  </a:ext>
                </a:extLst>
              </p:cNvPr>
              <p:cNvSpPr/>
              <p:nvPr/>
            </p:nvSpPr>
            <p:spPr>
              <a:xfrm>
                <a:off x="6261350" y="2036275"/>
                <a:ext cx="221101" cy="657900"/>
              </a:xfrm>
              <a:custGeom>
                <a:avLst/>
                <a:gdLst/>
                <a:ahLst/>
                <a:cxnLst/>
                <a:rect l="l" t="t" r="r" b="b"/>
                <a:pathLst>
                  <a:path w="120000" h="120000" fill="none" extrusionOk="0">
                    <a:moveTo>
                      <a:pt x="119986" y="119206"/>
                    </a:moveTo>
                    <a:lnTo>
                      <a:pt x="119986" y="0"/>
                    </a:lnTo>
                    <a:lnTo>
                      <a:pt x="13" y="0"/>
                    </a:lnTo>
                    <a:lnTo>
                      <a:pt x="13" y="0"/>
                    </a:lnTo>
                    <a:lnTo>
                      <a:pt x="35294" y="120000"/>
                    </a:lnTo>
                    <a:lnTo>
                      <a:pt x="35294" y="120000"/>
                    </a:lnTo>
                    <a:lnTo>
                      <a:pt x="76854" y="119471"/>
                    </a:lnTo>
                    <a:lnTo>
                      <a:pt x="119986" y="11920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52" name="Google Shape;41;p2">
                <a:extLst>
                  <a:ext uri="{FF2B5EF4-FFF2-40B4-BE49-F238E27FC236}">
                    <a16:creationId xmlns:a16="http://schemas.microsoft.com/office/drawing/2014/main" id="{D622CDD5-39A5-6B4E-B268-AED0EFA6160E}"/>
                  </a:ext>
                </a:extLst>
              </p:cNvPr>
              <p:cNvSpPr/>
              <p:nvPr/>
            </p:nvSpPr>
            <p:spPr>
              <a:xfrm>
                <a:off x="5685926" y="2036275"/>
                <a:ext cx="575399" cy="795300"/>
              </a:xfrm>
              <a:custGeom>
                <a:avLst/>
                <a:gdLst/>
                <a:ahLst/>
                <a:cxnLst/>
                <a:rect l="l" t="t" r="r" b="b"/>
                <a:pathLst>
                  <a:path w="120000" h="120000" extrusionOk="0">
                    <a:moveTo>
                      <a:pt x="5" y="0"/>
                    </a:move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lnTo>
                      <a:pt x="120000" y="0"/>
                    </a:lnTo>
                    <a:close/>
                  </a:path>
                </a:pathLst>
              </a:custGeom>
              <a:solidFill>
                <a:srgbClr val="0051B7"/>
              </a:solid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sp>
            <p:nvSpPr>
              <p:cNvPr id="53" name="Google Shape;42;p2">
                <a:extLst>
                  <a:ext uri="{FF2B5EF4-FFF2-40B4-BE49-F238E27FC236}">
                    <a16:creationId xmlns:a16="http://schemas.microsoft.com/office/drawing/2014/main" id="{17102872-D34C-7541-BE1F-CC2FD030F677}"/>
                  </a:ext>
                </a:extLst>
              </p:cNvPr>
              <p:cNvSpPr/>
              <p:nvPr/>
            </p:nvSpPr>
            <p:spPr>
              <a:xfrm>
                <a:off x="5685926" y="2036275"/>
                <a:ext cx="575399" cy="795300"/>
              </a:xfrm>
              <a:custGeom>
                <a:avLst/>
                <a:gdLst/>
                <a:ahLst/>
                <a:cxnLst/>
                <a:rect l="l" t="t" r="r" b="b"/>
                <a:pathLst>
                  <a:path w="120000" h="120000" fill="none" extrusionOk="0">
                    <a:moveTo>
                      <a:pt x="106429" y="101016"/>
                    </a:moveTo>
                    <a:lnTo>
                      <a:pt x="120000" y="0"/>
                    </a:lnTo>
                    <a:lnTo>
                      <a:pt x="120000" y="0"/>
                    </a:lnTo>
                    <a:lnTo>
                      <a:pt x="5" y="0"/>
                    </a:lnTo>
                    <a:lnTo>
                      <a:pt x="5" y="119996"/>
                    </a:lnTo>
                    <a:lnTo>
                      <a:pt x="5" y="119996"/>
                    </a:lnTo>
                    <a:lnTo>
                      <a:pt x="10859" y="116725"/>
                    </a:lnTo>
                    <a:lnTo>
                      <a:pt x="22615" y="113669"/>
                    </a:lnTo>
                    <a:lnTo>
                      <a:pt x="34976" y="110832"/>
                    </a:lnTo>
                    <a:lnTo>
                      <a:pt x="48243" y="108214"/>
                    </a:lnTo>
                    <a:lnTo>
                      <a:pt x="62111" y="106034"/>
                    </a:lnTo>
                    <a:lnTo>
                      <a:pt x="76281" y="104068"/>
                    </a:lnTo>
                    <a:lnTo>
                      <a:pt x="91358" y="102325"/>
                    </a:lnTo>
                    <a:lnTo>
                      <a:pt x="106429" y="101016"/>
                    </a:lnTo>
                  </a:path>
                </a:pathLst>
              </a:custGeom>
              <a:noFill/>
              <a:ln>
                <a:noFill/>
              </a:ln>
            </p:spPr>
            <p:txBody>
              <a:bodyPr spcFirstLastPara="1" wrap="square" lIns="184025" tIns="184025" rIns="184025" bIns="184025" anchor="ctr" anchorCtr="0">
                <a:noAutofit/>
              </a:bodyPr>
              <a:lstStyle/>
              <a:p>
                <a:pPr marL="0" marR="0" lvl="0" indent="0" algn="l" rtl="0">
                  <a:lnSpc>
                    <a:spcPct val="100000"/>
                  </a:lnSpc>
                  <a:spcBef>
                    <a:spcPts val="0"/>
                  </a:spcBef>
                  <a:spcAft>
                    <a:spcPts val="0"/>
                  </a:spcAft>
                  <a:buClr>
                    <a:srgbClr val="000000"/>
                  </a:buClr>
                  <a:buSzPts val="2900"/>
                  <a:buFont typeface="Arial"/>
                  <a:buNone/>
                </a:pPr>
                <a:endParaRPr sz="1933" b="0" i="0" u="none" strike="noStrike" cap="none">
                  <a:solidFill>
                    <a:srgbClr val="000000"/>
                  </a:solidFill>
                  <a:latin typeface="Arial"/>
                  <a:ea typeface="Arial"/>
                  <a:cs typeface="Arial"/>
                  <a:sym typeface="Arial"/>
                </a:endParaRPr>
              </a:p>
            </p:txBody>
          </p:sp>
        </p:grpSp>
      </p:grpSp>
      <p:sp>
        <p:nvSpPr>
          <p:cNvPr id="58" name="Text Placeholder 8">
            <a:extLst>
              <a:ext uri="{FF2B5EF4-FFF2-40B4-BE49-F238E27FC236}">
                <a16:creationId xmlns:a16="http://schemas.microsoft.com/office/drawing/2014/main" id="{37850E77-1B3D-2240-96FD-F16B77B12CD0}"/>
              </a:ext>
            </a:extLst>
          </p:cNvPr>
          <p:cNvSpPr>
            <a:spLocks noGrp="1"/>
          </p:cNvSpPr>
          <p:nvPr>
            <p:ph type="body" sz="quarter" idx="14"/>
          </p:nvPr>
        </p:nvSpPr>
        <p:spPr>
          <a:xfrm>
            <a:off x="3547106" y="5695331"/>
            <a:ext cx="2124000" cy="721343"/>
          </a:xfrm>
        </p:spPr>
        <p:txBody>
          <a:bodyPr/>
          <a:lstStyle>
            <a:lvl1pPr>
              <a:defRPr sz="1100" b="0">
                <a:solidFill>
                  <a:schemeClr val="bg1"/>
                </a:solidFill>
              </a:defRPr>
            </a:lvl1pPr>
          </a:lstStyle>
          <a:p>
            <a:pPr lvl="0"/>
            <a:r>
              <a:rPr lang="en-US"/>
              <a:t>Click to edit Master text styles</a:t>
            </a:r>
          </a:p>
        </p:txBody>
      </p:sp>
      <p:sp>
        <p:nvSpPr>
          <p:cNvPr id="29" name="Title 1">
            <a:extLst>
              <a:ext uri="{FF2B5EF4-FFF2-40B4-BE49-F238E27FC236}">
                <a16:creationId xmlns:a16="http://schemas.microsoft.com/office/drawing/2014/main" id="{A89BFCD6-F82B-5946-A13D-8F311FACEDE1}"/>
              </a:ext>
            </a:extLst>
          </p:cNvPr>
          <p:cNvSpPr>
            <a:spLocks noGrp="1"/>
          </p:cNvSpPr>
          <p:nvPr>
            <p:ph type="ctrTitle"/>
          </p:nvPr>
        </p:nvSpPr>
        <p:spPr>
          <a:xfrm>
            <a:off x="1099106" y="1999047"/>
            <a:ext cx="4572000" cy="2263671"/>
          </a:xfrm>
        </p:spPr>
        <p:txBody>
          <a:bodyPr anchor="b" anchorCtr="0"/>
          <a:lstStyle>
            <a:lvl1pPr algn="l">
              <a:defRPr sz="3800">
                <a:solidFill>
                  <a:schemeClr val="bg1"/>
                </a:solidFill>
              </a:defRPr>
            </a:lvl1pPr>
            <a:lvl2pPr>
              <a:lnSpc>
                <a:spcPct val="90000"/>
              </a:lnSpc>
              <a:defRPr sz="3800" b="1">
                <a:solidFill>
                  <a:schemeClr val="bg1"/>
                </a:solidFill>
                <a:latin typeface="+mn-lt"/>
              </a:defRPr>
            </a:lvl2pPr>
            <a:lvl3pPr>
              <a:defRPr sz="2800">
                <a:solidFill>
                  <a:schemeClr val="bg1"/>
                </a:solidFill>
                <a:latin typeface="+mn-lt"/>
              </a:defRPr>
            </a:lvl3pPr>
          </a:lstStyle>
          <a:p>
            <a:pPr lvl="0"/>
            <a:r>
              <a:rPr lang="en-US"/>
              <a:t>Click to edit Master title style</a:t>
            </a:r>
            <a:endParaRPr lang="en-GB"/>
          </a:p>
        </p:txBody>
      </p:sp>
    </p:spTree>
    <p:extLst>
      <p:ext uri="{BB962C8B-B14F-4D97-AF65-F5344CB8AC3E}">
        <p14:creationId xmlns:p14="http://schemas.microsoft.com/office/powerpoint/2010/main" val="2081965938"/>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83928C0-8647-41DD-936C-B945CF0FBD3A}"/>
              </a:ext>
            </a:extLst>
          </p:cNvPr>
          <p:cNvSpPr>
            <a:spLocks noGrp="1"/>
          </p:cNvSpPr>
          <p:nvPr>
            <p:ph type="ftr" sz="quarter" idx="11"/>
          </p:nvPr>
        </p:nvSpPr>
        <p:spPr/>
        <p:txBody>
          <a:bodyPr/>
          <a:lstStyle>
            <a:lvl1pPr>
              <a:defRPr>
                <a:solidFill>
                  <a:srgbClr val="666666"/>
                </a:solidFill>
              </a:defRPr>
            </a:lvl1pPr>
          </a:lstStyle>
          <a:p>
            <a:endParaRPr lang="en-GB"/>
          </a:p>
        </p:txBody>
      </p:sp>
      <p:sp>
        <p:nvSpPr>
          <p:cNvPr id="5" name="Slide Number Placeholder 4">
            <a:extLst>
              <a:ext uri="{FF2B5EF4-FFF2-40B4-BE49-F238E27FC236}">
                <a16:creationId xmlns:a16="http://schemas.microsoft.com/office/drawing/2014/main" id="{A9F69ED8-2975-40B9-B19B-E5EBABEBE43A}"/>
              </a:ext>
            </a:extLst>
          </p:cNvPr>
          <p:cNvSpPr>
            <a:spLocks noGrp="1"/>
          </p:cNvSpPr>
          <p:nvPr>
            <p:ph type="sldNum" sz="quarter" idx="12"/>
          </p:nvPr>
        </p:nvSpPr>
        <p:spPr/>
        <p:txBody>
          <a:bodyPr/>
          <a:lstStyle>
            <a:lvl1pPr>
              <a:defRPr>
                <a:solidFill>
                  <a:srgbClr val="666666"/>
                </a:solidFill>
              </a:defRPr>
            </a:lvl1pPr>
          </a:lstStyle>
          <a:p>
            <a:fld id="{54B1A0A0-1014-43B9-AECC-F6512CB9E662}" type="slidenum">
              <a:rPr lang="en-GB" smtClean="0"/>
              <a:pPr/>
              <a:t>‹#›</a:t>
            </a:fld>
            <a:endParaRPr lang="en-GB"/>
          </a:p>
        </p:txBody>
      </p:sp>
      <p:sp>
        <p:nvSpPr>
          <p:cNvPr id="8" name="Google Shape;170;p15">
            <a:extLst>
              <a:ext uri="{FF2B5EF4-FFF2-40B4-BE49-F238E27FC236}">
                <a16:creationId xmlns:a16="http://schemas.microsoft.com/office/drawing/2014/main" id="{9FDDF884-4127-E44E-87B9-1C6794118F3C}"/>
              </a:ext>
            </a:extLst>
          </p:cNvPr>
          <p:cNvSpPr/>
          <p:nvPr userDrawn="1"/>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algn="ctr">
              <a:buSzPts val="2900"/>
            </a:pPr>
            <a:endParaRPr sz="1933">
              <a:solidFill>
                <a:schemeClr val="lt1"/>
              </a:solidFill>
            </a:endParaRPr>
          </a:p>
        </p:txBody>
      </p:sp>
      <p:sp>
        <p:nvSpPr>
          <p:cNvPr id="7" name="Title 1">
            <a:extLst>
              <a:ext uri="{FF2B5EF4-FFF2-40B4-BE49-F238E27FC236}">
                <a16:creationId xmlns:a16="http://schemas.microsoft.com/office/drawing/2014/main" id="{EB619311-5AC6-E749-9CA8-E439DACA5FD4}"/>
              </a:ext>
            </a:extLst>
          </p:cNvPr>
          <p:cNvSpPr>
            <a:spLocks noGrp="1"/>
          </p:cNvSpPr>
          <p:nvPr>
            <p:ph type="title"/>
          </p:nvPr>
        </p:nvSpPr>
        <p:spPr>
          <a:xfrm>
            <a:off x="1095356" y="123751"/>
            <a:ext cx="10404000" cy="1069095"/>
          </a:xfrm>
        </p:spPr>
        <p:txBody>
          <a:bodyPr anchor="ctr"/>
          <a:lstStyle>
            <a:lvl1pPr>
              <a:defRPr sz="3600">
                <a:solidFill>
                  <a:srgbClr val="444444"/>
                </a:solidFill>
              </a:defRPr>
            </a:lvl1pPr>
          </a:lstStyle>
          <a:p>
            <a:r>
              <a:rPr lang="en-US"/>
              <a:t>Click to edit Master title style</a:t>
            </a:r>
            <a:endParaRPr lang="en-GB"/>
          </a:p>
        </p:txBody>
      </p:sp>
      <p:pic>
        <p:nvPicPr>
          <p:cNvPr id="10" name="Picture 9">
            <a:extLst>
              <a:ext uri="{FF2B5EF4-FFF2-40B4-BE49-F238E27FC236}">
                <a16:creationId xmlns:a16="http://schemas.microsoft.com/office/drawing/2014/main" id="{6ED741BA-8CEF-FC44-B01F-D2AFFB58944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
        <p:nvSpPr>
          <p:cNvPr id="11" name="Source Placeholder 7">
            <a:extLst>
              <a:ext uri="{FF2B5EF4-FFF2-40B4-BE49-F238E27FC236}">
                <a16:creationId xmlns:a16="http://schemas.microsoft.com/office/drawing/2014/main" id="{0EC26693-F9DA-1C41-AC21-A098E0D1EE76}"/>
              </a:ext>
            </a:extLst>
          </p:cNvPr>
          <p:cNvSpPr>
            <a:spLocks noGrp="1"/>
          </p:cNvSpPr>
          <p:nvPr>
            <p:ph type="body" sz="quarter" idx="22"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sz="800" b="0">
                <a:solidFill>
                  <a:srgbClr val="666666"/>
                </a:solidFill>
              </a:defRPr>
            </a:lvl1pPr>
            <a:lvl2pPr>
              <a:spcAft>
                <a:spcPts val="200"/>
              </a:spcAft>
              <a:defRPr sz="800">
                <a:solidFill>
                  <a:srgbClr val="666666"/>
                </a:solidFill>
              </a:defRPr>
            </a:lvl2pPr>
            <a:lvl3pPr marL="0" indent="0">
              <a:spcAft>
                <a:spcPts val="200"/>
              </a:spcAft>
              <a:buNone/>
              <a:defRPr sz="1000" b="1">
                <a:solidFill>
                  <a:srgbClr val="666666"/>
                </a:solidFill>
              </a:defRPr>
            </a:lvl3pPr>
            <a:lvl4pPr marL="252000">
              <a:spcAft>
                <a:spcPts val="200"/>
              </a:spcAft>
              <a:defRPr sz="800">
                <a:solidFill>
                  <a:srgbClr val="666666"/>
                </a:solidFill>
              </a:defRPr>
            </a:lvl4pPr>
            <a:lvl5pPr marL="504000">
              <a:spcAft>
                <a:spcPts val="200"/>
              </a:spcAft>
              <a:defRPr sz="800">
                <a:solidFill>
                  <a:srgbClr val="666666"/>
                </a:solidFill>
              </a:defRPr>
            </a:lvl5pPr>
          </a:lstStyle>
          <a:p>
            <a:pPr lvl="0"/>
            <a:r>
              <a:rPr lang="en-US"/>
              <a:t>Source goes here, aligned to the bottom guide.</a:t>
            </a:r>
          </a:p>
        </p:txBody>
      </p:sp>
    </p:spTree>
    <p:extLst>
      <p:ext uri="{BB962C8B-B14F-4D97-AF65-F5344CB8AC3E}">
        <p14:creationId xmlns:p14="http://schemas.microsoft.com/office/powerpoint/2010/main" val="399686146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xec Summ 4 Column">
    <p:spTree>
      <p:nvGrpSpPr>
        <p:cNvPr id="1" name=""/>
        <p:cNvGrpSpPr/>
        <p:nvPr/>
      </p:nvGrpSpPr>
      <p:grpSpPr>
        <a:xfrm>
          <a:off x="0" y="0"/>
          <a:ext cx="0" cy="0"/>
          <a:chOff x="0" y="0"/>
          <a:chExt cx="0" cy="0"/>
        </a:xfrm>
      </p:grpSpPr>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grpSp>
        <p:nvGrpSpPr>
          <p:cNvPr id="2" name="Column Rules">
            <a:extLst>
              <a:ext uri="{FF2B5EF4-FFF2-40B4-BE49-F238E27FC236}">
                <a16:creationId xmlns:a16="http://schemas.microsoft.com/office/drawing/2014/main" id="{1FD093C6-9BFF-4EC4-BD31-C16B04A7358D}"/>
              </a:ext>
            </a:extLst>
          </p:cNvPr>
          <p:cNvGrpSpPr/>
          <p:nvPr userDrawn="1"/>
        </p:nvGrpSpPr>
        <p:grpSpPr>
          <a:xfrm>
            <a:off x="505977" y="2225674"/>
            <a:ext cx="8540896" cy="1261872"/>
            <a:chOff x="505977" y="2225674"/>
            <a:chExt cx="8540896" cy="1431925"/>
          </a:xfrm>
        </p:grpSpPr>
        <p:cxnSp>
          <p:nvCxnSpPr>
            <p:cNvPr id="22" name="Column Rule 4">
              <a:extLst>
                <a:ext uri="{FF2B5EF4-FFF2-40B4-BE49-F238E27FC236}">
                  <a16:creationId xmlns:a16="http://schemas.microsoft.com/office/drawing/2014/main" id="{39F456A1-F89D-4E8D-9939-5DDC80972902}"/>
                </a:ext>
              </a:extLst>
            </p:cNvPr>
            <p:cNvCxnSpPr>
              <a:cxnSpLocks/>
            </p:cNvCxnSpPr>
            <p:nvPr userDrawn="1"/>
          </p:nvCxnSpPr>
          <p:spPr>
            <a:xfrm>
              <a:off x="9046873" y="2225674"/>
              <a:ext cx="0" cy="1431925"/>
            </a:xfrm>
            <a:prstGeom prst="line">
              <a:avLst/>
            </a:prstGeom>
            <a:ln w="2540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3" name="Column Rule 3">
              <a:extLst>
                <a:ext uri="{FF2B5EF4-FFF2-40B4-BE49-F238E27FC236}">
                  <a16:creationId xmlns:a16="http://schemas.microsoft.com/office/drawing/2014/main" id="{C4B15205-E96B-489D-84B5-39F086178357}"/>
                </a:ext>
              </a:extLst>
            </p:cNvPr>
            <p:cNvCxnSpPr>
              <a:cxnSpLocks/>
            </p:cNvCxnSpPr>
            <p:nvPr userDrawn="1"/>
          </p:nvCxnSpPr>
          <p:spPr>
            <a:xfrm>
              <a:off x="6199907" y="2225674"/>
              <a:ext cx="0" cy="1431925"/>
            </a:xfrm>
            <a:prstGeom prst="line">
              <a:avLst/>
            </a:prstGeom>
            <a:ln w="2540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6" name="Column Rule 2">
              <a:extLst>
                <a:ext uri="{FF2B5EF4-FFF2-40B4-BE49-F238E27FC236}">
                  <a16:creationId xmlns:a16="http://schemas.microsoft.com/office/drawing/2014/main" id="{74B34D04-2DB5-4ECD-B5DF-25A38C332E27}"/>
                </a:ext>
              </a:extLst>
            </p:cNvPr>
            <p:cNvCxnSpPr>
              <a:cxnSpLocks/>
            </p:cNvCxnSpPr>
            <p:nvPr userDrawn="1"/>
          </p:nvCxnSpPr>
          <p:spPr>
            <a:xfrm>
              <a:off x="3352942" y="2225674"/>
              <a:ext cx="0" cy="1431925"/>
            </a:xfrm>
            <a:prstGeom prst="line">
              <a:avLst/>
            </a:prstGeom>
            <a:ln w="2540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1" name="Column Rule 1">
              <a:extLst>
                <a:ext uri="{FF2B5EF4-FFF2-40B4-BE49-F238E27FC236}">
                  <a16:creationId xmlns:a16="http://schemas.microsoft.com/office/drawing/2014/main" id="{FE3C7069-4632-4876-8DC1-2CA1440016D8}"/>
                </a:ext>
              </a:extLst>
            </p:cNvPr>
            <p:cNvCxnSpPr>
              <a:cxnSpLocks/>
            </p:cNvCxnSpPr>
            <p:nvPr userDrawn="1"/>
          </p:nvCxnSpPr>
          <p:spPr>
            <a:xfrm>
              <a:off x="505977" y="2225674"/>
              <a:ext cx="0" cy="1431925"/>
            </a:xfrm>
            <a:prstGeom prst="line">
              <a:avLst/>
            </a:prstGeom>
            <a:ln w="25400">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0" name="Content Placeholder 4">
            <a:extLst>
              <a:ext uri="{FF2B5EF4-FFF2-40B4-BE49-F238E27FC236}">
                <a16:creationId xmlns:a16="http://schemas.microsoft.com/office/drawing/2014/main" id="{E8AF4775-5960-4028-BD81-98CE17CB9110}"/>
              </a:ext>
            </a:extLst>
          </p:cNvPr>
          <p:cNvSpPr>
            <a:spLocks noGrp="1"/>
          </p:cNvSpPr>
          <p:nvPr userDrawn="1">
            <p:ph sz="quarter" idx="23"/>
          </p:nvPr>
        </p:nvSpPr>
        <p:spPr>
          <a:xfrm>
            <a:off x="9211630" y="3332098"/>
            <a:ext cx="2459736" cy="2551176"/>
          </a:xfrm>
        </p:spPr>
        <p:txBody>
          <a:bodyPr/>
          <a:lstStyle>
            <a:lvl1pPr>
              <a:spcAft>
                <a:spcPts val="0"/>
              </a:spcAft>
              <a:defRPr>
                <a:latin typeface="Calibre Light" panose="020B0303030202060203" pitchFamily="34" charset="0"/>
              </a:defRPr>
            </a:lvl1pPr>
            <a:lvl2pPr>
              <a:defRPr sz="1600">
                <a:latin typeface="Calibre Semibold" panose="020B07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Heading Placeholder 4">
            <a:extLst>
              <a:ext uri="{FF2B5EF4-FFF2-40B4-BE49-F238E27FC236}">
                <a16:creationId xmlns:a16="http://schemas.microsoft.com/office/drawing/2014/main" id="{8747FC40-DD0F-400B-B030-B52E1E681067}"/>
              </a:ext>
            </a:extLst>
          </p:cNvPr>
          <p:cNvSpPr>
            <a:spLocks noGrp="1"/>
          </p:cNvSpPr>
          <p:nvPr userDrawn="1">
            <p:ph type="body" sz="quarter" idx="21" hasCustomPrompt="1"/>
          </p:nvPr>
        </p:nvSpPr>
        <p:spPr>
          <a:xfrm>
            <a:off x="9211630" y="2226691"/>
            <a:ext cx="2459736" cy="914400"/>
          </a:xfrm>
        </p:spPr>
        <p:txBody>
          <a:bodyPr/>
          <a:lstStyle>
            <a:lvl1pPr>
              <a:lnSpc>
                <a:spcPct val="82000"/>
              </a:lnSpc>
              <a:spcBef>
                <a:spcPts val="0"/>
              </a:spcBef>
              <a:spcAft>
                <a:spcPts val="0"/>
              </a:spcAft>
              <a:defRPr lang="en-US" sz="3600" b="0" dirty="0" smtClean="0">
                <a:solidFill>
                  <a:srgbClr val="003F2D"/>
                </a:solidFill>
                <a:latin typeface="+mj-lt"/>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olumn Header</a:t>
            </a:r>
          </a:p>
        </p:txBody>
      </p:sp>
      <p:sp>
        <p:nvSpPr>
          <p:cNvPr id="10" name="Content Placeholder 3">
            <a:extLst>
              <a:ext uri="{FF2B5EF4-FFF2-40B4-BE49-F238E27FC236}">
                <a16:creationId xmlns:a16="http://schemas.microsoft.com/office/drawing/2014/main" id="{96F8CE7E-C8FD-42CD-9FE2-33854B67611D}"/>
              </a:ext>
            </a:extLst>
          </p:cNvPr>
          <p:cNvSpPr>
            <a:spLocks noGrp="1"/>
          </p:cNvSpPr>
          <p:nvPr userDrawn="1">
            <p:ph sz="quarter" idx="16"/>
          </p:nvPr>
        </p:nvSpPr>
        <p:spPr>
          <a:xfrm>
            <a:off x="6363679" y="3332098"/>
            <a:ext cx="2459736" cy="2551176"/>
          </a:xfrm>
        </p:spPr>
        <p:txBody>
          <a:bodyPr/>
          <a:lstStyle>
            <a:lvl1pPr>
              <a:spcAft>
                <a:spcPts val="0"/>
              </a:spcAft>
              <a:defRPr>
                <a:latin typeface="Calibre Light" panose="020B0303030202060203" pitchFamily="34" charset="0"/>
              </a:defRPr>
            </a:lvl1pPr>
            <a:lvl2pPr>
              <a:defRPr sz="1600">
                <a:latin typeface="Calibre Semibold" panose="020B07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Heading Placeholder 3">
            <a:extLst>
              <a:ext uri="{FF2B5EF4-FFF2-40B4-BE49-F238E27FC236}">
                <a16:creationId xmlns:a16="http://schemas.microsoft.com/office/drawing/2014/main" id="{8D649D2F-7D7D-4802-A705-A08201E6D24D}"/>
              </a:ext>
            </a:extLst>
          </p:cNvPr>
          <p:cNvSpPr>
            <a:spLocks noGrp="1"/>
          </p:cNvSpPr>
          <p:nvPr userDrawn="1">
            <p:ph type="body" sz="quarter" idx="17" hasCustomPrompt="1"/>
          </p:nvPr>
        </p:nvSpPr>
        <p:spPr>
          <a:xfrm>
            <a:off x="6363679" y="2225675"/>
            <a:ext cx="2459736" cy="914400"/>
          </a:xfrm>
        </p:spPr>
        <p:txBody>
          <a:bodyPr/>
          <a:lstStyle>
            <a:lvl1pPr>
              <a:lnSpc>
                <a:spcPct val="82000"/>
              </a:lnSpc>
              <a:spcBef>
                <a:spcPts val="0"/>
              </a:spcBef>
              <a:spcAft>
                <a:spcPts val="0"/>
              </a:spcAft>
              <a:defRPr lang="en-US" sz="3600" b="0" dirty="0" smtClean="0">
                <a:solidFill>
                  <a:srgbClr val="003F2D"/>
                </a:solidFill>
                <a:latin typeface="+mj-lt"/>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olumn Header</a:t>
            </a:r>
          </a:p>
        </p:txBody>
      </p:sp>
      <p:sp>
        <p:nvSpPr>
          <p:cNvPr id="9" name="Content Placeholder 2">
            <a:extLst>
              <a:ext uri="{FF2B5EF4-FFF2-40B4-BE49-F238E27FC236}">
                <a16:creationId xmlns:a16="http://schemas.microsoft.com/office/drawing/2014/main" id="{42EA3364-699E-4FFA-BD42-6EF5EA1F1F61}"/>
              </a:ext>
            </a:extLst>
          </p:cNvPr>
          <p:cNvSpPr>
            <a:spLocks noGrp="1"/>
          </p:cNvSpPr>
          <p:nvPr userDrawn="1">
            <p:ph sz="quarter" idx="14"/>
          </p:nvPr>
        </p:nvSpPr>
        <p:spPr>
          <a:xfrm>
            <a:off x="3515729" y="3332098"/>
            <a:ext cx="2459736" cy="2551176"/>
          </a:xfrm>
        </p:spPr>
        <p:txBody>
          <a:bodyPr/>
          <a:lstStyle>
            <a:lvl1pPr>
              <a:spcAft>
                <a:spcPts val="0"/>
              </a:spcAft>
              <a:defRPr>
                <a:latin typeface="Calibre Light" panose="020B0303030202060203" pitchFamily="34" charset="0"/>
              </a:defRPr>
            </a:lvl1pPr>
            <a:lvl2pPr>
              <a:defRPr sz="1600">
                <a:latin typeface="Calibre Semibold" panose="020B07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Heading Placeholder 2">
            <a:extLst>
              <a:ext uri="{FF2B5EF4-FFF2-40B4-BE49-F238E27FC236}">
                <a16:creationId xmlns:a16="http://schemas.microsoft.com/office/drawing/2014/main" id="{6FE6ECDB-AF0B-4645-9EF8-7E58A711A6A0}"/>
              </a:ext>
            </a:extLst>
          </p:cNvPr>
          <p:cNvSpPr>
            <a:spLocks noGrp="1"/>
          </p:cNvSpPr>
          <p:nvPr userDrawn="1">
            <p:ph type="body" sz="quarter" idx="15" hasCustomPrompt="1"/>
          </p:nvPr>
        </p:nvSpPr>
        <p:spPr>
          <a:xfrm>
            <a:off x="3515729" y="2225675"/>
            <a:ext cx="2459736" cy="914400"/>
          </a:xfrm>
        </p:spPr>
        <p:txBody>
          <a:bodyPr/>
          <a:lstStyle>
            <a:lvl1pPr>
              <a:lnSpc>
                <a:spcPct val="82000"/>
              </a:lnSpc>
              <a:spcBef>
                <a:spcPts val="0"/>
              </a:spcBef>
              <a:spcAft>
                <a:spcPts val="0"/>
              </a:spcAft>
              <a:defRPr lang="en-US" sz="3600" b="0" dirty="0" smtClean="0">
                <a:solidFill>
                  <a:srgbClr val="003F2D"/>
                </a:solidFill>
                <a:latin typeface="+mj-lt"/>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olum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userDrawn="1">
            <p:ph sz="quarter" idx="12"/>
          </p:nvPr>
        </p:nvSpPr>
        <p:spPr>
          <a:xfrm>
            <a:off x="667779" y="3332098"/>
            <a:ext cx="2459736" cy="2551176"/>
          </a:xfrm>
        </p:spPr>
        <p:txBody>
          <a:bodyPr/>
          <a:lstStyle>
            <a:lvl1pPr>
              <a:spcAft>
                <a:spcPts val="0"/>
              </a:spcAft>
              <a:defRPr>
                <a:latin typeface="Calibre Light" panose="020B0303030202060203" pitchFamily="34" charset="0"/>
              </a:defRPr>
            </a:lvl1pPr>
            <a:lvl2pPr>
              <a:defRPr sz="1600">
                <a:latin typeface="Calibre Semibold" panose="020B07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Heading Placeholder 1">
            <a:extLst>
              <a:ext uri="{FF2B5EF4-FFF2-40B4-BE49-F238E27FC236}">
                <a16:creationId xmlns:a16="http://schemas.microsoft.com/office/drawing/2014/main" id="{478E80C0-0E36-48D9-AC93-9C6F4EC94042}"/>
              </a:ext>
            </a:extLst>
          </p:cNvPr>
          <p:cNvSpPr>
            <a:spLocks noGrp="1"/>
          </p:cNvSpPr>
          <p:nvPr userDrawn="1">
            <p:ph type="body" sz="quarter" idx="13" hasCustomPrompt="1"/>
          </p:nvPr>
        </p:nvSpPr>
        <p:spPr>
          <a:xfrm>
            <a:off x="667779" y="2225673"/>
            <a:ext cx="2459736" cy="914400"/>
          </a:xfrm>
        </p:spPr>
        <p:txBody>
          <a:bodyPr/>
          <a:lstStyle>
            <a:lvl1pPr>
              <a:lnSpc>
                <a:spcPct val="82000"/>
              </a:lnSpc>
              <a:spcBef>
                <a:spcPts val="0"/>
              </a:spcBef>
              <a:spcAft>
                <a:spcPts val="0"/>
              </a:spcAft>
              <a:defRPr lang="en-US" sz="3600" b="0" dirty="0" smtClean="0">
                <a:solidFill>
                  <a:srgbClr val="003F2D"/>
                </a:solidFill>
                <a:latin typeface="+mj-lt"/>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olumn Header</a:t>
            </a:r>
          </a:p>
        </p:txBody>
      </p:sp>
      <p:sp>
        <p:nvSpPr>
          <p:cNvPr id="17" name="Rectangle 16">
            <a:extLst>
              <a:ext uri="{FF2B5EF4-FFF2-40B4-BE49-F238E27FC236}">
                <a16:creationId xmlns:a16="http://schemas.microsoft.com/office/drawing/2014/main" id="{48F2A704-B213-4A97-B805-2B1D7681D50E}"/>
              </a:ext>
            </a:extLst>
          </p:cNvPr>
          <p:cNvSpPr/>
          <p:nvPr userDrawn="1"/>
        </p:nvSpPr>
        <p:spPr>
          <a:xfrm>
            <a:off x="-1828800" y="2225675"/>
            <a:ext cx="1676400" cy="3030538"/>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0" rtlCol="0" anchor="t" anchorCtr="0"/>
          <a:lstStyle/>
          <a:p>
            <a:pPr algn="l">
              <a:spcAft>
                <a:spcPts val="300"/>
              </a:spcAft>
            </a:pPr>
            <a:r>
              <a:rPr lang="en-GB" sz="1200" dirty="0">
                <a:solidFill>
                  <a:schemeClr val="bg1"/>
                </a:solidFill>
              </a:rPr>
              <a:t>Make sure the</a:t>
            </a:r>
            <a:br>
              <a:rPr lang="en-GB" sz="1200" dirty="0">
                <a:solidFill>
                  <a:schemeClr val="bg1"/>
                </a:solidFill>
              </a:rPr>
            </a:br>
            <a:r>
              <a:rPr lang="en-GB" sz="1200" dirty="0">
                <a:solidFill>
                  <a:schemeClr val="bg1"/>
                </a:solidFill>
              </a:rPr>
              <a:t>column lines are:</a:t>
            </a:r>
          </a:p>
          <a:p>
            <a:pPr marL="171450" lvl="1" indent="-171450" algn="l">
              <a:spcAft>
                <a:spcPts val="300"/>
              </a:spcAft>
              <a:buFont typeface="+mj-lt"/>
              <a:buAutoNum type="arabicPeriod"/>
            </a:pPr>
            <a:r>
              <a:rPr lang="en-GB" sz="1200" dirty="0">
                <a:solidFill>
                  <a:schemeClr val="bg1"/>
                </a:solidFill>
              </a:rPr>
              <a:t>All the same height</a:t>
            </a:r>
          </a:p>
          <a:p>
            <a:pPr marL="171450" lvl="1" indent="-171450" algn="l">
              <a:spcAft>
                <a:spcPts val="300"/>
              </a:spcAft>
              <a:buFont typeface="+mj-lt"/>
              <a:buAutoNum type="arabicPeriod"/>
            </a:pPr>
            <a:r>
              <a:rPr lang="en-GB" sz="1200" dirty="0">
                <a:solidFill>
                  <a:schemeClr val="bg1"/>
                </a:solidFill>
              </a:rPr>
              <a:t>As tall as the tallest column of text</a:t>
            </a:r>
          </a:p>
          <a:p>
            <a:pPr marL="171450" lvl="1" indent="-171450" algn="l">
              <a:spcAft>
                <a:spcPts val="300"/>
              </a:spcAft>
              <a:buFont typeface="+mj-lt"/>
              <a:buAutoNum type="arabicPeriod"/>
            </a:pPr>
            <a:r>
              <a:rPr lang="en-GB" sz="1200" dirty="0">
                <a:solidFill>
                  <a:schemeClr val="bg1"/>
                </a:solidFill>
              </a:rPr>
              <a:t>Remain equidistant by not ungrouping</a:t>
            </a:r>
          </a:p>
          <a:p>
            <a:pPr algn="l">
              <a:spcAft>
                <a:spcPts val="300"/>
              </a:spcAft>
            </a:pPr>
            <a:r>
              <a:rPr lang="en-GB" sz="1200" dirty="0">
                <a:solidFill>
                  <a:schemeClr val="bg1"/>
                </a:solidFill>
              </a:rPr>
              <a:t>If the column lines get deleted by accident, COPY and paste a set  from the slide layout’s master:</a:t>
            </a:r>
            <a:br>
              <a:rPr lang="en-GB" sz="1200" dirty="0">
                <a:solidFill>
                  <a:schemeClr val="bg1"/>
                </a:solidFill>
              </a:rPr>
            </a:br>
            <a:r>
              <a:rPr lang="en-GB" sz="1200" i="1" dirty="0">
                <a:solidFill>
                  <a:schemeClr val="bg1"/>
                </a:solidFill>
              </a:rPr>
              <a:t>View &gt; Slide Master</a:t>
            </a:r>
          </a:p>
          <a:p>
            <a:pPr algn="l">
              <a:spcAft>
                <a:spcPts val="300"/>
              </a:spcAft>
            </a:pPr>
            <a:endParaRPr lang="en-GB" sz="1800" dirty="0">
              <a:solidFill>
                <a:schemeClr val="bg1"/>
              </a:solidFill>
            </a:endParaRPr>
          </a:p>
        </p:txBody>
      </p:sp>
    </p:spTree>
    <p:extLst>
      <p:ext uri="{BB962C8B-B14F-4D97-AF65-F5344CB8AC3E}">
        <p14:creationId xmlns:p14="http://schemas.microsoft.com/office/powerpoint/2010/main" val="22664395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33A9BB3-37B6-4428-B1D7-7BAFE4C24DF2}"/>
              </a:ext>
            </a:extLst>
          </p:cNvPr>
          <p:cNvSpPr>
            <a:spLocks noGrp="1"/>
          </p:cNvSpPr>
          <p:nvPr>
            <p:ph type="ftr" sz="quarter" idx="11"/>
          </p:nvPr>
        </p:nvSpPr>
        <p:spPr/>
        <p:txBody>
          <a:bodyPr/>
          <a:lstStyle>
            <a:lvl1pPr>
              <a:defRPr>
                <a:solidFill>
                  <a:srgbClr val="666666"/>
                </a:solidFill>
              </a:defRPr>
            </a:lvl1pPr>
          </a:lstStyle>
          <a:p>
            <a:endParaRPr lang="en-GB"/>
          </a:p>
        </p:txBody>
      </p:sp>
      <p:sp>
        <p:nvSpPr>
          <p:cNvPr id="4" name="Slide Number Placeholder 3">
            <a:extLst>
              <a:ext uri="{FF2B5EF4-FFF2-40B4-BE49-F238E27FC236}">
                <a16:creationId xmlns:a16="http://schemas.microsoft.com/office/drawing/2014/main" id="{46980390-DA28-45F2-9E61-37A791C4D54D}"/>
              </a:ext>
            </a:extLst>
          </p:cNvPr>
          <p:cNvSpPr>
            <a:spLocks noGrp="1"/>
          </p:cNvSpPr>
          <p:nvPr>
            <p:ph type="sldNum" sz="quarter" idx="12"/>
          </p:nvPr>
        </p:nvSpPr>
        <p:spPr/>
        <p:txBody>
          <a:bodyPr/>
          <a:lstStyle>
            <a:lvl1pPr>
              <a:defRPr>
                <a:solidFill>
                  <a:srgbClr val="666666"/>
                </a:solidFill>
              </a:defRPr>
            </a:lvl1pPr>
          </a:lstStyle>
          <a:p>
            <a:fld id="{54B1A0A0-1014-43B9-AECC-F6512CB9E662}" type="slidenum">
              <a:rPr lang="en-GB" smtClean="0"/>
              <a:pPr/>
              <a:t>‹#›</a:t>
            </a:fld>
            <a:endParaRPr lang="en-GB"/>
          </a:p>
        </p:txBody>
      </p:sp>
      <p:pic>
        <p:nvPicPr>
          <p:cNvPr id="6" name="Picture 5">
            <a:extLst>
              <a:ext uri="{FF2B5EF4-FFF2-40B4-BE49-F238E27FC236}">
                <a16:creationId xmlns:a16="http://schemas.microsoft.com/office/drawing/2014/main" id="{1DF15A19-94E0-6741-9650-9E33B50329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
        <p:nvSpPr>
          <p:cNvPr id="7" name="Source Placeholder 7">
            <a:extLst>
              <a:ext uri="{FF2B5EF4-FFF2-40B4-BE49-F238E27FC236}">
                <a16:creationId xmlns:a16="http://schemas.microsoft.com/office/drawing/2014/main" id="{484891F5-66F8-9749-8118-E7214783A2C2}"/>
              </a:ext>
            </a:extLst>
          </p:cNvPr>
          <p:cNvSpPr>
            <a:spLocks noGrp="1"/>
          </p:cNvSpPr>
          <p:nvPr>
            <p:ph type="body" sz="quarter" idx="22" hasCustomPrompt="1"/>
          </p:nvPr>
        </p:nvSpPr>
        <p:spPr>
          <a:xfrm>
            <a:off x="1099457" y="6220861"/>
            <a:ext cx="10400399" cy="195814"/>
          </a:xfrm>
          <a:noFill/>
          <a:ln>
            <a:noFill/>
          </a:ln>
          <a:effectLst/>
        </p:spPr>
        <p:txBody>
          <a:bodyPr wrap="square" lIns="0" tIns="36000" bIns="36000" anchor="b" anchorCtr="0">
            <a:spAutoFit/>
          </a:bodyPr>
          <a:lstStyle>
            <a:lvl1pPr>
              <a:spcAft>
                <a:spcPts val="200"/>
              </a:spcAft>
              <a:defRPr sz="800" b="0">
                <a:solidFill>
                  <a:srgbClr val="666666"/>
                </a:solidFill>
              </a:defRPr>
            </a:lvl1pPr>
            <a:lvl2pPr>
              <a:spcAft>
                <a:spcPts val="200"/>
              </a:spcAft>
              <a:defRPr sz="800">
                <a:solidFill>
                  <a:srgbClr val="666666"/>
                </a:solidFill>
              </a:defRPr>
            </a:lvl2pPr>
            <a:lvl3pPr marL="0" indent="0">
              <a:spcAft>
                <a:spcPts val="200"/>
              </a:spcAft>
              <a:buNone/>
              <a:defRPr sz="1000" b="1">
                <a:solidFill>
                  <a:srgbClr val="666666"/>
                </a:solidFill>
              </a:defRPr>
            </a:lvl3pPr>
            <a:lvl4pPr marL="252000">
              <a:spcAft>
                <a:spcPts val="200"/>
              </a:spcAft>
              <a:defRPr sz="800">
                <a:solidFill>
                  <a:srgbClr val="666666"/>
                </a:solidFill>
              </a:defRPr>
            </a:lvl4pPr>
            <a:lvl5pPr marL="504000">
              <a:spcAft>
                <a:spcPts val="200"/>
              </a:spcAft>
              <a:defRPr sz="800">
                <a:solidFill>
                  <a:srgbClr val="666666"/>
                </a:solidFill>
              </a:defRPr>
            </a:lvl5pPr>
          </a:lstStyle>
          <a:p>
            <a:pPr lvl="0"/>
            <a:r>
              <a:rPr lang="en-US"/>
              <a:t>Source goes here, aligned to the bottom guide.</a:t>
            </a:r>
          </a:p>
        </p:txBody>
      </p:sp>
    </p:spTree>
    <p:extLst>
      <p:ext uri="{BB962C8B-B14F-4D97-AF65-F5344CB8AC3E}">
        <p14:creationId xmlns:p14="http://schemas.microsoft.com/office/powerpoint/2010/main" val="1625166934"/>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53534859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9925434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06216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7481830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6541639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Text Cover 1">
    <p:bg>
      <p:bgPr>
        <a:solidFill>
          <a:schemeClr val="accent6"/>
        </a:solidFill>
        <a:effectLst/>
      </p:bgPr>
    </p:bg>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887340F4-9434-47C2-9CB2-6C0ACFBEFAB5}"/>
              </a:ext>
            </a:extLst>
          </p:cNvPr>
          <p:cNvCxnSpPr>
            <a:cxnSpLocks/>
          </p:cNvCxnSpPr>
          <p:nvPr/>
        </p:nvCxnSpPr>
        <p:spPr>
          <a:xfrm>
            <a:off x="3584575" y="601449"/>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5" y="1554448"/>
            <a:ext cx="1328469"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GB" sz="1050" b="1" kern="1200" spc="-3" dirty="0" err="1" smtClean="0">
                <a:solidFill>
                  <a:srgbClr val="FFFFFF"/>
                </a:solidFill>
                <a:latin typeface="Space Mono" panose="02000509040000020004" pitchFamily="49" charset="0"/>
                <a:ea typeface="+mn-ea"/>
                <a:cs typeface="Space Mono" panose="02000509040000020004" pitchFamily="49" charset="0"/>
              </a:defRPr>
            </a:lvl1pPr>
          </a:lstStyle>
          <a:p>
            <a:r>
              <a:rPr lang="en-GB"/>
              <a:t>21 JANUARY 2021</a:t>
            </a:r>
          </a:p>
          <a:p>
            <a:endParaRP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3581238" y="1451248"/>
            <a:ext cx="7585236" cy="3210125"/>
          </a:xfrm>
        </p:spPr>
        <p:txBody>
          <a:bodyPr/>
          <a:lstStyle>
            <a:lvl1pPr>
              <a:defRPr sz="6600">
                <a:solidFill>
                  <a:schemeClr val="bg1"/>
                </a:solidFill>
              </a:defRPr>
            </a:lvl1pPr>
          </a:lstStyle>
          <a:p>
            <a:r>
              <a:rPr lang="en-US"/>
              <a:t>Click to edit Master title style</a:t>
            </a:r>
            <a:endParaRPr lang="en-GB"/>
          </a:p>
        </p:txBody>
      </p:sp>
      <p:sp>
        <p:nvSpPr>
          <p:cNvPr id="10" name="Content Placeholder 9">
            <a:extLst>
              <a:ext uri="{FF2B5EF4-FFF2-40B4-BE49-F238E27FC236}">
                <a16:creationId xmlns:a16="http://schemas.microsoft.com/office/drawing/2014/main" id="{7D9956ED-0AB6-478A-B82C-B67610F4E3D0}"/>
              </a:ext>
            </a:extLst>
          </p:cNvPr>
          <p:cNvSpPr>
            <a:spLocks noGrp="1"/>
          </p:cNvSpPr>
          <p:nvPr>
            <p:ph sz="quarter" idx="11" hasCustomPrompt="1"/>
          </p:nvPr>
        </p:nvSpPr>
        <p:spPr>
          <a:xfrm>
            <a:off x="3584575" y="4727575"/>
            <a:ext cx="5534025" cy="1250951"/>
          </a:xfrm>
        </p:spPr>
        <p:txBody>
          <a:bodyPr tIns="0">
            <a:noAutofit/>
          </a:bodyPr>
          <a:lstStyle>
            <a:lvl1pPr>
              <a:spcBef>
                <a:spcPts val="0"/>
              </a:spcBef>
              <a:spcAft>
                <a:spcPts val="0"/>
              </a:spcAft>
              <a:defRPr sz="1700">
                <a:solidFill>
                  <a:schemeClr val="bg1"/>
                </a:solidFill>
                <a:latin typeface="+mn-lt"/>
              </a:defRPr>
            </a:lvl1pPr>
            <a:lvl2pPr>
              <a:spcBef>
                <a:spcPts val="0"/>
              </a:spcBef>
              <a:spcAft>
                <a:spcPts val="0"/>
              </a:spcAft>
              <a:defRPr sz="1700">
                <a:solidFill>
                  <a:schemeClr val="bg1"/>
                </a:solidFill>
              </a:defRPr>
            </a:lvl2pPr>
            <a:lvl3pPr>
              <a:defRPr>
                <a:solidFill>
                  <a:schemeClr val="bg1"/>
                </a:solidFill>
              </a:defRPr>
            </a:lvl3pPr>
            <a:lvl4pPr>
              <a:defRPr>
                <a:solidFill>
                  <a:schemeClr val="bg1"/>
                </a:solidFill>
              </a:defRPr>
            </a:lvl4pPr>
            <a:lvl5pPr>
              <a:defRPr sz="1700" b="0">
                <a:solidFill>
                  <a:schemeClr val="bg1"/>
                </a:solidFill>
                <a:latin typeface="+mn-lt"/>
              </a:defRPr>
            </a:lvl5pPr>
          </a:lstStyle>
          <a:p>
            <a:pPr lvl="0"/>
            <a:r>
              <a:rPr lang="en-US"/>
              <a:t>Subheading</a:t>
            </a:r>
          </a:p>
          <a:p>
            <a:pPr lvl="1"/>
            <a:r>
              <a:rPr lang="en-US"/>
              <a:t>Subheading 2</a:t>
            </a:r>
            <a:endParaRPr lang="en-GB"/>
          </a:p>
        </p:txBody>
      </p:sp>
      <p:sp>
        <p:nvSpPr>
          <p:cNvPr id="22" name="Rectangle 21">
            <a:extLst>
              <a:ext uri="{FF2B5EF4-FFF2-40B4-BE49-F238E27FC236}">
                <a16:creationId xmlns:a16="http://schemas.microsoft.com/office/drawing/2014/main" id="{51402F92-C298-4C9D-B165-225CA6300EEC}"/>
              </a:ext>
            </a:extLst>
          </p:cNvPr>
          <p:cNvSpPr/>
          <p:nvPr/>
        </p:nvSpPr>
        <p:spPr>
          <a:xfrm>
            <a:off x="0" y="0"/>
            <a:ext cx="3584575" cy="1091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6" name="Straight Connector 15">
            <a:extLst>
              <a:ext uri="{FF2B5EF4-FFF2-40B4-BE49-F238E27FC236}">
                <a16:creationId xmlns:a16="http://schemas.microsoft.com/office/drawing/2014/main" id="{1966C4C6-F1A2-4A38-9A31-435D9A2CDF67}"/>
              </a:ext>
            </a:extLst>
          </p:cNvPr>
          <p:cNvCxnSpPr>
            <a:cxnSpLocks/>
          </p:cNvCxnSpPr>
          <p:nvPr/>
        </p:nvCxnSpPr>
        <p:spPr>
          <a:xfrm>
            <a:off x="3584575" y="601449"/>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CE35D7B5-D90F-42C0-A009-8563EAB2BC7A}"/>
              </a:ext>
            </a:extLst>
          </p:cNvPr>
          <p:cNvSpPr/>
          <p:nvPr/>
        </p:nvSpPr>
        <p:spPr>
          <a:xfrm>
            <a:off x="0" y="0"/>
            <a:ext cx="3584575" cy="1091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Picture 13">
            <a:extLst>
              <a:ext uri="{FF2B5EF4-FFF2-40B4-BE49-F238E27FC236}">
                <a16:creationId xmlns:a16="http://schemas.microsoft.com/office/drawing/2014/main" id="{A9F76590-D194-4616-B4B7-387B12B531D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55020" y="482113"/>
            <a:ext cx="922631" cy="229614"/>
          </a:xfrm>
          <a:prstGeom prst="rect">
            <a:avLst/>
          </a:prstGeom>
        </p:spPr>
      </p:pic>
    </p:spTree>
    <p:extLst>
      <p:ext uri="{BB962C8B-B14F-4D97-AF65-F5344CB8AC3E}">
        <p14:creationId xmlns:p14="http://schemas.microsoft.com/office/powerpoint/2010/main" val="3270103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2250" fill="hold"/>
                                        <p:tgtEl>
                                          <p:spTgt spid="25"/>
                                        </p:tgtEl>
                                        <p:attrNameLst>
                                          <p:attrName>ppt_x</p:attrName>
                                        </p:attrNameLst>
                                      </p:cBhvr>
                                      <p:tavLst>
                                        <p:tav tm="0">
                                          <p:val>
                                            <p:strVal val="0-#ppt_w/2"/>
                                          </p:val>
                                        </p:tav>
                                        <p:tav tm="100000">
                                          <p:val>
                                            <p:strVal val="#ppt_x"/>
                                          </p:val>
                                        </p:tav>
                                      </p:tavLst>
                                    </p:anim>
                                    <p:anim calcmode="lin" valueType="num">
                                      <p:cBhvr additive="base">
                                        <p:cTn id="8" dur="2250" fill="hold"/>
                                        <p:tgtEl>
                                          <p:spTgt spid="25"/>
                                        </p:tgtEl>
                                        <p:attrNameLst>
                                          <p:attrName>ppt_y</p:attrName>
                                        </p:attrNameLst>
                                      </p:cBhvr>
                                      <p:tavLst>
                                        <p:tav tm="0">
                                          <p:val>
                                            <p:strVal val="#ppt_y"/>
                                          </p:val>
                                        </p:tav>
                                        <p:tav tm="100000">
                                          <p:val>
                                            <p:strVal val="#ppt_y"/>
                                          </p:val>
                                        </p:tav>
                                      </p:tavLst>
                                    </p:anim>
                                  </p:childTnLst>
                                </p:cTn>
                              </p:par>
                            </p:childTnLst>
                          </p:cTn>
                        </p:par>
                        <p:par>
                          <p:cTn id="9" fill="hold">
                            <p:stCondLst>
                              <p:cond delay="2250"/>
                            </p:stCondLst>
                            <p:childTnLst>
                              <p:par>
                                <p:cTn id="10" presetID="2" presetClass="entr" presetSubtype="8"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additive="base">
                                        <p:cTn id="12" dur="2250" fill="hold"/>
                                        <p:tgtEl>
                                          <p:spTgt spid="16"/>
                                        </p:tgtEl>
                                        <p:attrNameLst>
                                          <p:attrName>ppt_x</p:attrName>
                                        </p:attrNameLst>
                                      </p:cBhvr>
                                      <p:tavLst>
                                        <p:tav tm="0">
                                          <p:val>
                                            <p:strVal val="0-#ppt_w/2"/>
                                          </p:val>
                                        </p:tav>
                                        <p:tav tm="100000">
                                          <p:val>
                                            <p:strVal val="#ppt_x"/>
                                          </p:val>
                                        </p:tav>
                                      </p:tavLst>
                                    </p:anim>
                                    <p:anim calcmode="lin" valueType="num">
                                      <p:cBhvr additive="base">
                                        <p:cTn id="13" dur="225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Text Cover 2">
    <p:bg>
      <p:bgPr>
        <a:solidFill>
          <a:schemeClr val="accent6"/>
        </a:solidFill>
        <a:effectLst/>
      </p:bgPr>
    </p:bg>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887340F4-9434-47C2-9CB2-6C0ACFBEFAB5}"/>
              </a:ext>
            </a:extLst>
          </p:cNvPr>
          <p:cNvCxnSpPr>
            <a:cxnSpLocks/>
          </p:cNvCxnSpPr>
          <p:nvPr userDrawn="1"/>
        </p:nvCxnSpPr>
        <p:spPr>
          <a:xfrm>
            <a:off x="3584575" y="601449"/>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5" y="1554448"/>
            <a:ext cx="1328469"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GB" sz="1050" b="1" kern="1200" spc="-3" dirty="0" err="1" smtClean="0">
                <a:solidFill>
                  <a:srgbClr val="FFFFFF"/>
                </a:solidFill>
                <a:latin typeface="Space Mono" panose="02000509040000020004" pitchFamily="49" charset="0"/>
                <a:ea typeface="+mn-ea"/>
                <a:cs typeface="Space Mono" panose="02000509040000020004" pitchFamily="49" charset="0"/>
              </a:defRPr>
            </a:lvl1pPr>
          </a:lstStyle>
          <a:p>
            <a:r>
              <a:rPr lang="en-GB"/>
              <a:t>21 JANUARY 2021</a:t>
            </a:r>
          </a:p>
          <a:p>
            <a:endParaRP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3593749" y="1524787"/>
            <a:ext cx="7021090" cy="3024184"/>
          </a:xfrm>
        </p:spPr>
        <p:txBody>
          <a:bodyPr/>
          <a:lstStyle>
            <a:lvl1pPr>
              <a:lnSpc>
                <a:spcPct val="80000"/>
              </a:lnSpc>
              <a:defRPr sz="9600">
                <a:solidFill>
                  <a:schemeClr val="bg1"/>
                </a:solidFill>
              </a:defRPr>
            </a:lvl1pPr>
          </a:lstStyle>
          <a:p>
            <a:r>
              <a:rPr lang="en-US"/>
              <a:t>Click to edit Master title style</a:t>
            </a:r>
            <a:endParaRPr lang="en-GB"/>
          </a:p>
        </p:txBody>
      </p:sp>
      <p:sp>
        <p:nvSpPr>
          <p:cNvPr id="22" name="Rectangle 21">
            <a:extLst>
              <a:ext uri="{FF2B5EF4-FFF2-40B4-BE49-F238E27FC236}">
                <a16:creationId xmlns:a16="http://schemas.microsoft.com/office/drawing/2014/main" id="{51402F92-C298-4C9D-B165-225CA6300EEC}"/>
              </a:ext>
            </a:extLst>
          </p:cNvPr>
          <p:cNvSpPr/>
          <p:nvPr userDrawn="1"/>
        </p:nvSpPr>
        <p:spPr>
          <a:xfrm>
            <a:off x="0" y="0"/>
            <a:ext cx="3584575" cy="1091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6"/>
              </a:solidFill>
            </a:endParaRPr>
          </a:p>
        </p:txBody>
      </p:sp>
      <p:pic>
        <p:nvPicPr>
          <p:cNvPr id="20" name="Picture 19">
            <a:extLst>
              <a:ext uri="{FF2B5EF4-FFF2-40B4-BE49-F238E27FC236}">
                <a16:creationId xmlns:a16="http://schemas.microsoft.com/office/drawing/2014/main" id="{4142A7DB-8F59-47AF-82E8-D7354160FA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55020" y="482113"/>
            <a:ext cx="922631" cy="229614"/>
          </a:xfrm>
          <a:prstGeom prst="rect">
            <a:avLst/>
          </a:prstGeom>
        </p:spPr>
      </p:pic>
    </p:spTree>
    <p:extLst>
      <p:ext uri="{BB962C8B-B14F-4D97-AF65-F5344CB8AC3E}">
        <p14:creationId xmlns:p14="http://schemas.microsoft.com/office/powerpoint/2010/main" val="4091999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2250" fill="hold"/>
                                        <p:tgtEl>
                                          <p:spTgt spid="25"/>
                                        </p:tgtEl>
                                        <p:attrNameLst>
                                          <p:attrName>ppt_x</p:attrName>
                                        </p:attrNameLst>
                                      </p:cBhvr>
                                      <p:tavLst>
                                        <p:tav tm="0">
                                          <p:val>
                                            <p:strVal val="0-#ppt_w/2"/>
                                          </p:val>
                                        </p:tav>
                                        <p:tav tm="100000">
                                          <p:val>
                                            <p:strVal val="#ppt_x"/>
                                          </p:val>
                                        </p:tav>
                                      </p:tavLst>
                                    </p:anim>
                                    <p:anim calcmode="lin" valueType="num">
                                      <p:cBhvr additive="base">
                                        <p:cTn id="8" dur="225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Text Cover 3">
    <p:bg>
      <p:bgPr>
        <a:solidFill>
          <a:schemeClr val="bg1"/>
        </a:solidFill>
        <a:effectLst/>
      </p:bgPr>
    </p:bg>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887340F4-9434-47C2-9CB2-6C0ACFBEFAB5}"/>
              </a:ext>
            </a:extLst>
          </p:cNvPr>
          <p:cNvCxnSpPr>
            <a:cxnSpLocks/>
          </p:cNvCxnSpPr>
          <p:nvPr/>
        </p:nvCxnSpPr>
        <p:spPr>
          <a:xfrm>
            <a:off x="3584575" y="601449"/>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5" y="1554448"/>
            <a:ext cx="1328469"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GB" sz="1050" b="1" kern="1200" spc="-3" dirty="0" err="1" smtClean="0">
                <a:solidFill>
                  <a:schemeClr val="accent6"/>
                </a:solidFill>
                <a:latin typeface="Space Mono" panose="02000509040000020004" pitchFamily="49" charset="0"/>
                <a:ea typeface="+mn-ea"/>
                <a:cs typeface="Space Mono" panose="02000509040000020004" pitchFamily="49" charset="0"/>
              </a:defRPr>
            </a:lvl1pPr>
          </a:lstStyle>
          <a:p>
            <a:r>
              <a:rPr lang="en-GB"/>
              <a:t>21 JANUARY 2021</a:t>
            </a:r>
          </a:p>
          <a:p>
            <a:endParaRP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3584575" y="1457151"/>
            <a:ext cx="7070725" cy="3168821"/>
          </a:xfrm>
        </p:spPr>
        <p:txBody>
          <a:bodyPr/>
          <a:lstStyle>
            <a:lvl1pPr>
              <a:defRPr sz="6600">
                <a:solidFill>
                  <a:schemeClr val="accent6"/>
                </a:solidFill>
              </a:defRPr>
            </a:lvl1pPr>
          </a:lstStyle>
          <a:p>
            <a:r>
              <a:rPr lang="en-US"/>
              <a:t>Click to edit Master title style</a:t>
            </a:r>
            <a:endParaRPr lang="en-GB"/>
          </a:p>
        </p:txBody>
      </p:sp>
      <p:sp>
        <p:nvSpPr>
          <p:cNvPr id="10" name="Content Placeholder 9">
            <a:extLst>
              <a:ext uri="{FF2B5EF4-FFF2-40B4-BE49-F238E27FC236}">
                <a16:creationId xmlns:a16="http://schemas.microsoft.com/office/drawing/2014/main" id="{7D9956ED-0AB6-478A-B82C-B67610F4E3D0}"/>
              </a:ext>
            </a:extLst>
          </p:cNvPr>
          <p:cNvSpPr>
            <a:spLocks noGrp="1"/>
          </p:cNvSpPr>
          <p:nvPr>
            <p:ph sz="quarter" idx="11" hasCustomPrompt="1"/>
          </p:nvPr>
        </p:nvSpPr>
        <p:spPr>
          <a:xfrm>
            <a:off x="3593749" y="4727575"/>
            <a:ext cx="5522912" cy="1250951"/>
          </a:xfrm>
        </p:spPr>
        <p:txBody>
          <a:bodyPr tIns="0">
            <a:noAutofit/>
          </a:bodyPr>
          <a:lstStyle>
            <a:lvl1pPr>
              <a:spcBef>
                <a:spcPts val="0"/>
              </a:spcBef>
              <a:spcAft>
                <a:spcPts val="0"/>
              </a:spcAft>
              <a:defRPr sz="1700">
                <a:solidFill>
                  <a:schemeClr val="tx1"/>
                </a:solidFill>
                <a:latin typeface="+mn-lt"/>
              </a:defRPr>
            </a:lvl1pPr>
            <a:lvl2pPr>
              <a:spcBef>
                <a:spcPts val="0"/>
              </a:spcBef>
              <a:spcAft>
                <a:spcPts val="0"/>
              </a:spcAft>
              <a:defRPr sz="1700">
                <a:solidFill>
                  <a:schemeClr val="tx1"/>
                </a:solidFill>
              </a:defRPr>
            </a:lvl2pPr>
            <a:lvl3pPr>
              <a:defRPr>
                <a:solidFill>
                  <a:schemeClr val="bg1"/>
                </a:solidFill>
              </a:defRPr>
            </a:lvl3pPr>
            <a:lvl4pPr>
              <a:defRPr>
                <a:solidFill>
                  <a:schemeClr val="bg1"/>
                </a:solidFill>
              </a:defRPr>
            </a:lvl4pPr>
            <a:lvl5pPr>
              <a:defRPr sz="1700" b="0">
                <a:solidFill>
                  <a:schemeClr val="accent6"/>
                </a:solidFill>
                <a:latin typeface="+mn-lt"/>
              </a:defRPr>
            </a:lvl5pPr>
          </a:lstStyle>
          <a:p>
            <a:pPr lvl="0"/>
            <a:r>
              <a:rPr lang="en-US"/>
              <a:t>Subheading</a:t>
            </a:r>
          </a:p>
          <a:p>
            <a:pPr lvl="1"/>
            <a:r>
              <a:rPr lang="en-US"/>
              <a:t>Subheading 2</a:t>
            </a:r>
            <a:endParaRPr lang="en-GB"/>
          </a:p>
        </p:txBody>
      </p:sp>
      <p:sp>
        <p:nvSpPr>
          <p:cNvPr id="22" name="Rectangle 21">
            <a:extLst>
              <a:ext uri="{FF2B5EF4-FFF2-40B4-BE49-F238E27FC236}">
                <a16:creationId xmlns:a16="http://schemas.microsoft.com/office/drawing/2014/main" id="{51402F92-C298-4C9D-B165-225CA6300EEC}"/>
              </a:ext>
            </a:extLst>
          </p:cNvPr>
          <p:cNvSpPr/>
          <p:nvPr/>
        </p:nvSpPr>
        <p:spPr>
          <a:xfrm>
            <a:off x="0" y="0"/>
            <a:ext cx="3584575" cy="1091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0E18E39C-4E0E-44E2-9357-20A295465E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55020" y="482113"/>
            <a:ext cx="921449" cy="229614"/>
          </a:xfrm>
          <a:prstGeom prst="rect">
            <a:avLst/>
          </a:prstGeom>
        </p:spPr>
      </p:pic>
    </p:spTree>
    <p:extLst>
      <p:ext uri="{BB962C8B-B14F-4D97-AF65-F5344CB8AC3E}">
        <p14:creationId xmlns:p14="http://schemas.microsoft.com/office/powerpoint/2010/main" val="663068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2250" fill="hold"/>
                                        <p:tgtEl>
                                          <p:spTgt spid="25"/>
                                        </p:tgtEl>
                                        <p:attrNameLst>
                                          <p:attrName>ppt_x</p:attrName>
                                        </p:attrNameLst>
                                      </p:cBhvr>
                                      <p:tavLst>
                                        <p:tav tm="0">
                                          <p:val>
                                            <p:strVal val="0-#ppt_w/2"/>
                                          </p:val>
                                        </p:tav>
                                        <p:tav tm="100000">
                                          <p:val>
                                            <p:strVal val="#ppt_x"/>
                                          </p:val>
                                        </p:tav>
                                      </p:tavLst>
                                    </p:anim>
                                    <p:anim calcmode="lin" valueType="num">
                                      <p:cBhvr additive="base">
                                        <p:cTn id="8" dur="225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ext Cover 4">
    <p:bg>
      <p:bgPr>
        <a:solidFill>
          <a:schemeClr val="bg1"/>
        </a:solidFill>
        <a:effectLst/>
      </p:bgPr>
    </p:bg>
    <p:spTree>
      <p:nvGrpSpPr>
        <p:cNvPr id="1" name=""/>
        <p:cNvGrpSpPr/>
        <p:nvPr/>
      </p:nvGrpSpPr>
      <p:grpSpPr>
        <a:xfrm>
          <a:off x="0" y="0"/>
          <a:ext cx="0" cy="0"/>
          <a:chOff x="0" y="0"/>
          <a:chExt cx="0" cy="0"/>
        </a:xfrm>
      </p:grpSpPr>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5" y="1554448"/>
            <a:ext cx="1328469"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GB" sz="1050" b="1" kern="1200" spc="-3" dirty="0" err="1" smtClean="0">
                <a:solidFill>
                  <a:schemeClr val="accent6"/>
                </a:solidFill>
                <a:latin typeface="Space Mono" panose="02000509040000020004" pitchFamily="49" charset="0"/>
                <a:ea typeface="+mn-ea"/>
                <a:cs typeface="Space Mono" panose="02000509040000020004" pitchFamily="49" charset="0"/>
              </a:defRPr>
            </a:lvl1pPr>
          </a:lstStyle>
          <a:p>
            <a:r>
              <a:rPr lang="en-GB"/>
              <a:t>21 JANUARY 2021</a:t>
            </a:r>
          </a:p>
          <a:p>
            <a:endParaRP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3584575" y="1524787"/>
            <a:ext cx="7543378" cy="3024184"/>
          </a:xfrm>
        </p:spPr>
        <p:txBody>
          <a:bodyPr/>
          <a:lstStyle>
            <a:lvl1pPr>
              <a:lnSpc>
                <a:spcPct val="80000"/>
              </a:lnSpc>
              <a:defRPr sz="9600">
                <a:solidFill>
                  <a:schemeClr val="accent6"/>
                </a:solidFill>
              </a:defRPr>
            </a:lvl1pPr>
          </a:lstStyle>
          <a:p>
            <a:r>
              <a:rPr lang="en-US"/>
              <a:t>Click to edit Master title style</a:t>
            </a:r>
            <a:endParaRPr lang="en-GB"/>
          </a:p>
        </p:txBody>
      </p:sp>
      <p:cxnSp>
        <p:nvCxnSpPr>
          <p:cNvPr id="25" name="Straight Connector 24">
            <a:extLst>
              <a:ext uri="{FF2B5EF4-FFF2-40B4-BE49-F238E27FC236}">
                <a16:creationId xmlns:a16="http://schemas.microsoft.com/office/drawing/2014/main" id="{887340F4-9434-47C2-9CB2-6C0ACFBEFAB5}"/>
              </a:ext>
            </a:extLst>
          </p:cNvPr>
          <p:cNvCxnSpPr>
            <a:cxnSpLocks/>
          </p:cNvCxnSpPr>
          <p:nvPr userDrawn="1"/>
        </p:nvCxnSpPr>
        <p:spPr>
          <a:xfrm>
            <a:off x="3584575" y="601449"/>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1402F92-C298-4C9D-B165-225CA6300EEC}"/>
              </a:ext>
            </a:extLst>
          </p:cNvPr>
          <p:cNvSpPr/>
          <p:nvPr/>
        </p:nvSpPr>
        <p:spPr>
          <a:xfrm>
            <a:off x="0" y="0"/>
            <a:ext cx="3584575" cy="1091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9CA78638-F7C0-4118-97E4-22DFB1A4D9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55020" y="482113"/>
            <a:ext cx="921449" cy="229614"/>
          </a:xfrm>
          <a:prstGeom prst="rect">
            <a:avLst/>
          </a:prstGeom>
        </p:spPr>
      </p:pic>
    </p:spTree>
    <p:extLst>
      <p:ext uri="{BB962C8B-B14F-4D97-AF65-F5344CB8AC3E}">
        <p14:creationId xmlns:p14="http://schemas.microsoft.com/office/powerpoint/2010/main" val="2264538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2250" fill="hold"/>
                                        <p:tgtEl>
                                          <p:spTgt spid="25"/>
                                        </p:tgtEl>
                                        <p:attrNameLst>
                                          <p:attrName>ppt_x</p:attrName>
                                        </p:attrNameLst>
                                      </p:cBhvr>
                                      <p:tavLst>
                                        <p:tav tm="0">
                                          <p:val>
                                            <p:strVal val="0-#ppt_w/2"/>
                                          </p:val>
                                        </p:tav>
                                        <p:tav tm="100000">
                                          <p:val>
                                            <p:strVal val="#ppt_x"/>
                                          </p:val>
                                        </p:tav>
                                      </p:tavLst>
                                    </p:anim>
                                    <p:anim calcmode="lin" valueType="num">
                                      <p:cBhvr additive="base">
                                        <p:cTn id="8" dur="225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xec Summ 3 Column">
    <p:spTree>
      <p:nvGrpSpPr>
        <p:cNvPr id="1" name=""/>
        <p:cNvGrpSpPr/>
        <p:nvPr/>
      </p:nvGrpSpPr>
      <p:grpSpPr>
        <a:xfrm>
          <a:off x="0" y="0"/>
          <a:ext cx="0" cy="0"/>
          <a:chOff x="0" y="0"/>
          <a:chExt cx="0" cy="0"/>
        </a:xfrm>
      </p:grpSpPr>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grpSp>
        <p:nvGrpSpPr>
          <p:cNvPr id="7" name="Column Rules">
            <a:extLst>
              <a:ext uri="{FF2B5EF4-FFF2-40B4-BE49-F238E27FC236}">
                <a16:creationId xmlns:a16="http://schemas.microsoft.com/office/drawing/2014/main" id="{87D564AF-DF84-4180-84CA-A17335C05E5A}"/>
              </a:ext>
            </a:extLst>
          </p:cNvPr>
          <p:cNvGrpSpPr/>
          <p:nvPr userDrawn="1"/>
        </p:nvGrpSpPr>
        <p:grpSpPr>
          <a:xfrm>
            <a:off x="505977" y="2225674"/>
            <a:ext cx="7829979" cy="1261872"/>
            <a:chOff x="505977" y="2225674"/>
            <a:chExt cx="7829979" cy="1431925"/>
          </a:xfrm>
        </p:grpSpPr>
        <p:cxnSp>
          <p:nvCxnSpPr>
            <p:cNvPr id="23" name="Column Rule 3">
              <a:extLst>
                <a:ext uri="{FF2B5EF4-FFF2-40B4-BE49-F238E27FC236}">
                  <a16:creationId xmlns:a16="http://schemas.microsoft.com/office/drawing/2014/main" id="{C4B15205-E96B-489D-84B5-39F086178357}"/>
                </a:ext>
              </a:extLst>
            </p:cNvPr>
            <p:cNvCxnSpPr>
              <a:cxnSpLocks/>
            </p:cNvCxnSpPr>
            <p:nvPr userDrawn="1"/>
          </p:nvCxnSpPr>
          <p:spPr>
            <a:xfrm>
              <a:off x="8335956" y="2225674"/>
              <a:ext cx="0" cy="1431925"/>
            </a:xfrm>
            <a:prstGeom prst="line">
              <a:avLst/>
            </a:prstGeom>
            <a:ln w="2540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16" name="Column Rule 2">
              <a:extLst>
                <a:ext uri="{FF2B5EF4-FFF2-40B4-BE49-F238E27FC236}">
                  <a16:creationId xmlns:a16="http://schemas.microsoft.com/office/drawing/2014/main" id="{74B34D04-2DB5-4ECD-B5DF-25A38C332E27}"/>
                </a:ext>
              </a:extLst>
            </p:cNvPr>
            <p:cNvCxnSpPr/>
            <p:nvPr userDrawn="1"/>
          </p:nvCxnSpPr>
          <p:spPr>
            <a:xfrm>
              <a:off x="4420966" y="2225674"/>
              <a:ext cx="0" cy="1431925"/>
            </a:xfrm>
            <a:prstGeom prst="line">
              <a:avLst/>
            </a:prstGeom>
            <a:ln w="25400">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1" name="Column Rule 1">
              <a:extLst>
                <a:ext uri="{FF2B5EF4-FFF2-40B4-BE49-F238E27FC236}">
                  <a16:creationId xmlns:a16="http://schemas.microsoft.com/office/drawing/2014/main" id="{FE3C7069-4632-4876-8DC1-2CA1440016D8}"/>
                </a:ext>
              </a:extLst>
            </p:cNvPr>
            <p:cNvCxnSpPr/>
            <p:nvPr userDrawn="1"/>
          </p:nvCxnSpPr>
          <p:spPr>
            <a:xfrm>
              <a:off x="505977" y="2225674"/>
              <a:ext cx="0" cy="1431925"/>
            </a:xfrm>
            <a:prstGeom prst="line">
              <a:avLst/>
            </a:prstGeom>
            <a:ln w="25400">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10" name="Content Placeholder 3">
            <a:extLst>
              <a:ext uri="{FF2B5EF4-FFF2-40B4-BE49-F238E27FC236}">
                <a16:creationId xmlns:a16="http://schemas.microsoft.com/office/drawing/2014/main" id="{96F8CE7E-C8FD-42CD-9FE2-33854B67611D}"/>
              </a:ext>
            </a:extLst>
          </p:cNvPr>
          <p:cNvSpPr>
            <a:spLocks noGrp="1"/>
          </p:cNvSpPr>
          <p:nvPr userDrawn="1">
            <p:ph sz="quarter" idx="16"/>
          </p:nvPr>
        </p:nvSpPr>
        <p:spPr>
          <a:xfrm>
            <a:off x="8501064" y="3332098"/>
            <a:ext cx="3175000" cy="2551176"/>
          </a:xfrm>
        </p:spPr>
        <p:txBody>
          <a:bodyPr/>
          <a:lstStyle>
            <a:lvl1pPr>
              <a:spcAft>
                <a:spcPts val="0"/>
              </a:spcAft>
              <a:defRPr>
                <a:latin typeface="Calibre Light" panose="020B0303030202060203" pitchFamily="34" charset="0"/>
              </a:defRPr>
            </a:lvl1pPr>
            <a:lvl2pPr>
              <a:defRPr sz="1600">
                <a:latin typeface="Calibre Semibold" panose="020B07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Heading Placeholder 3">
            <a:extLst>
              <a:ext uri="{FF2B5EF4-FFF2-40B4-BE49-F238E27FC236}">
                <a16:creationId xmlns:a16="http://schemas.microsoft.com/office/drawing/2014/main" id="{8D649D2F-7D7D-4802-A705-A08201E6D24D}"/>
              </a:ext>
            </a:extLst>
          </p:cNvPr>
          <p:cNvSpPr>
            <a:spLocks noGrp="1"/>
          </p:cNvSpPr>
          <p:nvPr userDrawn="1">
            <p:ph type="body" sz="quarter" idx="17" hasCustomPrompt="1"/>
          </p:nvPr>
        </p:nvSpPr>
        <p:spPr>
          <a:xfrm>
            <a:off x="8501064" y="2225675"/>
            <a:ext cx="3175000" cy="914400"/>
          </a:xfrm>
        </p:spPr>
        <p:txBody>
          <a:bodyPr/>
          <a:lstStyle>
            <a:lvl1pPr>
              <a:lnSpc>
                <a:spcPct val="82000"/>
              </a:lnSpc>
              <a:spcBef>
                <a:spcPts val="0"/>
              </a:spcBef>
              <a:spcAft>
                <a:spcPts val="0"/>
              </a:spcAft>
              <a:defRPr lang="en-US" sz="3600" b="0" dirty="0" smtClean="0">
                <a:solidFill>
                  <a:srgbClr val="003F2D"/>
                </a:solidFill>
                <a:latin typeface="+mj-lt"/>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olumn Header</a:t>
            </a:r>
          </a:p>
        </p:txBody>
      </p:sp>
      <p:sp>
        <p:nvSpPr>
          <p:cNvPr id="9" name="Content Placeholder 2">
            <a:extLst>
              <a:ext uri="{FF2B5EF4-FFF2-40B4-BE49-F238E27FC236}">
                <a16:creationId xmlns:a16="http://schemas.microsoft.com/office/drawing/2014/main" id="{42EA3364-699E-4FFA-BD42-6EF5EA1F1F61}"/>
              </a:ext>
            </a:extLst>
          </p:cNvPr>
          <p:cNvSpPr>
            <a:spLocks noGrp="1"/>
          </p:cNvSpPr>
          <p:nvPr userDrawn="1">
            <p:ph sz="quarter" idx="14"/>
          </p:nvPr>
        </p:nvSpPr>
        <p:spPr>
          <a:xfrm>
            <a:off x="4584421" y="3332098"/>
            <a:ext cx="3172968" cy="2551176"/>
          </a:xfrm>
        </p:spPr>
        <p:txBody>
          <a:bodyPr/>
          <a:lstStyle>
            <a:lvl1pPr>
              <a:spcAft>
                <a:spcPts val="0"/>
              </a:spcAft>
              <a:defRPr>
                <a:latin typeface="Calibre Light" panose="020B0303030202060203" pitchFamily="34" charset="0"/>
              </a:defRPr>
            </a:lvl1pPr>
            <a:lvl2pPr>
              <a:defRPr sz="1600">
                <a:latin typeface="Calibre Semibold" panose="020B07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Heading Placeholder 2">
            <a:extLst>
              <a:ext uri="{FF2B5EF4-FFF2-40B4-BE49-F238E27FC236}">
                <a16:creationId xmlns:a16="http://schemas.microsoft.com/office/drawing/2014/main" id="{6FE6ECDB-AF0B-4645-9EF8-7E58A711A6A0}"/>
              </a:ext>
            </a:extLst>
          </p:cNvPr>
          <p:cNvSpPr>
            <a:spLocks noGrp="1"/>
          </p:cNvSpPr>
          <p:nvPr userDrawn="1">
            <p:ph type="body" sz="quarter" idx="15" hasCustomPrompt="1"/>
          </p:nvPr>
        </p:nvSpPr>
        <p:spPr>
          <a:xfrm>
            <a:off x="4584421" y="2225675"/>
            <a:ext cx="3172968" cy="914400"/>
          </a:xfrm>
        </p:spPr>
        <p:txBody>
          <a:bodyPr/>
          <a:lstStyle>
            <a:lvl1pPr>
              <a:lnSpc>
                <a:spcPct val="82000"/>
              </a:lnSpc>
              <a:spcBef>
                <a:spcPts val="0"/>
              </a:spcBef>
              <a:spcAft>
                <a:spcPts val="0"/>
              </a:spcAft>
              <a:defRPr lang="en-US" sz="3600" b="0" dirty="0" smtClean="0">
                <a:solidFill>
                  <a:srgbClr val="003F2D"/>
                </a:solidFill>
                <a:latin typeface="+mj-lt"/>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olum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userDrawn="1">
            <p:ph sz="quarter" idx="12"/>
          </p:nvPr>
        </p:nvSpPr>
        <p:spPr>
          <a:xfrm>
            <a:off x="667779" y="3332097"/>
            <a:ext cx="3172968" cy="2551176"/>
          </a:xfrm>
        </p:spPr>
        <p:txBody>
          <a:bodyPr/>
          <a:lstStyle>
            <a:lvl1pPr>
              <a:spcAft>
                <a:spcPts val="0"/>
              </a:spcAft>
              <a:defRPr>
                <a:latin typeface="Calibre Light" panose="020B0303030202060203" pitchFamily="34" charset="0"/>
              </a:defRPr>
            </a:lvl1pPr>
            <a:lvl2pPr>
              <a:defRPr sz="1600">
                <a:latin typeface="Calibre Semibold" panose="020B07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Heading Placeholder 1">
            <a:extLst>
              <a:ext uri="{FF2B5EF4-FFF2-40B4-BE49-F238E27FC236}">
                <a16:creationId xmlns:a16="http://schemas.microsoft.com/office/drawing/2014/main" id="{478E80C0-0E36-48D9-AC93-9C6F4EC94042}"/>
              </a:ext>
            </a:extLst>
          </p:cNvPr>
          <p:cNvSpPr>
            <a:spLocks noGrp="1"/>
          </p:cNvSpPr>
          <p:nvPr userDrawn="1">
            <p:ph type="body" sz="quarter" idx="13" hasCustomPrompt="1"/>
          </p:nvPr>
        </p:nvSpPr>
        <p:spPr>
          <a:xfrm>
            <a:off x="667779" y="2225673"/>
            <a:ext cx="3172968" cy="914400"/>
          </a:xfrm>
        </p:spPr>
        <p:txBody>
          <a:bodyPr/>
          <a:lstStyle>
            <a:lvl1pPr>
              <a:lnSpc>
                <a:spcPct val="82000"/>
              </a:lnSpc>
              <a:spcBef>
                <a:spcPts val="0"/>
              </a:spcBef>
              <a:spcAft>
                <a:spcPts val="0"/>
              </a:spcAft>
              <a:defRPr lang="en-US" sz="3600" b="0" dirty="0" smtClean="0">
                <a:solidFill>
                  <a:srgbClr val="003F2D"/>
                </a:solidFill>
                <a:latin typeface="+mj-lt"/>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olumn Header</a:t>
            </a:r>
          </a:p>
        </p:txBody>
      </p:sp>
      <p:sp>
        <p:nvSpPr>
          <p:cNvPr id="15" name="Rectangle 14">
            <a:extLst>
              <a:ext uri="{FF2B5EF4-FFF2-40B4-BE49-F238E27FC236}">
                <a16:creationId xmlns:a16="http://schemas.microsoft.com/office/drawing/2014/main" id="{2CD6F558-36EA-4E1B-B941-943C0CC96B5C}"/>
              </a:ext>
            </a:extLst>
          </p:cNvPr>
          <p:cNvSpPr/>
          <p:nvPr userDrawn="1"/>
        </p:nvSpPr>
        <p:spPr>
          <a:xfrm>
            <a:off x="-1828800" y="2225675"/>
            <a:ext cx="1676400" cy="3030538"/>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91440" bIns="0" rtlCol="0" anchor="t" anchorCtr="0"/>
          <a:lstStyle/>
          <a:p>
            <a:pPr algn="l">
              <a:spcAft>
                <a:spcPts val="300"/>
              </a:spcAft>
            </a:pPr>
            <a:r>
              <a:rPr lang="en-GB" sz="1200" dirty="0">
                <a:solidFill>
                  <a:schemeClr val="bg1"/>
                </a:solidFill>
              </a:rPr>
              <a:t>Make sure the</a:t>
            </a:r>
            <a:br>
              <a:rPr lang="en-GB" sz="1200" dirty="0">
                <a:solidFill>
                  <a:schemeClr val="bg1"/>
                </a:solidFill>
              </a:rPr>
            </a:br>
            <a:r>
              <a:rPr lang="en-GB" sz="1200" dirty="0">
                <a:solidFill>
                  <a:schemeClr val="bg1"/>
                </a:solidFill>
              </a:rPr>
              <a:t>column lines are:</a:t>
            </a:r>
          </a:p>
          <a:p>
            <a:pPr marL="171450" lvl="1" indent="-171450" algn="l">
              <a:spcAft>
                <a:spcPts val="300"/>
              </a:spcAft>
              <a:buFont typeface="+mj-lt"/>
              <a:buAutoNum type="arabicPeriod"/>
            </a:pPr>
            <a:r>
              <a:rPr lang="en-GB" sz="1200" dirty="0">
                <a:solidFill>
                  <a:schemeClr val="bg1"/>
                </a:solidFill>
              </a:rPr>
              <a:t>All the same height</a:t>
            </a:r>
          </a:p>
          <a:p>
            <a:pPr marL="171450" lvl="1" indent="-171450" algn="l">
              <a:spcAft>
                <a:spcPts val="300"/>
              </a:spcAft>
              <a:buFont typeface="+mj-lt"/>
              <a:buAutoNum type="arabicPeriod"/>
            </a:pPr>
            <a:r>
              <a:rPr lang="en-GB" sz="1200" dirty="0">
                <a:solidFill>
                  <a:schemeClr val="bg1"/>
                </a:solidFill>
              </a:rPr>
              <a:t>As tall as the tallest column of text</a:t>
            </a:r>
          </a:p>
          <a:p>
            <a:pPr marL="171450" lvl="1" indent="-171450" algn="l">
              <a:spcAft>
                <a:spcPts val="300"/>
              </a:spcAft>
              <a:buFont typeface="+mj-lt"/>
              <a:buAutoNum type="arabicPeriod"/>
            </a:pPr>
            <a:r>
              <a:rPr lang="en-GB" sz="1200" dirty="0">
                <a:solidFill>
                  <a:schemeClr val="bg1"/>
                </a:solidFill>
              </a:rPr>
              <a:t>Remain equidistant by not ungrouping</a:t>
            </a:r>
          </a:p>
          <a:p>
            <a:pPr algn="l">
              <a:spcAft>
                <a:spcPts val="300"/>
              </a:spcAft>
            </a:pPr>
            <a:r>
              <a:rPr lang="en-GB" sz="1200" dirty="0">
                <a:solidFill>
                  <a:schemeClr val="bg1"/>
                </a:solidFill>
              </a:rPr>
              <a:t>If the column lines get deleted by accident, COPY and paste a set  from the slide layout’s master:</a:t>
            </a:r>
            <a:br>
              <a:rPr lang="en-GB" sz="1200" dirty="0">
                <a:solidFill>
                  <a:schemeClr val="bg1"/>
                </a:solidFill>
              </a:rPr>
            </a:br>
            <a:r>
              <a:rPr lang="en-GB" sz="1200" i="1" dirty="0">
                <a:solidFill>
                  <a:schemeClr val="bg1"/>
                </a:solidFill>
              </a:rPr>
              <a:t>View &gt; Slide Master</a:t>
            </a:r>
          </a:p>
          <a:p>
            <a:pPr algn="l">
              <a:spcAft>
                <a:spcPts val="300"/>
              </a:spcAft>
            </a:pPr>
            <a:endParaRPr lang="en-GB" sz="1800" dirty="0">
              <a:solidFill>
                <a:schemeClr val="bg1"/>
              </a:solidFill>
            </a:endParaRPr>
          </a:p>
        </p:txBody>
      </p:sp>
    </p:spTree>
    <p:extLst>
      <p:ext uri="{BB962C8B-B14F-4D97-AF65-F5344CB8AC3E}">
        <p14:creationId xmlns:p14="http://schemas.microsoft.com/office/powerpoint/2010/main" val="283609179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Image Cover 1">
    <p:bg>
      <p:bgPr>
        <a:solidFill>
          <a:schemeClr val="accent6"/>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6F222E5-437D-4D26-94F0-6DA259B5944D}"/>
              </a:ext>
            </a:extLst>
          </p:cNvPr>
          <p:cNvSpPr>
            <a:spLocks noGrp="1"/>
          </p:cNvSpPr>
          <p:nvPr>
            <p:ph type="pic" sz="quarter" idx="12"/>
          </p:nvPr>
        </p:nvSpPr>
        <p:spPr>
          <a:xfrm>
            <a:off x="3584575" y="1606550"/>
            <a:ext cx="8094664" cy="4775200"/>
          </a:xfrm>
        </p:spPr>
        <p:txBody>
          <a:bodyPr/>
          <a:lstStyle>
            <a:lvl1pPr>
              <a:defRPr>
                <a:solidFill>
                  <a:schemeClr val="bg1"/>
                </a:solidFill>
              </a:defRPr>
            </a:lvl1pPr>
          </a:lstStyle>
          <a:p>
            <a:r>
              <a:rPr lang="en-US"/>
              <a:t>Click icon to add picture</a:t>
            </a:r>
            <a:endParaRPr lang="en-GB"/>
          </a:p>
        </p:txBody>
      </p:sp>
      <p:cxnSp>
        <p:nvCxnSpPr>
          <p:cNvPr id="7" name="Straight Connector 6">
            <a:extLst>
              <a:ext uri="{FF2B5EF4-FFF2-40B4-BE49-F238E27FC236}">
                <a16:creationId xmlns:a16="http://schemas.microsoft.com/office/drawing/2014/main" id="{4B50443A-8339-4B27-B4A9-FF02F1201B4A}"/>
              </a:ext>
            </a:extLst>
          </p:cNvPr>
          <p:cNvCxnSpPr>
            <a:cxnSpLocks/>
          </p:cNvCxnSpPr>
          <p:nvPr userDrawn="1"/>
        </p:nvCxnSpPr>
        <p:spPr>
          <a:xfrm>
            <a:off x="3584575" y="601449"/>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4" y="6217054"/>
            <a:ext cx="1435101"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GB" sz="1050" b="0" kern="1200" spc="-3" dirty="0" err="1" smtClean="0">
                <a:solidFill>
                  <a:srgbClr val="FFFFFF"/>
                </a:solidFill>
                <a:latin typeface="Space Mono" panose="02000509040000020004" pitchFamily="49" charset="0"/>
                <a:ea typeface="+mn-ea"/>
                <a:cs typeface="Space Mono" panose="02000509040000020004" pitchFamily="49" charset="0"/>
              </a:defRPr>
            </a:lvl1pPr>
          </a:lstStyle>
          <a:p>
            <a:r>
              <a:rPr lang="en-GB"/>
              <a:t>21 JANUARY 2021</a:t>
            </a:r>
          </a:p>
          <a:p>
            <a:endParaRP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512765" y="1548314"/>
            <a:ext cx="2459036" cy="1929899"/>
          </a:xfrm>
        </p:spPr>
        <p:txBody>
          <a:bodyPr/>
          <a:lstStyle>
            <a:lvl1pPr>
              <a:lnSpc>
                <a:spcPct val="85000"/>
              </a:lnSpc>
              <a:defRPr sz="4400">
                <a:solidFill>
                  <a:schemeClr val="bg1"/>
                </a:solidFill>
              </a:defRPr>
            </a:lvl1pPr>
          </a:lstStyle>
          <a:p>
            <a:r>
              <a:rPr lang="en-US"/>
              <a:t>Click to edit Master title style</a:t>
            </a:r>
            <a:endParaRPr lang="en-GB"/>
          </a:p>
        </p:txBody>
      </p:sp>
      <p:sp>
        <p:nvSpPr>
          <p:cNvPr id="10" name="Content Placeholder 9">
            <a:extLst>
              <a:ext uri="{FF2B5EF4-FFF2-40B4-BE49-F238E27FC236}">
                <a16:creationId xmlns:a16="http://schemas.microsoft.com/office/drawing/2014/main" id="{7D9956ED-0AB6-478A-B82C-B67610F4E3D0}"/>
              </a:ext>
            </a:extLst>
          </p:cNvPr>
          <p:cNvSpPr>
            <a:spLocks noGrp="1"/>
          </p:cNvSpPr>
          <p:nvPr>
            <p:ph sz="quarter" idx="11" hasCustomPrompt="1"/>
          </p:nvPr>
        </p:nvSpPr>
        <p:spPr>
          <a:xfrm>
            <a:off x="511175" y="4102100"/>
            <a:ext cx="2459036" cy="1149349"/>
          </a:xfrm>
        </p:spPr>
        <p:txBody>
          <a:bodyPr tIns="0">
            <a:noAutofit/>
          </a:bodyPr>
          <a:lstStyle>
            <a:lvl1pPr>
              <a:defRPr sz="17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sz="1700" b="0">
                <a:solidFill>
                  <a:schemeClr val="bg1"/>
                </a:solidFill>
                <a:latin typeface="+mn-lt"/>
              </a:defRPr>
            </a:lvl5pPr>
          </a:lstStyle>
          <a:p>
            <a:pPr lvl="0"/>
            <a:r>
              <a:rPr lang="en-US"/>
              <a:t>Fifth level</a:t>
            </a:r>
            <a:endParaRPr lang="en-GB"/>
          </a:p>
        </p:txBody>
      </p:sp>
      <p:sp>
        <p:nvSpPr>
          <p:cNvPr id="22" name="Rectangle 21">
            <a:extLst>
              <a:ext uri="{FF2B5EF4-FFF2-40B4-BE49-F238E27FC236}">
                <a16:creationId xmlns:a16="http://schemas.microsoft.com/office/drawing/2014/main" id="{51402F92-C298-4C9D-B165-225CA6300EEC}"/>
              </a:ext>
            </a:extLst>
          </p:cNvPr>
          <p:cNvSpPr/>
          <p:nvPr userDrawn="1"/>
        </p:nvSpPr>
        <p:spPr>
          <a:xfrm>
            <a:off x="0" y="0"/>
            <a:ext cx="3584575" cy="1091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6908F832-19E0-44E6-B581-490873FA74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55020" y="482113"/>
            <a:ext cx="922631" cy="229614"/>
          </a:xfrm>
          <a:prstGeom prst="rect">
            <a:avLst/>
          </a:prstGeom>
        </p:spPr>
      </p:pic>
    </p:spTree>
    <p:extLst>
      <p:ext uri="{BB962C8B-B14F-4D97-AF65-F5344CB8AC3E}">
        <p14:creationId xmlns:p14="http://schemas.microsoft.com/office/powerpoint/2010/main" val="3123993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250" fill="hold"/>
                                        <p:tgtEl>
                                          <p:spTgt spid="7"/>
                                        </p:tgtEl>
                                        <p:attrNameLst>
                                          <p:attrName>ppt_x</p:attrName>
                                        </p:attrNameLst>
                                      </p:cBhvr>
                                      <p:tavLst>
                                        <p:tav tm="0">
                                          <p:val>
                                            <p:strVal val="0-#ppt_w/2"/>
                                          </p:val>
                                        </p:tav>
                                        <p:tav tm="100000">
                                          <p:val>
                                            <p:strVal val="#ppt_x"/>
                                          </p:val>
                                        </p:tav>
                                      </p:tavLst>
                                    </p:anim>
                                    <p:anim calcmode="lin" valueType="num">
                                      <p:cBhvr additive="base">
                                        <p:cTn id="8" dur="22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Image Cover 3">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6F222E5-437D-4D26-94F0-6DA259B5944D}"/>
              </a:ext>
            </a:extLst>
          </p:cNvPr>
          <p:cNvSpPr>
            <a:spLocks noGrp="1"/>
          </p:cNvSpPr>
          <p:nvPr>
            <p:ph type="pic" sz="quarter" idx="12"/>
          </p:nvPr>
        </p:nvSpPr>
        <p:spPr>
          <a:xfrm>
            <a:off x="3584575" y="1606550"/>
            <a:ext cx="8094663" cy="4775200"/>
          </a:xfrm>
        </p:spPr>
        <p:txBody>
          <a:bodyPr/>
          <a:lstStyle>
            <a:lvl1pPr>
              <a:defRPr>
                <a:solidFill>
                  <a:schemeClr val="accent3"/>
                </a:solidFill>
              </a:defRPr>
            </a:lvl1pPr>
          </a:lstStyle>
          <a:p>
            <a:r>
              <a:rPr lang="en-US"/>
              <a:t>Click icon to add picture</a:t>
            </a:r>
            <a:endParaRPr lang="en-GB"/>
          </a:p>
        </p:txBody>
      </p:sp>
      <p:cxnSp>
        <p:nvCxnSpPr>
          <p:cNvPr id="7" name="Straight Connector 6">
            <a:extLst>
              <a:ext uri="{FF2B5EF4-FFF2-40B4-BE49-F238E27FC236}">
                <a16:creationId xmlns:a16="http://schemas.microsoft.com/office/drawing/2014/main" id="{4B50443A-8339-4B27-B4A9-FF02F1201B4A}"/>
              </a:ext>
            </a:extLst>
          </p:cNvPr>
          <p:cNvCxnSpPr>
            <a:cxnSpLocks/>
          </p:cNvCxnSpPr>
          <p:nvPr userDrawn="1"/>
        </p:nvCxnSpPr>
        <p:spPr>
          <a:xfrm>
            <a:off x="3584575" y="601449"/>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4" y="6217054"/>
            <a:ext cx="1435101"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GB" sz="1050" b="0" kern="1200" spc="-3" dirty="0" err="1" smtClean="0">
                <a:solidFill>
                  <a:schemeClr val="accent6"/>
                </a:solidFill>
                <a:latin typeface="Space Mono" panose="02000509040000020004" pitchFamily="49" charset="0"/>
                <a:ea typeface="+mn-ea"/>
                <a:cs typeface="Space Mono" panose="02000509040000020004" pitchFamily="49" charset="0"/>
              </a:defRPr>
            </a:lvl1pPr>
          </a:lstStyle>
          <a:p>
            <a:r>
              <a:rPr lang="en-GB"/>
              <a:t>21 JANUARY 2021</a:t>
            </a:r>
          </a:p>
          <a:p>
            <a:endParaRP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512764" y="1548314"/>
            <a:ext cx="2970211" cy="1929899"/>
          </a:xfrm>
        </p:spPr>
        <p:txBody>
          <a:bodyPr/>
          <a:lstStyle>
            <a:lvl1pPr>
              <a:lnSpc>
                <a:spcPct val="85000"/>
              </a:lnSpc>
              <a:defRPr sz="4400">
                <a:solidFill>
                  <a:schemeClr val="accent6"/>
                </a:solidFill>
              </a:defRPr>
            </a:lvl1pPr>
          </a:lstStyle>
          <a:p>
            <a:r>
              <a:rPr lang="en-US"/>
              <a:t>Click to edit Master title style</a:t>
            </a:r>
            <a:endParaRPr lang="en-GB"/>
          </a:p>
        </p:txBody>
      </p:sp>
      <p:sp>
        <p:nvSpPr>
          <p:cNvPr id="10" name="Content Placeholder 9">
            <a:extLst>
              <a:ext uri="{FF2B5EF4-FFF2-40B4-BE49-F238E27FC236}">
                <a16:creationId xmlns:a16="http://schemas.microsoft.com/office/drawing/2014/main" id="{7D9956ED-0AB6-478A-B82C-B67610F4E3D0}"/>
              </a:ext>
            </a:extLst>
          </p:cNvPr>
          <p:cNvSpPr>
            <a:spLocks noGrp="1"/>
          </p:cNvSpPr>
          <p:nvPr>
            <p:ph sz="quarter" idx="11" hasCustomPrompt="1"/>
          </p:nvPr>
        </p:nvSpPr>
        <p:spPr>
          <a:xfrm>
            <a:off x="511175" y="4129156"/>
            <a:ext cx="2971800" cy="1122293"/>
          </a:xfrm>
        </p:spPr>
        <p:txBody>
          <a:bodyPr tIns="0">
            <a:noAutofit/>
          </a:bodyPr>
          <a:lstStyle>
            <a:lvl1pPr>
              <a:spcAft>
                <a:spcPts val="0"/>
              </a:spcAft>
              <a:defRPr sz="1700">
                <a:solidFill>
                  <a:schemeClr val="tx1"/>
                </a:solidFill>
                <a:latin typeface="+mn-lt"/>
              </a:defRPr>
            </a:lvl1pPr>
            <a:lvl2pPr>
              <a:defRPr sz="1700">
                <a:solidFill>
                  <a:schemeClr val="tx1"/>
                </a:solidFill>
              </a:defRPr>
            </a:lvl2pPr>
            <a:lvl3pPr>
              <a:defRPr>
                <a:solidFill>
                  <a:schemeClr val="bg1"/>
                </a:solidFill>
              </a:defRPr>
            </a:lvl3pPr>
            <a:lvl4pPr>
              <a:defRPr>
                <a:solidFill>
                  <a:schemeClr val="bg1"/>
                </a:solidFill>
              </a:defRPr>
            </a:lvl4pPr>
            <a:lvl5pPr>
              <a:defRPr sz="1700" b="0">
                <a:solidFill>
                  <a:schemeClr val="accent6"/>
                </a:solidFill>
                <a:latin typeface="+mn-lt"/>
              </a:defRPr>
            </a:lvl5pPr>
          </a:lstStyle>
          <a:p>
            <a:pPr lvl="0"/>
            <a:r>
              <a:rPr lang="en-US"/>
              <a:t>Subheading</a:t>
            </a:r>
          </a:p>
        </p:txBody>
      </p:sp>
      <p:sp>
        <p:nvSpPr>
          <p:cNvPr id="22" name="Rectangle 21">
            <a:extLst>
              <a:ext uri="{FF2B5EF4-FFF2-40B4-BE49-F238E27FC236}">
                <a16:creationId xmlns:a16="http://schemas.microsoft.com/office/drawing/2014/main" id="{51402F92-C298-4C9D-B165-225CA6300EEC}"/>
              </a:ext>
            </a:extLst>
          </p:cNvPr>
          <p:cNvSpPr/>
          <p:nvPr/>
        </p:nvSpPr>
        <p:spPr>
          <a:xfrm>
            <a:off x="0" y="0"/>
            <a:ext cx="3584575" cy="1091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6AFB0BCD-EAB1-45D2-A4D5-707DEFFCD6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55020" y="482113"/>
            <a:ext cx="921449" cy="229614"/>
          </a:xfrm>
          <a:prstGeom prst="rect">
            <a:avLst/>
          </a:prstGeom>
        </p:spPr>
      </p:pic>
    </p:spTree>
    <p:extLst>
      <p:ext uri="{BB962C8B-B14F-4D97-AF65-F5344CB8AC3E}">
        <p14:creationId xmlns:p14="http://schemas.microsoft.com/office/powerpoint/2010/main" val="3605382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250" fill="hold"/>
                                        <p:tgtEl>
                                          <p:spTgt spid="7"/>
                                        </p:tgtEl>
                                        <p:attrNameLst>
                                          <p:attrName>ppt_x</p:attrName>
                                        </p:attrNameLst>
                                      </p:cBhvr>
                                      <p:tavLst>
                                        <p:tav tm="0">
                                          <p:val>
                                            <p:strVal val="0-#ppt_w/2"/>
                                          </p:val>
                                        </p:tav>
                                        <p:tav tm="100000">
                                          <p:val>
                                            <p:strVal val="#ppt_x"/>
                                          </p:val>
                                        </p:tav>
                                      </p:tavLst>
                                    </p:anim>
                                    <p:anim calcmode="lin" valueType="num">
                                      <p:cBhvr additive="base">
                                        <p:cTn id="8" dur="22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ext Agenda 1">
    <p:bg>
      <p:bgPr>
        <a:solidFill>
          <a:schemeClr val="bg1"/>
        </a:solid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27190B2A-4A03-4442-BCB9-881FECD2D9D6}"/>
              </a:ext>
            </a:extLst>
          </p:cNvPr>
          <p:cNvCxnSpPr>
            <a:cxnSpLocks/>
          </p:cNvCxnSpPr>
          <p:nvPr userDrawn="1"/>
        </p:nvCxnSpPr>
        <p:spPr>
          <a:xfrm flipH="1">
            <a:off x="2560640" y="1812877"/>
            <a:ext cx="983749"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603E8E9-3E6F-4875-89EC-2887A614A793}"/>
              </a:ext>
            </a:extLst>
          </p:cNvPr>
          <p:cNvSpPr>
            <a:spLocks noGrp="1"/>
          </p:cNvSpPr>
          <p:nvPr>
            <p:ph type="title" hasCustomPrompt="1"/>
          </p:nvPr>
        </p:nvSpPr>
        <p:spPr>
          <a:xfrm>
            <a:off x="511176" y="1601788"/>
            <a:ext cx="1947862" cy="1325563"/>
          </a:xfrm>
        </p:spPr>
        <p:txBody>
          <a:bodyPr/>
          <a:lstStyle>
            <a:lvl1pPr>
              <a:defRPr/>
            </a:lvl1pPr>
          </a:lstStyle>
          <a:p>
            <a:r>
              <a:rPr lang="en-US"/>
              <a:t>Agenda</a:t>
            </a:r>
            <a:endParaRPr lang="en-GB"/>
          </a:p>
        </p:txBody>
      </p:sp>
      <p:sp>
        <p:nvSpPr>
          <p:cNvPr id="12" name="Text Placeholder 8">
            <a:extLst>
              <a:ext uri="{FF2B5EF4-FFF2-40B4-BE49-F238E27FC236}">
                <a16:creationId xmlns:a16="http://schemas.microsoft.com/office/drawing/2014/main" id="{D00E8ABA-C8B2-4972-8417-C82FB15B6BD6}"/>
              </a:ext>
            </a:extLst>
          </p:cNvPr>
          <p:cNvSpPr>
            <a:spLocks noGrp="1"/>
          </p:cNvSpPr>
          <p:nvPr>
            <p:ph type="body" sz="quarter" idx="10" hasCustomPrompt="1"/>
          </p:nvPr>
        </p:nvSpPr>
        <p:spPr>
          <a:xfrm>
            <a:off x="7683500" y="1601788"/>
            <a:ext cx="2950014" cy="4275137"/>
          </a:xfrm>
        </p:spPr>
        <p:txBody>
          <a:bodyPr/>
          <a:lstStyle>
            <a:lvl1pPr marL="360363" indent="-360363">
              <a:lnSpc>
                <a:spcPct val="100000"/>
              </a:lnSpc>
              <a:spcBef>
                <a:spcPts val="0"/>
              </a:spcBef>
              <a:spcAft>
                <a:spcPts val="600"/>
              </a:spcAft>
              <a:buFontTx/>
              <a:buNone/>
              <a:tabLst>
                <a:tab pos="360363" algn="l"/>
              </a:tabLst>
              <a:defRPr sz="160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genda item</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44910876"/>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Text Agenda 1 Dark">
    <p:bg>
      <p:bgPr>
        <a:solidFill>
          <a:srgbClr val="012B2D"/>
        </a:solid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27190B2A-4A03-4442-BCB9-881FECD2D9D6}"/>
              </a:ext>
            </a:extLst>
          </p:cNvPr>
          <p:cNvCxnSpPr>
            <a:cxnSpLocks/>
          </p:cNvCxnSpPr>
          <p:nvPr/>
        </p:nvCxnSpPr>
        <p:spPr>
          <a:xfrm flipH="1">
            <a:off x="2560638" y="1812877"/>
            <a:ext cx="4507455"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603E8E9-3E6F-4875-89EC-2887A614A793}"/>
              </a:ext>
            </a:extLst>
          </p:cNvPr>
          <p:cNvSpPr>
            <a:spLocks noGrp="1"/>
          </p:cNvSpPr>
          <p:nvPr>
            <p:ph type="title" hasCustomPrompt="1"/>
          </p:nvPr>
        </p:nvSpPr>
        <p:spPr>
          <a:xfrm>
            <a:off x="511176" y="1601788"/>
            <a:ext cx="1947862" cy="1325563"/>
          </a:xfrm>
        </p:spPr>
        <p:txBody>
          <a:bodyPr/>
          <a:lstStyle>
            <a:lvl1pPr>
              <a:defRPr>
                <a:solidFill>
                  <a:schemeClr val="bg1"/>
                </a:solidFill>
              </a:defRPr>
            </a:lvl1pPr>
          </a:lstStyle>
          <a:p>
            <a:r>
              <a:rPr lang="en-US"/>
              <a:t>Agenda</a:t>
            </a:r>
            <a:endParaRPr lang="en-GB"/>
          </a:p>
        </p:txBody>
      </p:sp>
      <p:sp>
        <p:nvSpPr>
          <p:cNvPr id="12" name="Text Placeholder 8">
            <a:extLst>
              <a:ext uri="{FF2B5EF4-FFF2-40B4-BE49-F238E27FC236}">
                <a16:creationId xmlns:a16="http://schemas.microsoft.com/office/drawing/2014/main" id="{D00E8ABA-C8B2-4972-8417-C82FB15B6BD6}"/>
              </a:ext>
            </a:extLst>
          </p:cNvPr>
          <p:cNvSpPr>
            <a:spLocks noGrp="1"/>
          </p:cNvSpPr>
          <p:nvPr>
            <p:ph type="body" sz="quarter" idx="10" hasCustomPrompt="1"/>
          </p:nvPr>
        </p:nvSpPr>
        <p:spPr>
          <a:xfrm>
            <a:off x="7683500" y="1601788"/>
            <a:ext cx="2950014" cy="4275137"/>
          </a:xfrm>
        </p:spPr>
        <p:txBody>
          <a:bodyPr/>
          <a:lstStyle>
            <a:lvl1pPr marL="360363" indent="-360363">
              <a:lnSpc>
                <a:spcPct val="100000"/>
              </a:lnSpc>
              <a:spcBef>
                <a:spcPts val="0"/>
              </a:spcBef>
              <a:spcAft>
                <a:spcPts val="600"/>
              </a:spcAft>
              <a:buFontTx/>
              <a:buNone/>
              <a:tabLst>
                <a:tab pos="360363" algn="l"/>
              </a:tabLst>
              <a:defRPr sz="1600">
                <a:solidFill>
                  <a:schemeClr val="bg1"/>
                </a:solidFill>
                <a:latin typeface="+mn-lt"/>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a:t>Agenda item</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Box 7">
            <a:extLst>
              <a:ext uri="{FF2B5EF4-FFF2-40B4-BE49-F238E27FC236}">
                <a16:creationId xmlns:a16="http://schemas.microsoft.com/office/drawing/2014/main" id="{378EE95C-17B0-474E-86B9-86CE4D5CE658}"/>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9" name="TextBox 8">
            <a:extLst>
              <a:ext uri="{FF2B5EF4-FFF2-40B4-BE49-F238E27FC236}">
                <a16:creationId xmlns:a16="http://schemas.microsoft.com/office/drawing/2014/main" id="{F73834A5-DF51-4D0D-B974-EB0F420A2288}"/>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2824150640"/>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ext Agenda 2">
    <p:bg>
      <p:bgPr>
        <a:solidFill>
          <a:schemeClr val="bg1"/>
        </a:solid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27190B2A-4A03-4442-BCB9-881FECD2D9D6}"/>
              </a:ext>
            </a:extLst>
          </p:cNvPr>
          <p:cNvCxnSpPr>
            <a:cxnSpLocks/>
          </p:cNvCxnSpPr>
          <p:nvPr/>
        </p:nvCxnSpPr>
        <p:spPr>
          <a:xfrm flipH="1">
            <a:off x="3575527" y="1812877"/>
            <a:ext cx="8103710"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603E8E9-3E6F-4875-89EC-2887A614A793}"/>
              </a:ext>
            </a:extLst>
          </p:cNvPr>
          <p:cNvSpPr>
            <a:spLocks noGrp="1"/>
          </p:cNvSpPr>
          <p:nvPr>
            <p:ph type="title" hasCustomPrompt="1"/>
          </p:nvPr>
        </p:nvSpPr>
        <p:spPr>
          <a:xfrm>
            <a:off x="511176" y="1601788"/>
            <a:ext cx="1947862" cy="1325563"/>
          </a:xfrm>
        </p:spPr>
        <p:txBody>
          <a:bodyPr/>
          <a:lstStyle>
            <a:lvl1pPr>
              <a:defRPr/>
            </a:lvl1pPr>
          </a:lstStyle>
          <a:p>
            <a:r>
              <a:rPr lang="en-US"/>
              <a:t>Agenda</a:t>
            </a:r>
            <a:endParaRPr lang="en-GB"/>
          </a:p>
        </p:txBody>
      </p:sp>
      <p:sp>
        <p:nvSpPr>
          <p:cNvPr id="12" name="Text Placeholder 8">
            <a:extLst>
              <a:ext uri="{FF2B5EF4-FFF2-40B4-BE49-F238E27FC236}">
                <a16:creationId xmlns:a16="http://schemas.microsoft.com/office/drawing/2014/main" id="{D00E8ABA-C8B2-4972-8417-C82FB15B6BD6}"/>
              </a:ext>
            </a:extLst>
          </p:cNvPr>
          <p:cNvSpPr>
            <a:spLocks noGrp="1"/>
          </p:cNvSpPr>
          <p:nvPr>
            <p:ph type="body" sz="quarter" idx="10" hasCustomPrompt="1"/>
          </p:nvPr>
        </p:nvSpPr>
        <p:spPr>
          <a:xfrm>
            <a:off x="3584575" y="4106201"/>
            <a:ext cx="2971800" cy="2275550"/>
          </a:xfrm>
        </p:spPr>
        <p:txBody>
          <a:bodyPr/>
          <a:lstStyle>
            <a:lvl1pPr marL="360363" indent="-360363">
              <a:lnSpc>
                <a:spcPct val="100000"/>
              </a:lnSpc>
              <a:spcBef>
                <a:spcPts val="0"/>
              </a:spcBef>
              <a:spcAft>
                <a:spcPts val="600"/>
              </a:spcAft>
              <a:buFontTx/>
              <a:buNone/>
              <a:tabLst>
                <a:tab pos="360363" algn="l"/>
              </a:tabLst>
              <a:defRPr sz="160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genda item</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8">
            <a:extLst>
              <a:ext uri="{FF2B5EF4-FFF2-40B4-BE49-F238E27FC236}">
                <a16:creationId xmlns:a16="http://schemas.microsoft.com/office/drawing/2014/main" id="{FF3958F2-CFDC-49E0-9CC5-18230F9D5B79}"/>
              </a:ext>
            </a:extLst>
          </p:cNvPr>
          <p:cNvSpPr>
            <a:spLocks noGrp="1"/>
          </p:cNvSpPr>
          <p:nvPr>
            <p:ph type="body" sz="quarter" idx="13" hasCustomPrompt="1"/>
          </p:nvPr>
        </p:nvSpPr>
        <p:spPr>
          <a:xfrm>
            <a:off x="7683500" y="4106201"/>
            <a:ext cx="2971800" cy="2275550"/>
          </a:xfrm>
        </p:spPr>
        <p:txBody>
          <a:bodyPr/>
          <a:lstStyle>
            <a:lvl1pPr marL="360363" indent="-360363">
              <a:lnSpc>
                <a:spcPct val="100000"/>
              </a:lnSpc>
              <a:spcBef>
                <a:spcPts val="0"/>
              </a:spcBef>
              <a:spcAft>
                <a:spcPts val="600"/>
              </a:spcAft>
              <a:buFontTx/>
              <a:buNone/>
              <a:tabLst>
                <a:tab pos="360363" algn="l"/>
              </a:tabLst>
              <a:defRPr sz="160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genda item</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3630259"/>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ext Agenda 3">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603E8E9-3E6F-4875-89EC-2887A614A793}"/>
              </a:ext>
            </a:extLst>
          </p:cNvPr>
          <p:cNvSpPr>
            <a:spLocks noGrp="1"/>
          </p:cNvSpPr>
          <p:nvPr>
            <p:ph type="title" hasCustomPrompt="1"/>
          </p:nvPr>
        </p:nvSpPr>
        <p:spPr>
          <a:xfrm>
            <a:off x="511176" y="1601788"/>
            <a:ext cx="1947862" cy="1325563"/>
          </a:xfrm>
        </p:spPr>
        <p:txBody>
          <a:bodyPr/>
          <a:lstStyle>
            <a:lvl1pPr>
              <a:defRPr/>
            </a:lvl1pPr>
          </a:lstStyle>
          <a:p>
            <a:r>
              <a:rPr lang="en-US"/>
              <a:t>Agenda</a:t>
            </a:r>
            <a:endParaRPr lang="en-GB"/>
          </a:p>
        </p:txBody>
      </p:sp>
      <p:cxnSp>
        <p:nvCxnSpPr>
          <p:cNvPr id="13" name="Straight Connector 12">
            <a:extLst>
              <a:ext uri="{FF2B5EF4-FFF2-40B4-BE49-F238E27FC236}">
                <a16:creationId xmlns:a16="http://schemas.microsoft.com/office/drawing/2014/main" id="{0B9F7272-20C6-418C-8A6C-B6F913708AEE}"/>
              </a:ext>
            </a:extLst>
          </p:cNvPr>
          <p:cNvCxnSpPr>
            <a:cxnSpLocks/>
          </p:cNvCxnSpPr>
          <p:nvPr/>
        </p:nvCxnSpPr>
        <p:spPr>
          <a:xfrm flipH="1">
            <a:off x="2560638" y="1812877"/>
            <a:ext cx="4507455"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4" name="Text Placeholder 8">
            <a:extLst>
              <a:ext uri="{FF2B5EF4-FFF2-40B4-BE49-F238E27FC236}">
                <a16:creationId xmlns:a16="http://schemas.microsoft.com/office/drawing/2014/main" id="{E08FCD91-4ED5-4472-8502-99710E85E61C}"/>
              </a:ext>
            </a:extLst>
          </p:cNvPr>
          <p:cNvSpPr>
            <a:spLocks noGrp="1"/>
          </p:cNvSpPr>
          <p:nvPr>
            <p:ph type="body" sz="quarter" idx="10" hasCustomPrompt="1"/>
          </p:nvPr>
        </p:nvSpPr>
        <p:spPr>
          <a:xfrm>
            <a:off x="7683500" y="1601788"/>
            <a:ext cx="2950014" cy="4275137"/>
          </a:xfrm>
        </p:spPr>
        <p:txBody>
          <a:bodyPr/>
          <a:lstStyle>
            <a:lvl1pPr marL="360363" indent="-360363">
              <a:lnSpc>
                <a:spcPct val="100000"/>
              </a:lnSpc>
              <a:spcBef>
                <a:spcPts val="0"/>
              </a:spcBef>
              <a:spcAft>
                <a:spcPts val="600"/>
              </a:spcAft>
              <a:buFont typeface="+mj-lt"/>
              <a:buNone/>
              <a:tabLst>
                <a:tab pos="360363" algn="l"/>
              </a:tabLst>
              <a:defRPr sz="160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Agenda item</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10">
            <a:extLst>
              <a:ext uri="{FF2B5EF4-FFF2-40B4-BE49-F238E27FC236}">
                <a16:creationId xmlns:a16="http://schemas.microsoft.com/office/drawing/2014/main" id="{BDB04C03-037A-4942-9253-93DB7247F3BE}"/>
              </a:ext>
            </a:extLst>
          </p:cNvPr>
          <p:cNvSpPr>
            <a:spLocks noGrp="1"/>
          </p:cNvSpPr>
          <p:nvPr>
            <p:ph type="pic" sz="quarter" idx="13"/>
          </p:nvPr>
        </p:nvSpPr>
        <p:spPr>
          <a:xfrm>
            <a:off x="511175" y="2436729"/>
            <a:ext cx="2971800" cy="1973208"/>
          </a:xfrm>
        </p:spPr>
        <p:txBody>
          <a:bodyPr/>
          <a:lstStyle/>
          <a:p>
            <a:r>
              <a:rPr lang="en-US"/>
              <a:t>Click icon to add picture</a:t>
            </a:r>
            <a:endParaRPr lang="en-GB"/>
          </a:p>
        </p:txBody>
      </p:sp>
    </p:spTree>
    <p:extLst>
      <p:ext uri="{BB962C8B-B14F-4D97-AF65-F5344CB8AC3E}">
        <p14:creationId xmlns:p14="http://schemas.microsoft.com/office/powerpoint/2010/main" val="1892192473"/>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Image Quote 1">
    <p:bg>
      <p:bgPr>
        <a:solidFill>
          <a:schemeClr val="tx1"/>
        </a:solidFill>
        <a:effectLst/>
      </p:bgPr>
    </p:bg>
    <p:spTree>
      <p:nvGrpSpPr>
        <p:cNvPr id="1" name=""/>
        <p:cNvGrpSpPr/>
        <p:nvPr/>
      </p:nvGrpSpPr>
      <p:grpSpPr>
        <a:xfrm>
          <a:off x="0" y="0"/>
          <a:ext cx="0" cy="0"/>
          <a:chOff x="0" y="0"/>
          <a:chExt cx="0" cy="0"/>
        </a:xfrm>
      </p:grpSpPr>
      <p:sp>
        <p:nvSpPr>
          <p:cNvPr id="19" name="Picture Placeholder 17">
            <a:extLst>
              <a:ext uri="{FF2B5EF4-FFF2-40B4-BE49-F238E27FC236}">
                <a16:creationId xmlns:a16="http://schemas.microsoft.com/office/drawing/2014/main" id="{0AE1B65D-6907-E54F-BB4B-C41AFAAE8186}"/>
              </a:ext>
            </a:extLst>
          </p:cNvPr>
          <p:cNvSpPr>
            <a:spLocks noGrp="1"/>
          </p:cNvSpPr>
          <p:nvPr>
            <p:ph type="pic" sz="quarter" idx="12"/>
          </p:nvPr>
        </p:nvSpPr>
        <p:spPr>
          <a:xfrm>
            <a:off x="511175" y="476250"/>
            <a:ext cx="9118600" cy="5905500"/>
          </a:xfrm>
          <a:prstGeom prst="rect">
            <a:avLst/>
          </a:prstGeom>
          <a:noFill/>
        </p:spPr>
        <p:txBody>
          <a:bodyPr/>
          <a:lstStyle>
            <a:lvl1pPr>
              <a:defRPr>
                <a:solidFill>
                  <a:schemeClr val="bg1"/>
                </a:solidFill>
              </a:defRPr>
            </a:lvl1pPr>
          </a:lstStyle>
          <a:p>
            <a:r>
              <a:rPr lang="en-US"/>
              <a:t>Click icon to add picture</a:t>
            </a:r>
          </a:p>
        </p:txBody>
      </p:sp>
      <p:sp>
        <p:nvSpPr>
          <p:cNvPr id="3" name="Text Placeholder 2">
            <a:extLst>
              <a:ext uri="{FF2B5EF4-FFF2-40B4-BE49-F238E27FC236}">
                <a16:creationId xmlns:a16="http://schemas.microsoft.com/office/drawing/2014/main" id="{B0E5166B-DE21-4C78-873E-E08181E53E4F}"/>
              </a:ext>
            </a:extLst>
          </p:cNvPr>
          <p:cNvSpPr>
            <a:spLocks noGrp="1"/>
          </p:cNvSpPr>
          <p:nvPr>
            <p:ph type="body" sz="quarter" idx="13"/>
          </p:nvPr>
        </p:nvSpPr>
        <p:spPr>
          <a:xfrm>
            <a:off x="9731375" y="1596707"/>
            <a:ext cx="1947863" cy="3024188"/>
          </a:xfrm>
        </p:spPr>
        <p:txBody>
          <a:bodyPr tIns="0"/>
          <a:lstStyle>
            <a:lvl1pPr>
              <a:defRPr sz="1800">
                <a:solidFill>
                  <a:srgbClr val="CAD1D2"/>
                </a:solidFill>
              </a:defRPr>
            </a:lvl1pPr>
            <a:lvl2pPr>
              <a:defRPr>
                <a:solidFill>
                  <a:srgbClr val="CAD1D2"/>
                </a:solidFill>
              </a:defRPr>
            </a:lvl2pPr>
            <a:lvl3pPr>
              <a:defRPr>
                <a:solidFill>
                  <a:srgbClr val="CAD1D2"/>
                </a:solidFill>
              </a:defRPr>
            </a:lvl3pPr>
            <a:lvl4pPr>
              <a:buClr>
                <a:schemeClr val="bg1"/>
              </a:buClr>
              <a:defRPr>
                <a:solidFill>
                  <a:srgbClr val="CAD1D2"/>
                </a:solidFill>
              </a:defRPr>
            </a:lvl4pPr>
            <a:lvl5pPr>
              <a:defRPr>
                <a:solidFill>
                  <a:srgbClr val="CAD1D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10">
            <a:extLst>
              <a:ext uri="{FF2B5EF4-FFF2-40B4-BE49-F238E27FC236}">
                <a16:creationId xmlns:a16="http://schemas.microsoft.com/office/drawing/2014/main" id="{276E0B12-C8A6-47ED-AC2C-173E6E8D0380}"/>
              </a:ext>
            </a:extLst>
          </p:cNvPr>
          <p:cNvSpPr>
            <a:spLocks noGrp="1"/>
          </p:cNvSpPr>
          <p:nvPr>
            <p:ph type="body" sz="quarter" idx="46" hasCustomPrompt="1"/>
          </p:nvPr>
        </p:nvSpPr>
        <p:spPr>
          <a:xfrm>
            <a:off x="9731375" y="4727575"/>
            <a:ext cx="1687299" cy="1590928"/>
          </a:xfrm>
          <a:prstGeom prst="rect">
            <a:avLst/>
          </a:prstGeom>
        </p:spPr>
        <p:txBody>
          <a:bodyPr anchor="t"/>
          <a:lstStyle>
            <a:lvl1pPr marL="7701" algn="l" defTabSz="554492" rtl="0" eaLnBrk="1" latinLnBrk="0" hangingPunct="1">
              <a:lnSpc>
                <a:spcPct val="90000"/>
              </a:lnSpc>
              <a:spcBef>
                <a:spcPts val="0"/>
              </a:spcBef>
              <a:spcAft>
                <a:spcPts val="0"/>
              </a:spcAft>
              <a:defRPr lang="en-US" sz="1600" b="0" i="0" kern="0" dirty="0">
                <a:solidFill>
                  <a:srgbClr val="CAD1D2"/>
                </a:solidFill>
                <a:latin typeface="Calibre-Semibold"/>
                <a:ea typeface="+mj-ea"/>
                <a:cs typeface="Calibre-Semibold"/>
              </a:defRPr>
            </a:lvl1pPr>
            <a:lvl2pPr>
              <a:lnSpc>
                <a:spcPct val="90000"/>
              </a:lnSpc>
              <a:spcAft>
                <a:spcPts val="0"/>
              </a:spcAft>
              <a:defRPr sz="1600">
                <a:solidFill>
                  <a:srgbClr val="CAD0D2"/>
                </a:solidFill>
                <a:latin typeface="+mn-lt"/>
              </a:defRPr>
            </a:lvl2pPr>
          </a:lstStyle>
          <a:p>
            <a:pPr lvl="0"/>
            <a:r>
              <a:rPr lang="en-US"/>
              <a:t>Name</a:t>
            </a:r>
          </a:p>
          <a:p>
            <a:pPr lvl="1"/>
            <a:r>
              <a:rPr lang="en-US"/>
              <a:t>Title</a:t>
            </a:r>
          </a:p>
        </p:txBody>
      </p:sp>
      <p:sp>
        <p:nvSpPr>
          <p:cNvPr id="7" name="TextBox 6">
            <a:extLst>
              <a:ext uri="{FF2B5EF4-FFF2-40B4-BE49-F238E27FC236}">
                <a16:creationId xmlns:a16="http://schemas.microsoft.com/office/drawing/2014/main" id="{EB320D00-2ED6-4A6C-A2ED-CAFB5F812F66}"/>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8" name="TextBox 7">
            <a:extLst>
              <a:ext uri="{FF2B5EF4-FFF2-40B4-BE49-F238E27FC236}">
                <a16:creationId xmlns:a16="http://schemas.microsoft.com/office/drawing/2014/main" id="{0C2A81BA-DBC2-4E69-AE9E-2D54F2C02D04}"/>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131440316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Image Quote 2">
    <p:bg>
      <p:bgPr>
        <a:solidFill>
          <a:schemeClr val="tx1"/>
        </a:solidFill>
        <a:effectLst/>
      </p:bgPr>
    </p:bg>
    <p:spTree>
      <p:nvGrpSpPr>
        <p:cNvPr id="1" name=""/>
        <p:cNvGrpSpPr/>
        <p:nvPr/>
      </p:nvGrpSpPr>
      <p:grpSpPr>
        <a:xfrm>
          <a:off x="0" y="0"/>
          <a:ext cx="0" cy="0"/>
          <a:chOff x="0" y="0"/>
          <a:chExt cx="0" cy="0"/>
        </a:xfrm>
      </p:grpSpPr>
      <p:sp>
        <p:nvSpPr>
          <p:cNvPr id="19" name="Picture Placeholder 17">
            <a:extLst>
              <a:ext uri="{FF2B5EF4-FFF2-40B4-BE49-F238E27FC236}">
                <a16:creationId xmlns:a16="http://schemas.microsoft.com/office/drawing/2014/main" id="{0AE1B65D-6907-E54F-BB4B-C41AFAAE8186}"/>
              </a:ext>
            </a:extLst>
          </p:cNvPr>
          <p:cNvSpPr>
            <a:spLocks noGrp="1"/>
          </p:cNvSpPr>
          <p:nvPr>
            <p:ph type="pic" sz="quarter" idx="12"/>
          </p:nvPr>
        </p:nvSpPr>
        <p:spPr>
          <a:xfrm>
            <a:off x="3584575" y="1596706"/>
            <a:ext cx="3997325" cy="4785043"/>
          </a:xfrm>
          <a:prstGeom prst="rect">
            <a:avLst/>
          </a:prstGeom>
          <a:noFill/>
        </p:spPr>
        <p:txBody>
          <a:bodyPr/>
          <a:lstStyle>
            <a:lvl1pPr>
              <a:defRPr>
                <a:solidFill>
                  <a:schemeClr val="bg1"/>
                </a:solidFill>
              </a:defRPr>
            </a:lvl1pPr>
          </a:lstStyle>
          <a:p>
            <a:r>
              <a:rPr lang="en-US"/>
              <a:t>Click icon to add picture</a:t>
            </a:r>
          </a:p>
        </p:txBody>
      </p:sp>
      <p:sp>
        <p:nvSpPr>
          <p:cNvPr id="7" name="Text Placeholder 10">
            <a:extLst>
              <a:ext uri="{FF2B5EF4-FFF2-40B4-BE49-F238E27FC236}">
                <a16:creationId xmlns:a16="http://schemas.microsoft.com/office/drawing/2014/main" id="{10616811-862F-4B2B-8023-56408E854F51}"/>
              </a:ext>
            </a:extLst>
          </p:cNvPr>
          <p:cNvSpPr>
            <a:spLocks noGrp="1"/>
          </p:cNvSpPr>
          <p:nvPr>
            <p:ph type="body" sz="quarter" idx="46" hasCustomPrompt="1"/>
          </p:nvPr>
        </p:nvSpPr>
        <p:spPr>
          <a:xfrm>
            <a:off x="512762" y="435258"/>
            <a:ext cx="1946276" cy="1590928"/>
          </a:xfrm>
          <a:prstGeom prst="rect">
            <a:avLst/>
          </a:prstGeom>
        </p:spPr>
        <p:txBody>
          <a:bodyPr anchor="t"/>
          <a:lstStyle>
            <a:lvl1pPr marL="7701" algn="l" defTabSz="554492" rtl="0" eaLnBrk="1" latinLnBrk="0" hangingPunct="1">
              <a:lnSpc>
                <a:spcPct val="90000"/>
              </a:lnSpc>
              <a:spcBef>
                <a:spcPts val="0"/>
              </a:spcBef>
              <a:spcAft>
                <a:spcPts val="0"/>
              </a:spcAft>
              <a:defRPr lang="en-US" sz="1700" b="0" i="0" kern="0" dirty="0">
                <a:solidFill>
                  <a:srgbClr val="CAD1D2"/>
                </a:solidFill>
                <a:latin typeface="Calibre-Semibold"/>
                <a:ea typeface="+mj-ea"/>
                <a:cs typeface="Calibre-Semibold"/>
              </a:defRPr>
            </a:lvl1pPr>
            <a:lvl2pPr>
              <a:lnSpc>
                <a:spcPct val="90000"/>
              </a:lnSpc>
              <a:spcAft>
                <a:spcPts val="0"/>
              </a:spcAft>
              <a:defRPr sz="1700">
                <a:solidFill>
                  <a:srgbClr val="CAD0D2"/>
                </a:solidFill>
                <a:latin typeface="+mn-lt"/>
              </a:defRPr>
            </a:lvl2pPr>
          </a:lstStyle>
          <a:p>
            <a:pPr lvl="0"/>
            <a:r>
              <a:rPr lang="en-US"/>
              <a:t>Name</a:t>
            </a:r>
          </a:p>
          <a:p>
            <a:pPr lvl="1"/>
            <a:r>
              <a:rPr lang="en-US"/>
              <a:t>Title</a:t>
            </a:r>
          </a:p>
        </p:txBody>
      </p:sp>
      <p:cxnSp>
        <p:nvCxnSpPr>
          <p:cNvPr id="9" name="Straight Connector 8">
            <a:extLst>
              <a:ext uri="{FF2B5EF4-FFF2-40B4-BE49-F238E27FC236}">
                <a16:creationId xmlns:a16="http://schemas.microsoft.com/office/drawing/2014/main" id="{E1DD74FA-C762-48A2-89CD-3EF7EAB9017C}"/>
              </a:ext>
            </a:extLst>
          </p:cNvPr>
          <p:cNvCxnSpPr>
            <a:cxnSpLocks/>
          </p:cNvCxnSpPr>
          <p:nvPr userDrawn="1"/>
        </p:nvCxnSpPr>
        <p:spPr>
          <a:xfrm flipH="1">
            <a:off x="3584575" y="606041"/>
            <a:ext cx="3997325"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1" name="Title 16">
            <a:extLst>
              <a:ext uri="{FF2B5EF4-FFF2-40B4-BE49-F238E27FC236}">
                <a16:creationId xmlns:a16="http://schemas.microsoft.com/office/drawing/2014/main" id="{3FFE17E8-D69A-4AEE-8B9D-1B946AA990F9}"/>
              </a:ext>
            </a:extLst>
          </p:cNvPr>
          <p:cNvSpPr>
            <a:spLocks noGrp="1"/>
          </p:cNvSpPr>
          <p:nvPr>
            <p:ph type="title" hasCustomPrompt="1"/>
          </p:nvPr>
        </p:nvSpPr>
        <p:spPr>
          <a:xfrm>
            <a:off x="8194674" y="338012"/>
            <a:ext cx="3484564" cy="5076711"/>
          </a:xfrm>
        </p:spPr>
        <p:txBody>
          <a:bodyPr tIns="0"/>
          <a:lstStyle>
            <a:lvl1pPr marL="268288" indent="-268288">
              <a:lnSpc>
                <a:spcPct val="88000"/>
              </a:lnSpc>
              <a:defRPr sz="6600">
                <a:solidFill>
                  <a:srgbClr val="CAD1D2"/>
                </a:solidFill>
              </a:defRPr>
            </a:lvl1pPr>
          </a:lstStyle>
          <a:p>
            <a:r>
              <a:rPr lang="en-US"/>
              <a:t>“Click to edit Master title style</a:t>
            </a:r>
            <a:endParaRPr lang="en-GB"/>
          </a:p>
        </p:txBody>
      </p:sp>
      <p:sp>
        <p:nvSpPr>
          <p:cNvPr id="8" name="TextBox 7">
            <a:extLst>
              <a:ext uri="{FF2B5EF4-FFF2-40B4-BE49-F238E27FC236}">
                <a16:creationId xmlns:a16="http://schemas.microsoft.com/office/drawing/2014/main" id="{248A47BC-4AFE-4833-ACB5-0154C03F0E07}"/>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13" name="TextBox 12">
            <a:extLst>
              <a:ext uri="{FF2B5EF4-FFF2-40B4-BE49-F238E27FC236}">
                <a16:creationId xmlns:a16="http://schemas.microsoft.com/office/drawing/2014/main" id="{79F49699-A770-49B7-92AD-617393C26B91}"/>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319287716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Image Quote 3">
    <p:bg>
      <p:bgPr>
        <a:solidFill>
          <a:schemeClr val="tx1"/>
        </a:solidFill>
        <a:effectLst/>
      </p:bgPr>
    </p:bg>
    <p:spTree>
      <p:nvGrpSpPr>
        <p:cNvPr id="1" name=""/>
        <p:cNvGrpSpPr/>
        <p:nvPr/>
      </p:nvGrpSpPr>
      <p:grpSpPr>
        <a:xfrm>
          <a:off x="0" y="0"/>
          <a:ext cx="0" cy="0"/>
          <a:chOff x="0" y="0"/>
          <a:chExt cx="0" cy="0"/>
        </a:xfrm>
      </p:grpSpPr>
      <p:sp>
        <p:nvSpPr>
          <p:cNvPr id="19" name="Picture Placeholder 17">
            <a:extLst>
              <a:ext uri="{FF2B5EF4-FFF2-40B4-BE49-F238E27FC236}">
                <a16:creationId xmlns:a16="http://schemas.microsoft.com/office/drawing/2014/main" id="{0AE1B65D-6907-E54F-BB4B-C41AFAAE8186}"/>
              </a:ext>
            </a:extLst>
          </p:cNvPr>
          <p:cNvSpPr>
            <a:spLocks noGrp="1"/>
          </p:cNvSpPr>
          <p:nvPr>
            <p:ph type="pic" sz="quarter" idx="12"/>
          </p:nvPr>
        </p:nvSpPr>
        <p:spPr>
          <a:xfrm>
            <a:off x="3584575" y="3478212"/>
            <a:ext cx="8094662" cy="2903537"/>
          </a:xfrm>
          <a:prstGeom prst="rect">
            <a:avLst/>
          </a:prstGeom>
          <a:noFill/>
        </p:spPr>
        <p:txBody>
          <a:bodyPr/>
          <a:lstStyle>
            <a:lvl1pPr>
              <a:defRPr>
                <a:solidFill>
                  <a:schemeClr val="bg1"/>
                </a:solidFill>
              </a:defRPr>
            </a:lvl1pPr>
          </a:lstStyle>
          <a:p>
            <a:r>
              <a:rPr lang="en-US"/>
              <a:t>Click icon to add picture</a:t>
            </a:r>
          </a:p>
        </p:txBody>
      </p:sp>
      <p:sp>
        <p:nvSpPr>
          <p:cNvPr id="9" name="Text Placeholder 10">
            <a:extLst>
              <a:ext uri="{FF2B5EF4-FFF2-40B4-BE49-F238E27FC236}">
                <a16:creationId xmlns:a16="http://schemas.microsoft.com/office/drawing/2014/main" id="{276E0B12-C8A6-47ED-AC2C-173E6E8D0380}"/>
              </a:ext>
            </a:extLst>
          </p:cNvPr>
          <p:cNvSpPr>
            <a:spLocks noGrp="1"/>
          </p:cNvSpPr>
          <p:nvPr>
            <p:ph type="body" sz="quarter" idx="46" hasCustomPrompt="1"/>
          </p:nvPr>
        </p:nvSpPr>
        <p:spPr>
          <a:xfrm>
            <a:off x="511175" y="1596707"/>
            <a:ext cx="1936443" cy="528956"/>
          </a:xfrm>
          <a:prstGeom prst="rect">
            <a:avLst/>
          </a:prstGeom>
        </p:spPr>
        <p:txBody>
          <a:bodyPr anchor="t"/>
          <a:lstStyle>
            <a:lvl1pPr marL="7701" algn="l" defTabSz="554492" rtl="0" eaLnBrk="1" latinLnBrk="0" hangingPunct="1">
              <a:lnSpc>
                <a:spcPct val="90000"/>
              </a:lnSpc>
              <a:spcBef>
                <a:spcPts val="0"/>
              </a:spcBef>
              <a:spcAft>
                <a:spcPts val="0"/>
              </a:spcAft>
              <a:defRPr lang="en-US" sz="1600" b="0" i="0" kern="0" dirty="0">
                <a:solidFill>
                  <a:srgbClr val="CAD1D2"/>
                </a:solidFill>
                <a:latin typeface="Calibre-Semibold"/>
                <a:ea typeface="+mj-ea"/>
                <a:cs typeface="Calibre-Semibold"/>
              </a:defRPr>
            </a:lvl1pPr>
            <a:lvl2pPr>
              <a:lnSpc>
                <a:spcPct val="90000"/>
              </a:lnSpc>
              <a:spcAft>
                <a:spcPts val="0"/>
              </a:spcAft>
              <a:defRPr sz="1600">
                <a:solidFill>
                  <a:srgbClr val="CAD0D2"/>
                </a:solidFill>
                <a:latin typeface="+mn-lt"/>
              </a:defRPr>
            </a:lvl2pPr>
          </a:lstStyle>
          <a:p>
            <a:pPr lvl="0"/>
            <a:r>
              <a:rPr lang="en-US"/>
              <a:t>Name</a:t>
            </a:r>
          </a:p>
          <a:p>
            <a:pPr lvl="1"/>
            <a:r>
              <a:rPr lang="en-US"/>
              <a:t>Title</a:t>
            </a:r>
          </a:p>
        </p:txBody>
      </p:sp>
      <p:sp>
        <p:nvSpPr>
          <p:cNvPr id="7" name="Title 6">
            <a:extLst>
              <a:ext uri="{FF2B5EF4-FFF2-40B4-BE49-F238E27FC236}">
                <a16:creationId xmlns:a16="http://schemas.microsoft.com/office/drawing/2014/main" id="{7A709320-8D2C-4D88-9E95-6858D92266C0}"/>
              </a:ext>
            </a:extLst>
          </p:cNvPr>
          <p:cNvSpPr>
            <a:spLocks noGrp="1"/>
          </p:cNvSpPr>
          <p:nvPr>
            <p:ph type="title"/>
          </p:nvPr>
        </p:nvSpPr>
        <p:spPr>
          <a:xfrm>
            <a:off x="3584574" y="352425"/>
            <a:ext cx="8094661" cy="3024188"/>
          </a:xfrm>
        </p:spPr>
        <p:txBody>
          <a:bodyPr/>
          <a:lstStyle>
            <a:lvl1pPr>
              <a:defRPr sz="4800">
                <a:solidFill>
                  <a:srgbClr val="CAD1D2"/>
                </a:solidFill>
              </a:defRPr>
            </a:lvl1pPr>
          </a:lstStyle>
          <a:p>
            <a:r>
              <a:rPr lang="en-US"/>
              <a:t>Click to edit Master title style</a:t>
            </a:r>
            <a:endParaRPr lang="en-GB"/>
          </a:p>
        </p:txBody>
      </p:sp>
      <p:sp>
        <p:nvSpPr>
          <p:cNvPr id="8" name="TextBox 7">
            <a:extLst>
              <a:ext uri="{FF2B5EF4-FFF2-40B4-BE49-F238E27FC236}">
                <a16:creationId xmlns:a16="http://schemas.microsoft.com/office/drawing/2014/main" id="{0A99D6D6-2157-4BE4-A5C3-158FE0F3F650}"/>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10" name="TextBox 9">
            <a:extLst>
              <a:ext uri="{FF2B5EF4-FFF2-40B4-BE49-F238E27FC236}">
                <a16:creationId xmlns:a16="http://schemas.microsoft.com/office/drawing/2014/main" id="{84D951DE-5457-4F9D-993C-32430D8FDF76}"/>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67604007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Text Section Opener 1">
    <p:bg>
      <p:bgPr>
        <a:solidFill>
          <a:srgbClr val="012A2C"/>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7E93DAEA-1371-40B1-AA61-B7A48DAD0DDD}"/>
              </a:ext>
            </a:extLst>
          </p:cNvPr>
          <p:cNvCxnSpPr>
            <a:cxnSpLocks/>
          </p:cNvCxnSpPr>
          <p:nvPr/>
        </p:nvCxnSpPr>
        <p:spPr>
          <a:xfrm flipH="1">
            <a:off x="-4874462" y="3227163"/>
            <a:ext cx="11014187"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EF57CAE-C614-4FB7-8803-8772B9B9089B}"/>
              </a:ext>
            </a:extLst>
          </p:cNvPr>
          <p:cNvSpPr/>
          <p:nvPr userDrawn="1"/>
        </p:nvSpPr>
        <p:spPr>
          <a:xfrm>
            <a:off x="0" y="0"/>
            <a:ext cx="6203950" cy="6858000"/>
          </a:xfrm>
          <a:prstGeom prst="rect">
            <a:avLst/>
          </a:prstGeom>
          <a:solidFill>
            <a:srgbClr val="012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9236352" y="2852738"/>
            <a:ext cx="2466739" cy="726893"/>
          </a:xfrm>
        </p:spPr>
        <p:txBody>
          <a:bodyPr anchor="t"/>
          <a:lstStyle>
            <a:lvl1pPr>
              <a:defRPr sz="3600" b="0">
                <a:solidFill>
                  <a:schemeClr val="bg1">
                    <a:alpha val="80000"/>
                  </a:schemeClr>
                </a:solidFill>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7675C32-E7FA-4FC2-8068-9BCFE3F29195}"/>
              </a:ext>
            </a:extLst>
          </p:cNvPr>
          <p:cNvSpPr>
            <a:spLocks noGrp="1"/>
          </p:cNvSpPr>
          <p:nvPr>
            <p:ph type="body" sz="quarter" idx="10" hasCustomPrompt="1"/>
          </p:nvPr>
        </p:nvSpPr>
        <p:spPr>
          <a:xfrm>
            <a:off x="-292141" y="-1006460"/>
            <a:ext cx="7026275" cy="6857985"/>
          </a:xfrm>
        </p:spPr>
        <p:txBody>
          <a:bodyPr anchor="ctr"/>
          <a:lstStyle>
            <a:lvl1pPr>
              <a:defRPr sz="88000">
                <a:solidFill>
                  <a:schemeClr val="bg1">
                    <a:alpha val="80000"/>
                  </a:schemeClr>
                </a:solidFill>
              </a:defRPr>
            </a:lvl1pPr>
          </a:lstStyle>
          <a:p>
            <a:pPr lvl="0"/>
            <a:r>
              <a:rPr lang="en-US"/>
              <a:t>1</a:t>
            </a:r>
          </a:p>
        </p:txBody>
      </p:sp>
    </p:spTree>
    <p:extLst>
      <p:ext uri="{BB962C8B-B14F-4D97-AF65-F5344CB8AC3E}">
        <p14:creationId xmlns:p14="http://schemas.microsoft.com/office/powerpoint/2010/main" val="3993947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nodeType="withEffect">
                                  <p:stCondLst>
                                    <p:cond delay="0"/>
                                  </p:stCondLst>
                                  <p:childTnLst>
                                    <p:animMotion origin="layout" path="M -2.91667E-6 -1.85185E-6 L 0.21003 -1.85185E-6 " pathEditMode="relative" rAng="0" ptsTypes="AA">
                                      <p:cBhvr>
                                        <p:cTn id="6" dur="2000" fill="hold"/>
                                        <p:tgtEl>
                                          <p:spTgt spid="6"/>
                                        </p:tgtEl>
                                        <p:attrNameLst>
                                          <p:attrName>ppt_x</p:attrName>
                                          <p:attrName>ppt_y</p:attrName>
                                        </p:attrNameLst>
                                      </p:cBhvr>
                                      <p:rCtr x="1049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ext Section Opener 1 Dark">
    <p:bg>
      <p:bgPr>
        <a:solidFill>
          <a:srgbClr val="012A2C"/>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7E93DAEA-1371-40B1-AA61-B7A48DAD0DDD}"/>
              </a:ext>
            </a:extLst>
          </p:cNvPr>
          <p:cNvCxnSpPr>
            <a:cxnSpLocks/>
          </p:cNvCxnSpPr>
          <p:nvPr/>
        </p:nvCxnSpPr>
        <p:spPr>
          <a:xfrm flipH="1">
            <a:off x="-4874462" y="3227163"/>
            <a:ext cx="11014187"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EF57CAE-C614-4FB7-8803-8772B9B9089B}"/>
              </a:ext>
            </a:extLst>
          </p:cNvPr>
          <p:cNvSpPr/>
          <p:nvPr userDrawn="1"/>
        </p:nvSpPr>
        <p:spPr>
          <a:xfrm>
            <a:off x="0" y="0"/>
            <a:ext cx="6203950" cy="6858000"/>
          </a:xfrm>
          <a:prstGeom prst="rect">
            <a:avLst/>
          </a:prstGeom>
          <a:solidFill>
            <a:srgbClr val="012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9236352" y="2852738"/>
            <a:ext cx="2466739" cy="726893"/>
          </a:xfrm>
        </p:spPr>
        <p:txBody>
          <a:bodyPr anchor="t"/>
          <a:lstStyle>
            <a:lvl1pPr>
              <a:defRPr sz="3600" b="0">
                <a:solidFill>
                  <a:schemeClr val="bg1">
                    <a:alpha val="80000"/>
                  </a:schemeClr>
                </a:solidFill>
              </a:defRPr>
            </a:lvl1pPr>
          </a:lstStyle>
          <a:p>
            <a:r>
              <a:rPr lang="en-GB"/>
              <a:t>Click to edit Master title style</a:t>
            </a:r>
          </a:p>
        </p:txBody>
      </p:sp>
      <p:sp>
        <p:nvSpPr>
          <p:cNvPr id="3" name="Text Placeholder 2">
            <a:extLst>
              <a:ext uri="{FF2B5EF4-FFF2-40B4-BE49-F238E27FC236}">
                <a16:creationId xmlns:a16="http://schemas.microsoft.com/office/drawing/2014/main" id="{A7675C32-E7FA-4FC2-8068-9BCFE3F29195}"/>
              </a:ext>
            </a:extLst>
          </p:cNvPr>
          <p:cNvSpPr>
            <a:spLocks noGrp="1"/>
          </p:cNvSpPr>
          <p:nvPr>
            <p:ph type="body" sz="quarter" idx="10" hasCustomPrompt="1"/>
          </p:nvPr>
        </p:nvSpPr>
        <p:spPr>
          <a:xfrm>
            <a:off x="-292141" y="-1006460"/>
            <a:ext cx="7026275" cy="6857985"/>
          </a:xfrm>
        </p:spPr>
        <p:txBody>
          <a:bodyPr anchor="ctr"/>
          <a:lstStyle>
            <a:lvl1pPr>
              <a:defRPr sz="88000">
                <a:solidFill>
                  <a:schemeClr val="bg1">
                    <a:alpha val="80000"/>
                  </a:schemeClr>
                </a:solidFill>
              </a:defRPr>
            </a:lvl1pPr>
          </a:lstStyle>
          <a:p>
            <a:pPr lvl="0"/>
            <a:r>
              <a:rPr lang="en-GB"/>
              <a:t>1</a:t>
            </a:r>
          </a:p>
        </p:txBody>
      </p:sp>
      <p:sp>
        <p:nvSpPr>
          <p:cNvPr id="8" name="Rectangle 7">
            <a:extLst>
              <a:ext uri="{FF2B5EF4-FFF2-40B4-BE49-F238E27FC236}">
                <a16:creationId xmlns:a16="http://schemas.microsoft.com/office/drawing/2014/main" id="{CDAFC796-E0A1-4C43-A4FA-B277A94DD1AA}"/>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91887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nodeType="withEffect">
                                  <p:stCondLst>
                                    <p:cond delay="0"/>
                                  </p:stCondLst>
                                  <p:childTnLst>
                                    <p:animMotion origin="layout" path="M -2.91667E-6 -1.85185E-6 L 0.21003 -1.85185E-6 " pathEditMode="relative" rAng="0" ptsTypes="AA">
                                      <p:cBhvr>
                                        <p:cTn id="6" dur="2000" fill="hold"/>
                                        <p:tgtEl>
                                          <p:spTgt spid="6"/>
                                        </p:tgtEl>
                                        <p:attrNameLst>
                                          <p:attrName>ppt_x</p:attrName>
                                          <p:attrName>ppt_y</p:attrName>
                                        </p:attrNameLst>
                                      </p:cBhvr>
                                      <p:rCtr x="1049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Text Section Opener 2">
    <p:bg>
      <p:bgPr>
        <a:solidFill>
          <a:srgbClr val="012A2C"/>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8A9ECD61-ED7B-49FC-8FEC-E9337C05843A}"/>
              </a:ext>
            </a:extLst>
          </p:cNvPr>
          <p:cNvCxnSpPr/>
          <p:nvPr/>
        </p:nvCxnSpPr>
        <p:spPr>
          <a:xfrm flipH="1">
            <a:off x="5604413" y="3192463"/>
            <a:ext cx="1435100"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E9617AF-0744-4180-BB4B-3FEB62C97441}"/>
              </a:ext>
            </a:extLst>
          </p:cNvPr>
          <p:cNvSpPr/>
          <p:nvPr userDrawn="1"/>
        </p:nvSpPr>
        <p:spPr>
          <a:xfrm>
            <a:off x="0" y="0"/>
            <a:ext cx="7170738" cy="6858000"/>
          </a:xfrm>
          <a:prstGeom prst="rect">
            <a:avLst/>
          </a:prstGeom>
          <a:solidFill>
            <a:srgbClr val="012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9236353" y="2852738"/>
            <a:ext cx="2442886" cy="1773237"/>
          </a:xfrm>
        </p:spPr>
        <p:txBody>
          <a:bodyPr anchor="t"/>
          <a:lstStyle>
            <a:lvl1pPr>
              <a:defRPr sz="3600" b="0">
                <a:solidFill>
                  <a:schemeClr val="bg1">
                    <a:alpha val="80000"/>
                  </a:schemeClr>
                </a:solidFill>
              </a:defRPr>
            </a:lvl1pPr>
          </a:lstStyle>
          <a:p>
            <a:r>
              <a:rPr lang="en-US"/>
              <a:t>Click to edit Master title style</a:t>
            </a:r>
            <a:endParaRPr lang="en-GB"/>
          </a:p>
        </p:txBody>
      </p:sp>
      <p:sp>
        <p:nvSpPr>
          <p:cNvPr id="7" name="Text Placeholder 2">
            <a:extLst>
              <a:ext uri="{FF2B5EF4-FFF2-40B4-BE49-F238E27FC236}">
                <a16:creationId xmlns:a16="http://schemas.microsoft.com/office/drawing/2014/main" id="{3CEE43AE-91A9-4FCE-B4E7-BF4A26C91C1F}"/>
              </a:ext>
            </a:extLst>
          </p:cNvPr>
          <p:cNvSpPr>
            <a:spLocks noGrp="1"/>
          </p:cNvSpPr>
          <p:nvPr>
            <p:ph type="body" sz="quarter" idx="10" hasCustomPrompt="1"/>
          </p:nvPr>
        </p:nvSpPr>
        <p:spPr>
          <a:xfrm>
            <a:off x="3515775" y="1262068"/>
            <a:ext cx="2121438" cy="3465507"/>
          </a:xfrm>
        </p:spPr>
        <p:txBody>
          <a:bodyPr anchor="b"/>
          <a:lstStyle>
            <a:lvl1pPr>
              <a:defRPr sz="28000">
                <a:solidFill>
                  <a:schemeClr val="bg1">
                    <a:alpha val="80000"/>
                  </a:schemeClr>
                </a:solidFill>
              </a:defRPr>
            </a:lvl1pPr>
          </a:lstStyle>
          <a:p>
            <a:pPr lvl="0"/>
            <a:r>
              <a:rPr lang="en-US"/>
              <a:t>2</a:t>
            </a:r>
          </a:p>
        </p:txBody>
      </p:sp>
      <p:sp>
        <p:nvSpPr>
          <p:cNvPr id="5" name="Text Placeholder 4">
            <a:extLst>
              <a:ext uri="{FF2B5EF4-FFF2-40B4-BE49-F238E27FC236}">
                <a16:creationId xmlns:a16="http://schemas.microsoft.com/office/drawing/2014/main" id="{59E5ACF3-95EE-4BB1-BD8C-4DCB6A668DBD}"/>
              </a:ext>
            </a:extLst>
          </p:cNvPr>
          <p:cNvSpPr>
            <a:spLocks noGrp="1"/>
          </p:cNvSpPr>
          <p:nvPr>
            <p:ph type="body" sz="quarter" idx="11" hasCustomPrompt="1"/>
          </p:nvPr>
        </p:nvSpPr>
        <p:spPr>
          <a:xfrm rot="16200000">
            <a:off x="-296069" y="3018631"/>
            <a:ext cx="1773237" cy="190500"/>
          </a:xfrm>
        </p:spPr>
        <p:txBody>
          <a:bodyPr/>
          <a:lstStyle>
            <a:lvl1pPr algn="ctr">
              <a:defRPr sz="1050" b="1">
                <a:solidFill>
                  <a:srgbClr val="17E891"/>
                </a:solidFill>
                <a:latin typeface="Space Mono" panose="02000509040000020004" pitchFamily="49" charset="0"/>
              </a:defRPr>
            </a:lvl1pPr>
          </a:lstStyle>
          <a:p>
            <a:pPr lvl="0"/>
            <a:r>
              <a:rPr lang="en-US"/>
              <a:t>27 March 2021</a:t>
            </a:r>
            <a:endParaRPr lang="en-GB"/>
          </a:p>
        </p:txBody>
      </p:sp>
    </p:spTree>
    <p:extLst>
      <p:ext uri="{BB962C8B-B14F-4D97-AF65-F5344CB8AC3E}">
        <p14:creationId xmlns:p14="http://schemas.microsoft.com/office/powerpoint/2010/main" val="962077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nodeType="afterEffect">
                                  <p:stCondLst>
                                    <p:cond delay="0"/>
                                  </p:stCondLst>
                                  <p:childTnLst>
                                    <p:animMotion origin="layout" path="M 4.16667E-7 7.40741E-7 L 0.12825 7.40741E-7 " pathEditMode="relative" rAng="0" ptsTypes="AA">
                                      <p:cBhvr>
                                        <p:cTn id="6" dur="2000" fill="hold"/>
                                        <p:tgtEl>
                                          <p:spTgt spid="12"/>
                                        </p:tgtEl>
                                        <p:attrNameLst>
                                          <p:attrName>ppt_x</p:attrName>
                                          <p:attrName>ppt_y</p:attrName>
                                        </p:attrNameLst>
                                      </p:cBhvr>
                                      <p:rCtr x="640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Text Section Opener 3">
    <p:bg>
      <p:bgPr>
        <a:solidFill>
          <a:srgbClr val="012A2C"/>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8A9ECD61-ED7B-49FC-8FEC-E9337C05843A}"/>
              </a:ext>
            </a:extLst>
          </p:cNvPr>
          <p:cNvCxnSpPr>
            <a:cxnSpLocks/>
          </p:cNvCxnSpPr>
          <p:nvPr/>
        </p:nvCxnSpPr>
        <p:spPr>
          <a:xfrm flipH="1">
            <a:off x="0" y="857250"/>
            <a:ext cx="10142539"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E9617AF-0744-4180-BB4B-3FEB62C97441}"/>
              </a:ext>
            </a:extLst>
          </p:cNvPr>
          <p:cNvSpPr/>
          <p:nvPr/>
        </p:nvSpPr>
        <p:spPr>
          <a:xfrm>
            <a:off x="0" y="0"/>
            <a:ext cx="3584575" cy="6858000"/>
          </a:xfrm>
          <a:prstGeom prst="rect">
            <a:avLst/>
          </a:prstGeom>
          <a:solidFill>
            <a:srgbClr val="012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511175" y="476250"/>
            <a:ext cx="2971800" cy="1844675"/>
          </a:xfrm>
        </p:spPr>
        <p:txBody>
          <a:bodyPr anchor="t"/>
          <a:lstStyle>
            <a:lvl1pPr>
              <a:defRPr sz="3600" b="0">
                <a:solidFill>
                  <a:schemeClr val="bg1">
                    <a:alpha val="80000"/>
                  </a:schemeClr>
                </a:solidFill>
              </a:defRPr>
            </a:lvl1pPr>
          </a:lstStyle>
          <a:p>
            <a:r>
              <a:rPr lang="en-US"/>
              <a:t>Click to edit Master title style</a:t>
            </a:r>
            <a:endParaRPr lang="en-GB"/>
          </a:p>
        </p:txBody>
      </p:sp>
      <p:sp>
        <p:nvSpPr>
          <p:cNvPr id="7" name="Text Placeholder 2">
            <a:extLst>
              <a:ext uri="{FF2B5EF4-FFF2-40B4-BE49-F238E27FC236}">
                <a16:creationId xmlns:a16="http://schemas.microsoft.com/office/drawing/2014/main" id="{3CEE43AE-91A9-4FCE-B4E7-BF4A26C91C1F}"/>
              </a:ext>
            </a:extLst>
          </p:cNvPr>
          <p:cNvSpPr>
            <a:spLocks noGrp="1"/>
          </p:cNvSpPr>
          <p:nvPr>
            <p:ph type="body" sz="quarter" idx="10" hasCustomPrompt="1"/>
          </p:nvPr>
        </p:nvSpPr>
        <p:spPr>
          <a:xfrm>
            <a:off x="10244138" y="352424"/>
            <a:ext cx="1436687" cy="1147763"/>
          </a:xfrm>
        </p:spPr>
        <p:txBody>
          <a:bodyPr anchor="b"/>
          <a:lstStyle>
            <a:lvl1pPr algn="r">
              <a:defRPr sz="9600">
                <a:solidFill>
                  <a:schemeClr val="bg1">
                    <a:alpha val="80000"/>
                  </a:schemeClr>
                </a:solidFill>
              </a:defRPr>
            </a:lvl1pPr>
          </a:lstStyle>
          <a:p>
            <a:pPr lvl="0"/>
            <a:r>
              <a:rPr lang="en-US"/>
              <a:t>3</a:t>
            </a:r>
          </a:p>
        </p:txBody>
      </p:sp>
    </p:spTree>
    <p:extLst>
      <p:ext uri="{BB962C8B-B14F-4D97-AF65-F5344CB8AC3E}">
        <p14:creationId xmlns:p14="http://schemas.microsoft.com/office/powerpoint/2010/main" val="2695605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000" fill="hold"/>
                                        <p:tgtEl>
                                          <p:spTgt spid="12"/>
                                        </p:tgtEl>
                                        <p:attrNameLst>
                                          <p:attrName>ppt_x</p:attrName>
                                        </p:attrNameLst>
                                      </p:cBhvr>
                                      <p:tavLst>
                                        <p:tav tm="0">
                                          <p:val>
                                            <p:strVal val="0-#ppt_w/2"/>
                                          </p:val>
                                        </p:tav>
                                        <p:tav tm="100000">
                                          <p:val>
                                            <p:strVal val="#ppt_x"/>
                                          </p:val>
                                        </p:tav>
                                      </p:tavLst>
                                    </p:anim>
                                    <p:anim calcmode="lin" valueType="num">
                                      <p:cBhvr additive="base">
                                        <p:cTn id="8" dur="2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Text Quote 1">
    <p:bg>
      <p:bgPr>
        <a:solidFill>
          <a:schemeClr val="tx1"/>
        </a:solidFill>
        <a:effectLst/>
      </p:bgPr>
    </p:bg>
    <p:spTree>
      <p:nvGrpSpPr>
        <p:cNvPr id="1" name=""/>
        <p:cNvGrpSpPr/>
        <p:nvPr/>
      </p:nvGrpSpPr>
      <p:grpSpPr>
        <a:xfrm>
          <a:off x="0" y="0"/>
          <a:ext cx="0" cy="0"/>
          <a:chOff x="0" y="0"/>
          <a:chExt cx="0" cy="0"/>
        </a:xfrm>
      </p:grpSpPr>
      <p:sp>
        <p:nvSpPr>
          <p:cNvPr id="19" name="Text Placeholder 10">
            <a:extLst>
              <a:ext uri="{FF2B5EF4-FFF2-40B4-BE49-F238E27FC236}">
                <a16:creationId xmlns:a16="http://schemas.microsoft.com/office/drawing/2014/main" id="{86713B7F-2214-EC45-B16D-691521DFD097}"/>
              </a:ext>
            </a:extLst>
          </p:cNvPr>
          <p:cNvSpPr>
            <a:spLocks noGrp="1"/>
          </p:cNvSpPr>
          <p:nvPr>
            <p:ph type="body" sz="quarter" idx="15"/>
          </p:nvPr>
        </p:nvSpPr>
        <p:spPr>
          <a:xfrm>
            <a:off x="2047875" y="5978525"/>
            <a:ext cx="3484563" cy="377825"/>
          </a:xfrm>
          <a:prstGeom prst="rect">
            <a:avLst/>
          </a:prstGeom>
        </p:spPr>
        <p:txBody>
          <a:bodyPr anchor="b"/>
          <a:lstStyle>
            <a:lvl1pPr marL="7701" algn="l" defTabSz="554492" rtl="0" eaLnBrk="1" latinLnBrk="0" hangingPunct="1">
              <a:lnSpc>
                <a:spcPct val="100000"/>
              </a:lnSpc>
              <a:spcBef>
                <a:spcPts val="61"/>
              </a:spcBef>
              <a:defRPr lang="en-US" sz="1698" b="1" i="0" kern="0" dirty="0">
                <a:solidFill>
                  <a:srgbClr val="CAD1D2"/>
                </a:solidFill>
                <a:latin typeface="Calibre-Semibold"/>
                <a:ea typeface="+mj-ea"/>
                <a:cs typeface="Calibre-Semibold"/>
              </a:defRPr>
            </a:lvl1pPr>
          </a:lstStyle>
          <a:p>
            <a:pPr lvl="0"/>
            <a:r>
              <a:rPr lang="en-US"/>
              <a:t>Click to edit Master text styles</a:t>
            </a:r>
          </a:p>
        </p:txBody>
      </p:sp>
      <p:sp>
        <p:nvSpPr>
          <p:cNvPr id="17" name="Title 16">
            <a:extLst>
              <a:ext uri="{FF2B5EF4-FFF2-40B4-BE49-F238E27FC236}">
                <a16:creationId xmlns:a16="http://schemas.microsoft.com/office/drawing/2014/main" id="{84F3302C-956C-4D92-A7AC-A2576257DE4C}"/>
              </a:ext>
            </a:extLst>
          </p:cNvPr>
          <p:cNvSpPr>
            <a:spLocks noGrp="1"/>
          </p:cNvSpPr>
          <p:nvPr>
            <p:ph type="title"/>
          </p:nvPr>
        </p:nvSpPr>
        <p:spPr>
          <a:xfrm>
            <a:off x="2048404" y="501650"/>
            <a:ext cx="8094134" cy="5375275"/>
          </a:xfrm>
        </p:spPr>
        <p:txBody>
          <a:bodyPr tIns="0" anchor="ctr"/>
          <a:lstStyle>
            <a:lvl1pPr>
              <a:defRPr sz="7600">
                <a:solidFill>
                  <a:srgbClr val="CAD1D2"/>
                </a:solidFill>
              </a:defRPr>
            </a:lvl1pPr>
          </a:lstStyle>
          <a:p>
            <a:r>
              <a:rPr lang="en-US"/>
              <a:t>Click to edit Master title style</a:t>
            </a:r>
            <a:endParaRPr lang="en-GB"/>
          </a:p>
        </p:txBody>
      </p:sp>
      <p:sp>
        <p:nvSpPr>
          <p:cNvPr id="18" name="object 6">
            <a:extLst>
              <a:ext uri="{FF2B5EF4-FFF2-40B4-BE49-F238E27FC236}">
                <a16:creationId xmlns:a16="http://schemas.microsoft.com/office/drawing/2014/main" id="{400F07D7-1A14-41D3-9B69-71D33B4E8ABC}"/>
              </a:ext>
            </a:extLst>
          </p:cNvPr>
          <p:cNvSpPr/>
          <p:nvPr/>
        </p:nvSpPr>
        <p:spPr>
          <a:xfrm>
            <a:off x="10756900" y="2665823"/>
            <a:ext cx="922338" cy="710790"/>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13" name="object 6">
            <a:extLst>
              <a:ext uri="{FF2B5EF4-FFF2-40B4-BE49-F238E27FC236}">
                <a16:creationId xmlns:a16="http://schemas.microsoft.com/office/drawing/2014/main" id="{FB813681-E3D6-4A56-B77D-11D49DBDAAD1}"/>
              </a:ext>
            </a:extLst>
          </p:cNvPr>
          <p:cNvSpPr/>
          <p:nvPr/>
        </p:nvSpPr>
        <p:spPr>
          <a:xfrm flipH="1" flipV="1">
            <a:off x="504470" y="2665823"/>
            <a:ext cx="922338" cy="710790"/>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8" name="object 6">
            <a:extLst>
              <a:ext uri="{FF2B5EF4-FFF2-40B4-BE49-F238E27FC236}">
                <a16:creationId xmlns:a16="http://schemas.microsoft.com/office/drawing/2014/main" id="{EF7AD529-2E17-459A-A518-F7E536FD6E90}"/>
              </a:ext>
            </a:extLst>
          </p:cNvPr>
          <p:cNvSpPr/>
          <p:nvPr/>
        </p:nvSpPr>
        <p:spPr>
          <a:xfrm>
            <a:off x="10756900" y="2665823"/>
            <a:ext cx="922338" cy="710790"/>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9" name="object 6">
            <a:extLst>
              <a:ext uri="{FF2B5EF4-FFF2-40B4-BE49-F238E27FC236}">
                <a16:creationId xmlns:a16="http://schemas.microsoft.com/office/drawing/2014/main" id="{A836EC68-B0EA-42E5-A306-7FCE97C078A6}"/>
              </a:ext>
            </a:extLst>
          </p:cNvPr>
          <p:cNvSpPr/>
          <p:nvPr/>
        </p:nvSpPr>
        <p:spPr>
          <a:xfrm flipH="1" flipV="1">
            <a:off x="504470" y="2665823"/>
            <a:ext cx="922338" cy="710790"/>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10" name="object 6">
            <a:extLst>
              <a:ext uri="{FF2B5EF4-FFF2-40B4-BE49-F238E27FC236}">
                <a16:creationId xmlns:a16="http://schemas.microsoft.com/office/drawing/2014/main" id="{F836AC56-5990-4120-816A-004A5973D11E}"/>
              </a:ext>
            </a:extLst>
          </p:cNvPr>
          <p:cNvSpPr/>
          <p:nvPr userDrawn="1"/>
        </p:nvSpPr>
        <p:spPr>
          <a:xfrm>
            <a:off x="10756900" y="2665823"/>
            <a:ext cx="922338" cy="710790"/>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11" name="object 6">
            <a:extLst>
              <a:ext uri="{FF2B5EF4-FFF2-40B4-BE49-F238E27FC236}">
                <a16:creationId xmlns:a16="http://schemas.microsoft.com/office/drawing/2014/main" id="{511A8604-858C-4A12-ADE8-6705A09610F4}"/>
              </a:ext>
            </a:extLst>
          </p:cNvPr>
          <p:cNvSpPr/>
          <p:nvPr userDrawn="1"/>
        </p:nvSpPr>
        <p:spPr>
          <a:xfrm flipH="1" flipV="1">
            <a:off x="504470" y="2665823"/>
            <a:ext cx="922338" cy="710790"/>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14" name="TextBox 13">
            <a:extLst>
              <a:ext uri="{FF2B5EF4-FFF2-40B4-BE49-F238E27FC236}">
                <a16:creationId xmlns:a16="http://schemas.microsoft.com/office/drawing/2014/main" id="{35D231BF-12DF-4AA6-8A1D-225A3C833697}"/>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
        <p:nvSpPr>
          <p:cNvPr id="12" name="TextBox 11">
            <a:extLst>
              <a:ext uri="{FF2B5EF4-FFF2-40B4-BE49-F238E27FC236}">
                <a16:creationId xmlns:a16="http://schemas.microsoft.com/office/drawing/2014/main" id="{E78127E9-DB37-431B-B7CA-4D1DA013E6F9}"/>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Tree>
    <p:extLst>
      <p:ext uri="{BB962C8B-B14F-4D97-AF65-F5344CB8AC3E}">
        <p14:creationId xmlns:p14="http://schemas.microsoft.com/office/powerpoint/2010/main" val="2214015428"/>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Text Quote 2">
    <p:bg>
      <p:bgPr>
        <a:solidFill>
          <a:schemeClr val="tx1"/>
        </a:solidFill>
        <a:effectLst/>
      </p:bgPr>
    </p:bg>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75403291-4461-41FB-9C05-5D224A319BFE}"/>
              </a:ext>
            </a:extLst>
          </p:cNvPr>
          <p:cNvSpPr>
            <a:spLocks noGrp="1"/>
          </p:cNvSpPr>
          <p:nvPr>
            <p:ph type="body" sz="quarter" idx="46"/>
          </p:nvPr>
        </p:nvSpPr>
        <p:spPr>
          <a:xfrm>
            <a:off x="504470" y="1556659"/>
            <a:ext cx="1687299" cy="243656"/>
          </a:xfrm>
          <a:prstGeom prst="rect">
            <a:avLst/>
          </a:prstGeom>
        </p:spPr>
        <p:txBody>
          <a:bodyPr anchor="b"/>
          <a:lstStyle>
            <a:lvl1pPr marL="7701" algn="l" defTabSz="554492" rtl="0" eaLnBrk="1" latinLnBrk="0" hangingPunct="1">
              <a:lnSpc>
                <a:spcPct val="100000"/>
              </a:lnSpc>
              <a:spcBef>
                <a:spcPts val="61"/>
              </a:spcBef>
              <a:defRPr lang="en-US" sz="1698" b="1" i="0" kern="0" dirty="0">
                <a:solidFill>
                  <a:srgbClr val="CAD1D2"/>
                </a:solidFill>
                <a:latin typeface="Calibre-Semibold"/>
                <a:ea typeface="+mj-ea"/>
                <a:cs typeface="Calibre-Semibold"/>
              </a:defRPr>
            </a:lvl1pPr>
          </a:lstStyle>
          <a:p>
            <a:pPr lvl="0"/>
            <a:r>
              <a:rPr lang="en-US"/>
              <a:t>Click to edit Master text styles</a:t>
            </a:r>
          </a:p>
        </p:txBody>
      </p:sp>
      <p:sp>
        <p:nvSpPr>
          <p:cNvPr id="9" name="Text Placeholder 10">
            <a:extLst>
              <a:ext uri="{FF2B5EF4-FFF2-40B4-BE49-F238E27FC236}">
                <a16:creationId xmlns:a16="http://schemas.microsoft.com/office/drawing/2014/main" id="{F20A762D-6EE7-4EA9-A463-536C42903C04}"/>
              </a:ext>
            </a:extLst>
          </p:cNvPr>
          <p:cNvSpPr>
            <a:spLocks noGrp="1"/>
          </p:cNvSpPr>
          <p:nvPr>
            <p:ph type="body" sz="quarter" idx="16"/>
          </p:nvPr>
        </p:nvSpPr>
        <p:spPr>
          <a:xfrm>
            <a:off x="504470" y="1811550"/>
            <a:ext cx="1687299" cy="243656"/>
          </a:xfrm>
          <a:prstGeom prst="rect">
            <a:avLst/>
          </a:prstGeom>
        </p:spPr>
        <p:txBody>
          <a:bodyPr tIns="0"/>
          <a:lstStyle>
            <a:lvl1pPr marL="7701" algn="l" defTabSz="554492" rtl="0" eaLnBrk="1" latinLnBrk="0" hangingPunct="1">
              <a:lnSpc>
                <a:spcPts val="1868"/>
              </a:lnSpc>
              <a:defRPr lang="en-US" sz="1698" b="0" i="0" kern="0" dirty="0">
                <a:solidFill>
                  <a:srgbClr val="CAD1D2"/>
                </a:solidFill>
                <a:latin typeface="Calibre"/>
                <a:ea typeface="+mj-ea"/>
                <a:cs typeface="Calibre"/>
              </a:defRPr>
            </a:lvl1pPr>
          </a:lstStyle>
          <a:p>
            <a:pPr lvl="0"/>
            <a:r>
              <a:rPr lang="en-US"/>
              <a:t>Click to edit Master text styles</a:t>
            </a:r>
          </a:p>
        </p:txBody>
      </p:sp>
      <p:sp>
        <p:nvSpPr>
          <p:cNvPr id="10" name="Title 16">
            <a:extLst>
              <a:ext uri="{FF2B5EF4-FFF2-40B4-BE49-F238E27FC236}">
                <a16:creationId xmlns:a16="http://schemas.microsoft.com/office/drawing/2014/main" id="{9FAFE378-6B41-4CCA-BF34-5E1D9ACE1F13}"/>
              </a:ext>
            </a:extLst>
          </p:cNvPr>
          <p:cNvSpPr>
            <a:spLocks noGrp="1"/>
          </p:cNvSpPr>
          <p:nvPr>
            <p:ph type="title"/>
          </p:nvPr>
        </p:nvSpPr>
        <p:spPr>
          <a:xfrm>
            <a:off x="4097866" y="1318057"/>
            <a:ext cx="6557434" cy="4034991"/>
          </a:xfrm>
        </p:spPr>
        <p:txBody>
          <a:bodyPr tIns="0"/>
          <a:lstStyle>
            <a:lvl1pPr>
              <a:defRPr sz="7600">
                <a:solidFill>
                  <a:srgbClr val="CAD1D2"/>
                </a:solidFill>
              </a:defRPr>
            </a:lvl1pPr>
          </a:lstStyle>
          <a:p>
            <a:r>
              <a:rPr lang="en-US"/>
              <a:t>Click to edit Master title style</a:t>
            </a:r>
            <a:endParaRPr lang="en-GB"/>
          </a:p>
        </p:txBody>
      </p:sp>
      <p:sp>
        <p:nvSpPr>
          <p:cNvPr id="11" name="object 5">
            <a:extLst>
              <a:ext uri="{FF2B5EF4-FFF2-40B4-BE49-F238E27FC236}">
                <a16:creationId xmlns:a16="http://schemas.microsoft.com/office/drawing/2014/main" id="{97210360-8890-433C-8FF3-ECAA5E750598}"/>
              </a:ext>
            </a:extLst>
          </p:cNvPr>
          <p:cNvSpPr/>
          <p:nvPr/>
        </p:nvSpPr>
        <p:spPr>
          <a:xfrm>
            <a:off x="4097866" y="353034"/>
            <a:ext cx="688544" cy="530619"/>
          </a:xfrm>
          <a:custGeom>
            <a:avLst/>
            <a:gdLst/>
            <a:ahLst/>
            <a:cxnLst/>
            <a:rect l="l" t="t" r="r" b="b"/>
            <a:pathLst>
              <a:path w="1135379" h="875030">
                <a:moveTo>
                  <a:pt x="524141" y="0"/>
                </a:moveTo>
                <a:lnTo>
                  <a:pt x="472457" y="9795"/>
                </a:lnTo>
                <a:lnTo>
                  <a:pt x="422881" y="23169"/>
                </a:lnTo>
                <a:lnTo>
                  <a:pt x="375516" y="39929"/>
                </a:lnTo>
                <a:lnTo>
                  <a:pt x="330465" y="59885"/>
                </a:lnTo>
                <a:lnTo>
                  <a:pt x="287828" y="82844"/>
                </a:lnTo>
                <a:lnTo>
                  <a:pt x="247710" y="108616"/>
                </a:lnTo>
                <a:lnTo>
                  <a:pt x="210212" y="137008"/>
                </a:lnTo>
                <a:lnTo>
                  <a:pt x="175437" y="167828"/>
                </a:lnTo>
                <a:lnTo>
                  <a:pt x="143487" y="200886"/>
                </a:lnTo>
                <a:lnTo>
                  <a:pt x="114466" y="235989"/>
                </a:lnTo>
                <a:lnTo>
                  <a:pt x="88475" y="272946"/>
                </a:lnTo>
                <a:lnTo>
                  <a:pt x="65617" y="311566"/>
                </a:lnTo>
                <a:lnTo>
                  <a:pt x="45994" y="351656"/>
                </a:lnTo>
                <a:lnTo>
                  <a:pt x="29709" y="393025"/>
                </a:lnTo>
                <a:lnTo>
                  <a:pt x="16865" y="435481"/>
                </a:lnTo>
                <a:lnTo>
                  <a:pt x="7564" y="478833"/>
                </a:lnTo>
                <a:lnTo>
                  <a:pt x="1908" y="522890"/>
                </a:lnTo>
                <a:lnTo>
                  <a:pt x="0" y="567459"/>
                </a:lnTo>
                <a:lnTo>
                  <a:pt x="3300" y="626598"/>
                </a:lnTo>
                <a:lnTo>
                  <a:pt x="12891" y="679290"/>
                </a:lnTo>
                <a:lnTo>
                  <a:pt x="28303" y="725589"/>
                </a:lnTo>
                <a:lnTo>
                  <a:pt x="49069" y="765546"/>
                </a:lnTo>
                <a:lnTo>
                  <a:pt x="74721" y="799213"/>
                </a:lnTo>
                <a:lnTo>
                  <a:pt x="104791" y="826642"/>
                </a:lnTo>
                <a:lnTo>
                  <a:pt x="138812" y="847886"/>
                </a:lnTo>
                <a:lnTo>
                  <a:pt x="176315" y="862995"/>
                </a:lnTo>
                <a:lnTo>
                  <a:pt x="216833" y="872022"/>
                </a:lnTo>
                <a:lnTo>
                  <a:pt x="259897" y="875020"/>
                </a:lnTo>
                <a:lnTo>
                  <a:pt x="303157" y="870485"/>
                </a:lnTo>
                <a:lnTo>
                  <a:pt x="344437" y="857422"/>
                </a:lnTo>
                <a:lnTo>
                  <a:pt x="382569" y="836643"/>
                </a:lnTo>
                <a:lnTo>
                  <a:pt x="416387" y="808960"/>
                </a:lnTo>
                <a:lnTo>
                  <a:pt x="444723" y="775186"/>
                </a:lnTo>
                <a:lnTo>
                  <a:pt x="466408" y="736132"/>
                </a:lnTo>
                <a:lnTo>
                  <a:pt x="480276" y="692611"/>
                </a:lnTo>
                <a:lnTo>
                  <a:pt x="485158" y="645435"/>
                </a:lnTo>
                <a:lnTo>
                  <a:pt x="480774" y="597136"/>
                </a:lnTo>
                <a:lnTo>
                  <a:pt x="468280" y="553776"/>
                </a:lnTo>
                <a:lnTo>
                  <a:pt x="448665" y="515613"/>
                </a:lnTo>
                <a:lnTo>
                  <a:pt x="422917" y="482907"/>
                </a:lnTo>
                <a:lnTo>
                  <a:pt x="392022" y="455920"/>
                </a:lnTo>
                <a:lnTo>
                  <a:pt x="356968" y="434911"/>
                </a:lnTo>
                <a:lnTo>
                  <a:pt x="318744" y="420139"/>
                </a:lnTo>
                <a:lnTo>
                  <a:pt x="194926" y="415851"/>
                </a:lnTo>
                <a:lnTo>
                  <a:pt x="197334" y="383862"/>
                </a:lnTo>
                <a:lnTo>
                  <a:pt x="217420" y="314477"/>
                </a:lnTo>
                <a:lnTo>
                  <a:pt x="235645" y="278563"/>
                </a:lnTo>
                <a:lnTo>
                  <a:pt x="259690" y="242826"/>
                </a:lnTo>
                <a:lnTo>
                  <a:pt x="289826" y="208006"/>
                </a:lnTo>
                <a:lnTo>
                  <a:pt x="326329" y="174845"/>
                </a:lnTo>
                <a:lnTo>
                  <a:pt x="369472" y="144087"/>
                </a:lnTo>
                <a:lnTo>
                  <a:pt x="419527" y="116472"/>
                </a:lnTo>
                <a:lnTo>
                  <a:pt x="476769" y="92743"/>
                </a:lnTo>
                <a:lnTo>
                  <a:pt x="541470" y="73641"/>
                </a:lnTo>
                <a:lnTo>
                  <a:pt x="524141" y="0"/>
                </a:lnTo>
                <a:close/>
              </a:path>
              <a:path w="1135379" h="875030">
                <a:moveTo>
                  <a:pt x="236735" y="410349"/>
                </a:moveTo>
                <a:lnTo>
                  <a:pt x="194926" y="415851"/>
                </a:lnTo>
                <a:lnTo>
                  <a:pt x="297801" y="415851"/>
                </a:lnTo>
                <a:lnTo>
                  <a:pt x="278337" y="411865"/>
                </a:lnTo>
                <a:lnTo>
                  <a:pt x="236735" y="410349"/>
                </a:lnTo>
                <a:close/>
              </a:path>
              <a:path w="1135379" h="875030">
                <a:moveTo>
                  <a:pt x="1117589" y="0"/>
                </a:moveTo>
                <a:lnTo>
                  <a:pt x="1065905" y="9795"/>
                </a:lnTo>
                <a:lnTo>
                  <a:pt x="1016329" y="23169"/>
                </a:lnTo>
                <a:lnTo>
                  <a:pt x="968964" y="39929"/>
                </a:lnTo>
                <a:lnTo>
                  <a:pt x="923912" y="59885"/>
                </a:lnTo>
                <a:lnTo>
                  <a:pt x="881276" y="82844"/>
                </a:lnTo>
                <a:lnTo>
                  <a:pt x="841158" y="108616"/>
                </a:lnTo>
                <a:lnTo>
                  <a:pt x="803660" y="137008"/>
                </a:lnTo>
                <a:lnTo>
                  <a:pt x="768885" y="167828"/>
                </a:lnTo>
                <a:lnTo>
                  <a:pt x="736935" y="200886"/>
                </a:lnTo>
                <a:lnTo>
                  <a:pt x="707914" y="235989"/>
                </a:lnTo>
                <a:lnTo>
                  <a:pt x="681923" y="272946"/>
                </a:lnTo>
                <a:lnTo>
                  <a:pt x="659065" y="311566"/>
                </a:lnTo>
                <a:lnTo>
                  <a:pt x="639442" y="351656"/>
                </a:lnTo>
                <a:lnTo>
                  <a:pt x="623157" y="393025"/>
                </a:lnTo>
                <a:lnTo>
                  <a:pt x="610313" y="435481"/>
                </a:lnTo>
                <a:lnTo>
                  <a:pt x="601012" y="478833"/>
                </a:lnTo>
                <a:lnTo>
                  <a:pt x="595356" y="522890"/>
                </a:lnTo>
                <a:lnTo>
                  <a:pt x="593447" y="567459"/>
                </a:lnTo>
                <a:lnTo>
                  <a:pt x="596748" y="626598"/>
                </a:lnTo>
                <a:lnTo>
                  <a:pt x="606339" y="679290"/>
                </a:lnTo>
                <a:lnTo>
                  <a:pt x="621751" y="725589"/>
                </a:lnTo>
                <a:lnTo>
                  <a:pt x="642517" y="765546"/>
                </a:lnTo>
                <a:lnTo>
                  <a:pt x="668170" y="799213"/>
                </a:lnTo>
                <a:lnTo>
                  <a:pt x="698242" y="826642"/>
                </a:lnTo>
                <a:lnTo>
                  <a:pt x="732264" y="847886"/>
                </a:lnTo>
                <a:lnTo>
                  <a:pt x="769768" y="862995"/>
                </a:lnTo>
                <a:lnTo>
                  <a:pt x="810288" y="872022"/>
                </a:lnTo>
                <a:lnTo>
                  <a:pt x="853356" y="875020"/>
                </a:lnTo>
                <a:lnTo>
                  <a:pt x="896612" y="870485"/>
                </a:lnTo>
                <a:lnTo>
                  <a:pt x="937889" y="857422"/>
                </a:lnTo>
                <a:lnTo>
                  <a:pt x="976020" y="836643"/>
                </a:lnTo>
                <a:lnTo>
                  <a:pt x="1009837" y="808960"/>
                </a:lnTo>
                <a:lnTo>
                  <a:pt x="1038171" y="775186"/>
                </a:lnTo>
                <a:lnTo>
                  <a:pt x="1059856" y="736132"/>
                </a:lnTo>
                <a:lnTo>
                  <a:pt x="1073723" y="692611"/>
                </a:lnTo>
                <a:lnTo>
                  <a:pt x="1078605" y="645435"/>
                </a:lnTo>
                <a:lnTo>
                  <a:pt x="1074221" y="597136"/>
                </a:lnTo>
                <a:lnTo>
                  <a:pt x="1061728" y="553776"/>
                </a:lnTo>
                <a:lnTo>
                  <a:pt x="1042113" y="515613"/>
                </a:lnTo>
                <a:lnTo>
                  <a:pt x="1016364" y="482907"/>
                </a:lnTo>
                <a:lnTo>
                  <a:pt x="985469" y="455920"/>
                </a:lnTo>
                <a:lnTo>
                  <a:pt x="950416" y="434911"/>
                </a:lnTo>
                <a:lnTo>
                  <a:pt x="912192" y="420139"/>
                </a:lnTo>
                <a:lnTo>
                  <a:pt x="788373" y="415851"/>
                </a:lnTo>
                <a:lnTo>
                  <a:pt x="790782" y="383862"/>
                </a:lnTo>
                <a:lnTo>
                  <a:pt x="810870" y="314477"/>
                </a:lnTo>
                <a:lnTo>
                  <a:pt x="829096" y="278563"/>
                </a:lnTo>
                <a:lnTo>
                  <a:pt x="853141" y="242826"/>
                </a:lnTo>
                <a:lnTo>
                  <a:pt x="883279" y="208006"/>
                </a:lnTo>
                <a:lnTo>
                  <a:pt x="919782" y="174845"/>
                </a:lnTo>
                <a:lnTo>
                  <a:pt x="962924" y="144087"/>
                </a:lnTo>
                <a:lnTo>
                  <a:pt x="1012979" y="116472"/>
                </a:lnTo>
                <a:lnTo>
                  <a:pt x="1070219" y="92743"/>
                </a:lnTo>
                <a:lnTo>
                  <a:pt x="1134918" y="73641"/>
                </a:lnTo>
                <a:lnTo>
                  <a:pt x="1117589" y="0"/>
                </a:lnTo>
                <a:close/>
              </a:path>
              <a:path w="1135379" h="875030">
                <a:moveTo>
                  <a:pt x="830183" y="410349"/>
                </a:moveTo>
                <a:lnTo>
                  <a:pt x="788373" y="415851"/>
                </a:lnTo>
                <a:lnTo>
                  <a:pt x="891249" y="415851"/>
                </a:lnTo>
                <a:lnTo>
                  <a:pt x="871785" y="411865"/>
                </a:lnTo>
                <a:lnTo>
                  <a:pt x="830183" y="410349"/>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12" name="object 6">
            <a:extLst>
              <a:ext uri="{FF2B5EF4-FFF2-40B4-BE49-F238E27FC236}">
                <a16:creationId xmlns:a16="http://schemas.microsoft.com/office/drawing/2014/main" id="{3C16FB0A-AADC-4070-860E-B892F9BFD1EB}"/>
              </a:ext>
            </a:extLst>
          </p:cNvPr>
          <p:cNvSpPr/>
          <p:nvPr/>
        </p:nvSpPr>
        <p:spPr>
          <a:xfrm>
            <a:off x="4097866" y="5841801"/>
            <a:ext cx="688544" cy="530619"/>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13" name="object 5">
            <a:extLst>
              <a:ext uri="{FF2B5EF4-FFF2-40B4-BE49-F238E27FC236}">
                <a16:creationId xmlns:a16="http://schemas.microsoft.com/office/drawing/2014/main" id="{F822F6BA-3ECD-4DBB-96AE-CFB381B39735}"/>
              </a:ext>
            </a:extLst>
          </p:cNvPr>
          <p:cNvSpPr/>
          <p:nvPr/>
        </p:nvSpPr>
        <p:spPr>
          <a:xfrm>
            <a:off x="4097866" y="353034"/>
            <a:ext cx="688544" cy="530619"/>
          </a:xfrm>
          <a:custGeom>
            <a:avLst/>
            <a:gdLst/>
            <a:ahLst/>
            <a:cxnLst/>
            <a:rect l="l" t="t" r="r" b="b"/>
            <a:pathLst>
              <a:path w="1135379" h="875030">
                <a:moveTo>
                  <a:pt x="524141" y="0"/>
                </a:moveTo>
                <a:lnTo>
                  <a:pt x="472457" y="9795"/>
                </a:lnTo>
                <a:lnTo>
                  <a:pt x="422881" y="23169"/>
                </a:lnTo>
                <a:lnTo>
                  <a:pt x="375516" y="39929"/>
                </a:lnTo>
                <a:lnTo>
                  <a:pt x="330465" y="59885"/>
                </a:lnTo>
                <a:lnTo>
                  <a:pt x="287828" y="82844"/>
                </a:lnTo>
                <a:lnTo>
                  <a:pt x="247710" y="108616"/>
                </a:lnTo>
                <a:lnTo>
                  <a:pt x="210212" y="137008"/>
                </a:lnTo>
                <a:lnTo>
                  <a:pt x="175437" y="167828"/>
                </a:lnTo>
                <a:lnTo>
                  <a:pt x="143487" y="200886"/>
                </a:lnTo>
                <a:lnTo>
                  <a:pt x="114466" y="235989"/>
                </a:lnTo>
                <a:lnTo>
                  <a:pt x="88475" y="272946"/>
                </a:lnTo>
                <a:lnTo>
                  <a:pt x="65617" y="311566"/>
                </a:lnTo>
                <a:lnTo>
                  <a:pt x="45994" y="351656"/>
                </a:lnTo>
                <a:lnTo>
                  <a:pt x="29709" y="393025"/>
                </a:lnTo>
                <a:lnTo>
                  <a:pt x="16865" y="435481"/>
                </a:lnTo>
                <a:lnTo>
                  <a:pt x="7564" y="478833"/>
                </a:lnTo>
                <a:lnTo>
                  <a:pt x="1908" y="522890"/>
                </a:lnTo>
                <a:lnTo>
                  <a:pt x="0" y="567459"/>
                </a:lnTo>
                <a:lnTo>
                  <a:pt x="3300" y="626598"/>
                </a:lnTo>
                <a:lnTo>
                  <a:pt x="12891" y="679290"/>
                </a:lnTo>
                <a:lnTo>
                  <a:pt x="28303" y="725589"/>
                </a:lnTo>
                <a:lnTo>
                  <a:pt x="49069" y="765546"/>
                </a:lnTo>
                <a:lnTo>
                  <a:pt x="74721" y="799213"/>
                </a:lnTo>
                <a:lnTo>
                  <a:pt x="104791" y="826642"/>
                </a:lnTo>
                <a:lnTo>
                  <a:pt x="138812" y="847886"/>
                </a:lnTo>
                <a:lnTo>
                  <a:pt x="176315" y="862995"/>
                </a:lnTo>
                <a:lnTo>
                  <a:pt x="216833" y="872022"/>
                </a:lnTo>
                <a:lnTo>
                  <a:pt x="259897" y="875020"/>
                </a:lnTo>
                <a:lnTo>
                  <a:pt x="303157" y="870485"/>
                </a:lnTo>
                <a:lnTo>
                  <a:pt x="344437" y="857422"/>
                </a:lnTo>
                <a:lnTo>
                  <a:pt x="382569" y="836643"/>
                </a:lnTo>
                <a:lnTo>
                  <a:pt x="416387" y="808960"/>
                </a:lnTo>
                <a:lnTo>
                  <a:pt x="444723" y="775186"/>
                </a:lnTo>
                <a:lnTo>
                  <a:pt x="466408" y="736132"/>
                </a:lnTo>
                <a:lnTo>
                  <a:pt x="480276" y="692611"/>
                </a:lnTo>
                <a:lnTo>
                  <a:pt x="485158" y="645435"/>
                </a:lnTo>
                <a:lnTo>
                  <a:pt x="480774" y="597136"/>
                </a:lnTo>
                <a:lnTo>
                  <a:pt x="468280" y="553776"/>
                </a:lnTo>
                <a:lnTo>
                  <a:pt x="448665" y="515613"/>
                </a:lnTo>
                <a:lnTo>
                  <a:pt x="422917" y="482907"/>
                </a:lnTo>
                <a:lnTo>
                  <a:pt x="392022" y="455920"/>
                </a:lnTo>
                <a:lnTo>
                  <a:pt x="356968" y="434911"/>
                </a:lnTo>
                <a:lnTo>
                  <a:pt x="318744" y="420139"/>
                </a:lnTo>
                <a:lnTo>
                  <a:pt x="194926" y="415851"/>
                </a:lnTo>
                <a:lnTo>
                  <a:pt x="197334" y="383862"/>
                </a:lnTo>
                <a:lnTo>
                  <a:pt x="217420" y="314477"/>
                </a:lnTo>
                <a:lnTo>
                  <a:pt x="235645" y="278563"/>
                </a:lnTo>
                <a:lnTo>
                  <a:pt x="259690" y="242826"/>
                </a:lnTo>
                <a:lnTo>
                  <a:pt x="289826" y="208006"/>
                </a:lnTo>
                <a:lnTo>
                  <a:pt x="326329" y="174845"/>
                </a:lnTo>
                <a:lnTo>
                  <a:pt x="369472" y="144087"/>
                </a:lnTo>
                <a:lnTo>
                  <a:pt x="419527" y="116472"/>
                </a:lnTo>
                <a:lnTo>
                  <a:pt x="476769" y="92743"/>
                </a:lnTo>
                <a:lnTo>
                  <a:pt x="541470" y="73641"/>
                </a:lnTo>
                <a:lnTo>
                  <a:pt x="524141" y="0"/>
                </a:lnTo>
                <a:close/>
              </a:path>
              <a:path w="1135379" h="875030">
                <a:moveTo>
                  <a:pt x="236735" y="410349"/>
                </a:moveTo>
                <a:lnTo>
                  <a:pt x="194926" y="415851"/>
                </a:lnTo>
                <a:lnTo>
                  <a:pt x="297801" y="415851"/>
                </a:lnTo>
                <a:lnTo>
                  <a:pt x="278337" y="411865"/>
                </a:lnTo>
                <a:lnTo>
                  <a:pt x="236735" y="410349"/>
                </a:lnTo>
                <a:close/>
              </a:path>
              <a:path w="1135379" h="875030">
                <a:moveTo>
                  <a:pt x="1117589" y="0"/>
                </a:moveTo>
                <a:lnTo>
                  <a:pt x="1065905" y="9795"/>
                </a:lnTo>
                <a:lnTo>
                  <a:pt x="1016329" y="23169"/>
                </a:lnTo>
                <a:lnTo>
                  <a:pt x="968964" y="39929"/>
                </a:lnTo>
                <a:lnTo>
                  <a:pt x="923912" y="59885"/>
                </a:lnTo>
                <a:lnTo>
                  <a:pt x="881276" y="82844"/>
                </a:lnTo>
                <a:lnTo>
                  <a:pt x="841158" y="108616"/>
                </a:lnTo>
                <a:lnTo>
                  <a:pt x="803660" y="137008"/>
                </a:lnTo>
                <a:lnTo>
                  <a:pt x="768885" y="167828"/>
                </a:lnTo>
                <a:lnTo>
                  <a:pt x="736935" y="200886"/>
                </a:lnTo>
                <a:lnTo>
                  <a:pt x="707914" y="235989"/>
                </a:lnTo>
                <a:lnTo>
                  <a:pt x="681923" y="272946"/>
                </a:lnTo>
                <a:lnTo>
                  <a:pt x="659065" y="311566"/>
                </a:lnTo>
                <a:lnTo>
                  <a:pt x="639442" y="351656"/>
                </a:lnTo>
                <a:lnTo>
                  <a:pt x="623157" y="393025"/>
                </a:lnTo>
                <a:lnTo>
                  <a:pt x="610313" y="435481"/>
                </a:lnTo>
                <a:lnTo>
                  <a:pt x="601012" y="478833"/>
                </a:lnTo>
                <a:lnTo>
                  <a:pt x="595356" y="522890"/>
                </a:lnTo>
                <a:lnTo>
                  <a:pt x="593447" y="567459"/>
                </a:lnTo>
                <a:lnTo>
                  <a:pt x="596748" y="626598"/>
                </a:lnTo>
                <a:lnTo>
                  <a:pt x="606339" y="679290"/>
                </a:lnTo>
                <a:lnTo>
                  <a:pt x="621751" y="725589"/>
                </a:lnTo>
                <a:lnTo>
                  <a:pt x="642517" y="765546"/>
                </a:lnTo>
                <a:lnTo>
                  <a:pt x="668170" y="799213"/>
                </a:lnTo>
                <a:lnTo>
                  <a:pt x="698242" y="826642"/>
                </a:lnTo>
                <a:lnTo>
                  <a:pt x="732264" y="847886"/>
                </a:lnTo>
                <a:lnTo>
                  <a:pt x="769768" y="862995"/>
                </a:lnTo>
                <a:lnTo>
                  <a:pt x="810288" y="872022"/>
                </a:lnTo>
                <a:lnTo>
                  <a:pt x="853356" y="875020"/>
                </a:lnTo>
                <a:lnTo>
                  <a:pt x="896612" y="870485"/>
                </a:lnTo>
                <a:lnTo>
                  <a:pt x="937889" y="857422"/>
                </a:lnTo>
                <a:lnTo>
                  <a:pt x="976020" y="836643"/>
                </a:lnTo>
                <a:lnTo>
                  <a:pt x="1009837" y="808960"/>
                </a:lnTo>
                <a:lnTo>
                  <a:pt x="1038171" y="775186"/>
                </a:lnTo>
                <a:lnTo>
                  <a:pt x="1059856" y="736132"/>
                </a:lnTo>
                <a:lnTo>
                  <a:pt x="1073723" y="692611"/>
                </a:lnTo>
                <a:lnTo>
                  <a:pt x="1078605" y="645435"/>
                </a:lnTo>
                <a:lnTo>
                  <a:pt x="1074221" y="597136"/>
                </a:lnTo>
                <a:lnTo>
                  <a:pt x="1061728" y="553776"/>
                </a:lnTo>
                <a:lnTo>
                  <a:pt x="1042113" y="515613"/>
                </a:lnTo>
                <a:lnTo>
                  <a:pt x="1016364" y="482907"/>
                </a:lnTo>
                <a:lnTo>
                  <a:pt x="985469" y="455920"/>
                </a:lnTo>
                <a:lnTo>
                  <a:pt x="950416" y="434911"/>
                </a:lnTo>
                <a:lnTo>
                  <a:pt x="912192" y="420139"/>
                </a:lnTo>
                <a:lnTo>
                  <a:pt x="788373" y="415851"/>
                </a:lnTo>
                <a:lnTo>
                  <a:pt x="790782" y="383862"/>
                </a:lnTo>
                <a:lnTo>
                  <a:pt x="810870" y="314477"/>
                </a:lnTo>
                <a:lnTo>
                  <a:pt x="829096" y="278563"/>
                </a:lnTo>
                <a:lnTo>
                  <a:pt x="853141" y="242826"/>
                </a:lnTo>
                <a:lnTo>
                  <a:pt x="883279" y="208006"/>
                </a:lnTo>
                <a:lnTo>
                  <a:pt x="919782" y="174845"/>
                </a:lnTo>
                <a:lnTo>
                  <a:pt x="962924" y="144087"/>
                </a:lnTo>
                <a:lnTo>
                  <a:pt x="1012979" y="116472"/>
                </a:lnTo>
                <a:lnTo>
                  <a:pt x="1070219" y="92743"/>
                </a:lnTo>
                <a:lnTo>
                  <a:pt x="1134918" y="73641"/>
                </a:lnTo>
                <a:lnTo>
                  <a:pt x="1117589" y="0"/>
                </a:lnTo>
                <a:close/>
              </a:path>
              <a:path w="1135379" h="875030">
                <a:moveTo>
                  <a:pt x="830183" y="410349"/>
                </a:moveTo>
                <a:lnTo>
                  <a:pt x="788373" y="415851"/>
                </a:lnTo>
                <a:lnTo>
                  <a:pt x="891249" y="415851"/>
                </a:lnTo>
                <a:lnTo>
                  <a:pt x="871785" y="411865"/>
                </a:lnTo>
                <a:lnTo>
                  <a:pt x="830183" y="410349"/>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14" name="object 6">
            <a:extLst>
              <a:ext uri="{FF2B5EF4-FFF2-40B4-BE49-F238E27FC236}">
                <a16:creationId xmlns:a16="http://schemas.microsoft.com/office/drawing/2014/main" id="{BCDAC6FA-E21F-4684-92B1-1285AC3FB563}"/>
              </a:ext>
            </a:extLst>
          </p:cNvPr>
          <p:cNvSpPr/>
          <p:nvPr/>
        </p:nvSpPr>
        <p:spPr>
          <a:xfrm>
            <a:off x="4097866" y="5841801"/>
            <a:ext cx="688544" cy="530619"/>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15" name="object 5">
            <a:extLst>
              <a:ext uri="{FF2B5EF4-FFF2-40B4-BE49-F238E27FC236}">
                <a16:creationId xmlns:a16="http://schemas.microsoft.com/office/drawing/2014/main" id="{5A62EA47-4DEF-479A-A3A8-169D9E51A5D5}"/>
              </a:ext>
            </a:extLst>
          </p:cNvPr>
          <p:cNvSpPr/>
          <p:nvPr userDrawn="1"/>
        </p:nvSpPr>
        <p:spPr>
          <a:xfrm>
            <a:off x="4097866" y="353034"/>
            <a:ext cx="688544" cy="530619"/>
          </a:xfrm>
          <a:custGeom>
            <a:avLst/>
            <a:gdLst/>
            <a:ahLst/>
            <a:cxnLst/>
            <a:rect l="l" t="t" r="r" b="b"/>
            <a:pathLst>
              <a:path w="1135379" h="875030">
                <a:moveTo>
                  <a:pt x="524141" y="0"/>
                </a:moveTo>
                <a:lnTo>
                  <a:pt x="472457" y="9795"/>
                </a:lnTo>
                <a:lnTo>
                  <a:pt x="422881" y="23169"/>
                </a:lnTo>
                <a:lnTo>
                  <a:pt x="375516" y="39929"/>
                </a:lnTo>
                <a:lnTo>
                  <a:pt x="330465" y="59885"/>
                </a:lnTo>
                <a:lnTo>
                  <a:pt x="287828" y="82844"/>
                </a:lnTo>
                <a:lnTo>
                  <a:pt x="247710" y="108616"/>
                </a:lnTo>
                <a:lnTo>
                  <a:pt x="210212" y="137008"/>
                </a:lnTo>
                <a:lnTo>
                  <a:pt x="175437" y="167828"/>
                </a:lnTo>
                <a:lnTo>
                  <a:pt x="143487" y="200886"/>
                </a:lnTo>
                <a:lnTo>
                  <a:pt x="114466" y="235989"/>
                </a:lnTo>
                <a:lnTo>
                  <a:pt x="88475" y="272946"/>
                </a:lnTo>
                <a:lnTo>
                  <a:pt x="65617" y="311566"/>
                </a:lnTo>
                <a:lnTo>
                  <a:pt x="45994" y="351656"/>
                </a:lnTo>
                <a:lnTo>
                  <a:pt x="29709" y="393025"/>
                </a:lnTo>
                <a:lnTo>
                  <a:pt x="16865" y="435481"/>
                </a:lnTo>
                <a:lnTo>
                  <a:pt x="7564" y="478833"/>
                </a:lnTo>
                <a:lnTo>
                  <a:pt x="1908" y="522890"/>
                </a:lnTo>
                <a:lnTo>
                  <a:pt x="0" y="567459"/>
                </a:lnTo>
                <a:lnTo>
                  <a:pt x="3300" y="626598"/>
                </a:lnTo>
                <a:lnTo>
                  <a:pt x="12891" y="679290"/>
                </a:lnTo>
                <a:lnTo>
                  <a:pt x="28303" y="725589"/>
                </a:lnTo>
                <a:lnTo>
                  <a:pt x="49069" y="765546"/>
                </a:lnTo>
                <a:lnTo>
                  <a:pt x="74721" y="799213"/>
                </a:lnTo>
                <a:lnTo>
                  <a:pt x="104791" y="826642"/>
                </a:lnTo>
                <a:lnTo>
                  <a:pt x="138812" y="847886"/>
                </a:lnTo>
                <a:lnTo>
                  <a:pt x="176315" y="862995"/>
                </a:lnTo>
                <a:lnTo>
                  <a:pt x="216833" y="872022"/>
                </a:lnTo>
                <a:lnTo>
                  <a:pt x="259897" y="875020"/>
                </a:lnTo>
                <a:lnTo>
                  <a:pt x="303157" y="870485"/>
                </a:lnTo>
                <a:lnTo>
                  <a:pt x="344437" y="857422"/>
                </a:lnTo>
                <a:lnTo>
                  <a:pt x="382569" y="836643"/>
                </a:lnTo>
                <a:lnTo>
                  <a:pt x="416387" y="808960"/>
                </a:lnTo>
                <a:lnTo>
                  <a:pt x="444723" y="775186"/>
                </a:lnTo>
                <a:lnTo>
                  <a:pt x="466408" y="736132"/>
                </a:lnTo>
                <a:lnTo>
                  <a:pt x="480276" y="692611"/>
                </a:lnTo>
                <a:lnTo>
                  <a:pt x="485158" y="645435"/>
                </a:lnTo>
                <a:lnTo>
                  <a:pt x="480774" y="597136"/>
                </a:lnTo>
                <a:lnTo>
                  <a:pt x="468280" y="553776"/>
                </a:lnTo>
                <a:lnTo>
                  <a:pt x="448665" y="515613"/>
                </a:lnTo>
                <a:lnTo>
                  <a:pt x="422917" y="482907"/>
                </a:lnTo>
                <a:lnTo>
                  <a:pt x="392022" y="455920"/>
                </a:lnTo>
                <a:lnTo>
                  <a:pt x="356968" y="434911"/>
                </a:lnTo>
                <a:lnTo>
                  <a:pt x="318744" y="420139"/>
                </a:lnTo>
                <a:lnTo>
                  <a:pt x="194926" y="415851"/>
                </a:lnTo>
                <a:lnTo>
                  <a:pt x="197334" y="383862"/>
                </a:lnTo>
                <a:lnTo>
                  <a:pt x="217420" y="314477"/>
                </a:lnTo>
                <a:lnTo>
                  <a:pt x="235645" y="278563"/>
                </a:lnTo>
                <a:lnTo>
                  <a:pt x="259690" y="242826"/>
                </a:lnTo>
                <a:lnTo>
                  <a:pt x="289826" y="208006"/>
                </a:lnTo>
                <a:lnTo>
                  <a:pt x="326329" y="174845"/>
                </a:lnTo>
                <a:lnTo>
                  <a:pt x="369472" y="144087"/>
                </a:lnTo>
                <a:lnTo>
                  <a:pt x="419527" y="116472"/>
                </a:lnTo>
                <a:lnTo>
                  <a:pt x="476769" y="92743"/>
                </a:lnTo>
                <a:lnTo>
                  <a:pt x="541470" y="73641"/>
                </a:lnTo>
                <a:lnTo>
                  <a:pt x="524141" y="0"/>
                </a:lnTo>
                <a:close/>
              </a:path>
              <a:path w="1135379" h="875030">
                <a:moveTo>
                  <a:pt x="236735" y="410349"/>
                </a:moveTo>
                <a:lnTo>
                  <a:pt x="194926" y="415851"/>
                </a:lnTo>
                <a:lnTo>
                  <a:pt x="297801" y="415851"/>
                </a:lnTo>
                <a:lnTo>
                  <a:pt x="278337" y="411865"/>
                </a:lnTo>
                <a:lnTo>
                  <a:pt x="236735" y="410349"/>
                </a:lnTo>
                <a:close/>
              </a:path>
              <a:path w="1135379" h="875030">
                <a:moveTo>
                  <a:pt x="1117589" y="0"/>
                </a:moveTo>
                <a:lnTo>
                  <a:pt x="1065905" y="9795"/>
                </a:lnTo>
                <a:lnTo>
                  <a:pt x="1016329" y="23169"/>
                </a:lnTo>
                <a:lnTo>
                  <a:pt x="968964" y="39929"/>
                </a:lnTo>
                <a:lnTo>
                  <a:pt x="923912" y="59885"/>
                </a:lnTo>
                <a:lnTo>
                  <a:pt x="881276" y="82844"/>
                </a:lnTo>
                <a:lnTo>
                  <a:pt x="841158" y="108616"/>
                </a:lnTo>
                <a:lnTo>
                  <a:pt x="803660" y="137008"/>
                </a:lnTo>
                <a:lnTo>
                  <a:pt x="768885" y="167828"/>
                </a:lnTo>
                <a:lnTo>
                  <a:pt x="736935" y="200886"/>
                </a:lnTo>
                <a:lnTo>
                  <a:pt x="707914" y="235989"/>
                </a:lnTo>
                <a:lnTo>
                  <a:pt x="681923" y="272946"/>
                </a:lnTo>
                <a:lnTo>
                  <a:pt x="659065" y="311566"/>
                </a:lnTo>
                <a:lnTo>
                  <a:pt x="639442" y="351656"/>
                </a:lnTo>
                <a:lnTo>
                  <a:pt x="623157" y="393025"/>
                </a:lnTo>
                <a:lnTo>
                  <a:pt x="610313" y="435481"/>
                </a:lnTo>
                <a:lnTo>
                  <a:pt x="601012" y="478833"/>
                </a:lnTo>
                <a:lnTo>
                  <a:pt x="595356" y="522890"/>
                </a:lnTo>
                <a:lnTo>
                  <a:pt x="593447" y="567459"/>
                </a:lnTo>
                <a:lnTo>
                  <a:pt x="596748" y="626598"/>
                </a:lnTo>
                <a:lnTo>
                  <a:pt x="606339" y="679290"/>
                </a:lnTo>
                <a:lnTo>
                  <a:pt x="621751" y="725589"/>
                </a:lnTo>
                <a:lnTo>
                  <a:pt x="642517" y="765546"/>
                </a:lnTo>
                <a:lnTo>
                  <a:pt x="668170" y="799213"/>
                </a:lnTo>
                <a:lnTo>
                  <a:pt x="698242" y="826642"/>
                </a:lnTo>
                <a:lnTo>
                  <a:pt x="732264" y="847886"/>
                </a:lnTo>
                <a:lnTo>
                  <a:pt x="769768" y="862995"/>
                </a:lnTo>
                <a:lnTo>
                  <a:pt x="810288" y="872022"/>
                </a:lnTo>
                <a:lnTo>
                  <a:pt x="853356" y="875020"/>
                </a:lnTo>
                <a:lnTo>
                  <a:pt x="896612" y="870485"/>
                </a:lnTo>
                <a:lnTo>
                  <a:pt x="937889" y="857422"/>
                </a:lnTo>
                <a:lnTo>
                  <a:pt x="976020" y="836643"/>
                </a:lnTo>
                <a:lnTo>
                  <a:pt x="1009837" y="808960"/>
                </a:lnTo>
                <a:lnTo>
                  <a:pt x="1038171" y="775186"/>
                </a:lnTo>
                <a:lnTo>
                  <a:pt x="1059856" y="736132"/>
                </a:lnTo>
                <a:lnTo>
                  <a:pt x="1073723" y="692611"/>
                </a:lnTo>
                <a:lnTo>
                  <a:pt x="1078605" y="645435"/>
                </a:lnTo>
                <a:lnTo>
                  <a:pt x="1074221" y="597136"/>
                </a:lnTo>
                <a:lnTo>
                  <a:pt x="1061728" y="553776"/>
                </a:lnTo>
                <a:lnTo>
                  <a:pt x="1042113" y="515613"/>
                </a:lnTo>
                <a:lnTo>
                  <a:pt x="1016364" y="482907"/>
                </a:lnTo>
                <a:lnTo>
                  <a:pt x="985469" y="455920"/>
                </a:lnTo>
                <a:lnTo>
                  <a:pt x="950416" y="434911"/>
                </a:lnTo>
                <a:lnTo>
                  <a:pt x="912192" y="420139"/>
                </a:lnTo>
                <a:lnTo>
                  <a:pt x="788373" y="415851"/>
                </a:lnTo>
                <a:lnTo>
                  <a:pt x="790782" y="383862"/>
                </a:lnTo>
                <a:lnTo>
                  <a:pt x="810870" y="314477"/>
                </a:lnTo>
                <a:lnTo>
                  <a:pt x="829096" y="278563"/>
                </a:lnTo>
                <a:lnTo>
                  <a:pt x="853141" y="242826"/>
                </a:lnTo>
                <a:lnTo>
                  <a:pt x="883279" y="208006"/>
                </a:lnTo>
                <a:lnTo>
                  <a:pt x="919782" y="174845"/>
                </a:lnTo>
                <a:lnTo>
                  <a:pt x="962924" y="144087"/>
                </a:lnTo>
                <a:lnTo>
                  <a:pt x="1012979" y="116472"/>
                </a:lnTo>
                <a:lnTo>
                  <a:pt x="1070219" y="92743"/>
                </a:lnTo>
                <a:lnTo>
                  <a:pt x="1134918" y="73641"/>
                </a:lnTo>
                <a:lnTo>
                  <a:pt x="1117589" y="0"/>
                </a:lnTo>
                <a:close/>
              </a:path>
              <a:path w="1135379" h="875030">
                <a:moveTo>
                  <a:pt x="830183" y="410349"/>
                </a:moveTo>
                <a:lnTo>
                  <a:pt x="788373" y="415851"/>
                </a:lnTo>
                <a:lnTo>
                  <a:pt x="891249" y="415851"/>
                </a:lnTo>
                <a:lnTo>
                  <a:pt x="871785" y="411865"/>
                </a:lnTo>
                <a:lnTo>
                  <a:pt x="830183" y="410349"/>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16" name="object 6">
            <a:extLst>
              <a:ext uri="{FF2B5EF4-FFF2-40B4-BE49-F238E27FC236}">
                <a16:creationId xmlns:a16="http://schemas.microsoft.com/office/drawing/2014/main" id="{2EE4021F-121A-42F5-828C-465C31C24F69}"/>
              </a:ext>
            </a:extLst>
          </p:cNvPr>
          <p:cNvSpPr/>
          <p:nvPr userDrawn="1"/>
        </p:nvSpPr>
        <p:spPr>
          <a:xfrm>
            <a:off x="4097866" y="5841801"/>
            <a:ext cx="688544" cy="530619"/>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0D2"/>
          </a:solidFill>
        </p:spPr>
        <p:txBody>
          <a:bodyPr wrap="square" lIns="0" tIns="0" rIns="0" bIns="0" rtlCol="0"/>
          <a:lstStyle/>
          <a:p>
            <a:endParaRPr sz="1092" b="0" i="0">
              <a:solidFill>
                <a:srgbClr val="CAD0D2"/>
              </a:solidFill>
              <a:latin typeface="Calibre" panose="020B0503030202060203" pitchFamily="34" charset="77"/>
            </a:endParaRPr>
          </a:p>
        </p:txBody>
      </p:sp>
      <p:sp>
        <p:nvSpPr>
          <p:cNvPr id="17" name="TextBox 16">
            <a:extLst>
              <a:ext uri="{FF2B5EF4-FFF2-40B4-BE49-F238E27FC236}">
                <a16:creationId xmlns:a16="http://schemas.microsoft.com/office/drawing/2014/main" id="{A6AD595E-9438-4AA7-AE3E-7A280FAB771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18" name="TextBox 17">
            <a:extLst>
              <a:ext uri="{FF2B5EF4-FFF2-40B4-BE49-F238E27FC236}">
                <a16:creationId xmlns:a16="http://schemas.microsoft.com/office/drawing/2014/main" id="{176FE298-427E-4552-BF1F-AEEAA2F48BA5}"/>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3435108319"/>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Text Quote 3">
    <p:bg>
      <p:bgPr>
        <a:solidFill>
          <a:schemeClr val="tx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536700" y="3092809"/>
            <a:ext cx="9118600" cy="637097"/>
          </a:xfrm>
          <a:prstGeom prst="rect">
            <a:avLst/>
          </a:prstGeom>
        </p:spPr>
        <p:txBody>
          <a:bodyPr wrap="square" lIns="0" tIns="0" rIns="0" bIns="0" anchor="b">
            <a:spAutoFit/>
          </a:bodyPr>
          <a:lstStyle>
            <a:lvl1pPr algn="ctr">
              <a:lnSpc>
                <a:spcPct val="90000"/>
              </a:lnSpc>
              <a:defRPr sz="4600" b="0" i="0">
                <a:solidFill>
                  <a:srgbClr val="CAD1D2"/>
                </a:solidFill>
                <a:latin typeface="Financier Display"/>
                <a:cs typeface="Financier Display"/>
              </a:defRPr>
            </a:lvl1pPr>
          </a:lstStyle>
          <a:p>
            <a:r>
              <a:rPr lang="en-US"/>
              <a:t>Click to edit Master title style</a:t>
            </a:r>
            <a:endParaRPr/>
          </a:p>
        </p:txBody>
      </p:sp>
      <p:sp>
        <p:nvSpPr>
          <p:cNvPr id="10" name="object 4">
            <a:extLst>
              <a:ext uri="{FF2B5EF4-FFF2-40B4-BE49-F238E27FC236}">
                <a16:creationId xmlns:a16="http://schemas.microsoft.com/office/drawing/2014/main" id="{65E0CC9D-7F14-9E4A-BD76-8D1481C1CCD9}"/>
              </a:ext>
            </a:extLst>
          </p:cNvPr>
          <p:cNvSpPr/>
          <p:nvPr/>
        </p:nvSpPr>
        <p:spPr>
          <a:xfrm>
            <a:off x="578066" y="2227263"/>
            <a:ext cx="688544" cy="530619"/>
          </a:xfrm>
          <a:custGeom>
            <a:avLst/>
            <a:gdLst/>
            <a:ahLst/>
            <a:cxnLst/>
            <a:rect l="l" t="t" r="r" b="b"/>
            <a:pathLst>
              <a:path w="1135380" h="875029">
                <a:moveTo>
                  <a:pt x="524141" y="0"/>
                </a:moveTo>
                <a:lnTo>
                  <a:pt x="472457" y="9795"/>
                </a:lnTo>
                <a:lnTo>
                  <a:pt x="422881" y="23169"/>
                </a:lnTo>
                <a:lnTo>
                  <a:pt x="375516" y="39929"/>
                </a:lnTo>
                <a:lnTo>
                  <a:pt x="330465" y="59885"/>
                </a:lnTo>
                <a:lnTo>
                  <a:pt x="287828" y="82844"/>
                </a:lnTo>
                <a:lnTo>
                  <a:pt x="247710" y="108616"/>
                </a:lnTo>
                <a:lnTo>
                  <a:pt x="210212" y="137008"/>
                </a:lnTo>
                <a:lnTo>
                  <a:pt x="175437" y="167828"/>
                </a:lnTo>
                <a:lnTo>
                  <a:pt x="143487" y="200886"/>
                </a:lnTo>
                <a:lnTo>
                  <a:pt x="114466" y="235989"/>
                </a:lnTo>
                <a:lnTo>
                  <a:pt x="88475" y="272946"/>
                </a:lnTo>
                <a:lnTo>
                  <a:pt x="65617" y="311566"/>
                </a:lnTo>
                <a:lnTo>
                  <a:pt x="45994" y="351656"/>
                </a:lnTo>
                <a:lnTo>
                  <a:pt x="29709" y="393025"/>
                </a:lnTo>
                <a:lnTo>
                  <a:pt x="16865" y="435481"/>
                </a:lnTo>
                <a:lnTo>
                  <a:pt x="7564" y="478833"/>
                </a:lnTo>
                <a:lnTo>
                  <a:pt x="1908" y="522890"/>
                </a:lnTo>
                <a:lnTo>
                  <a:pt x="0" y="567459"/>
                </a:lnTo>
                <a:lnTo>
                  <a:pt x="3300" y="626598"/>
                </a:lnTo>
                <a:lnTo>
                  <a:pt x="12891" y="679290"/>
                </a:lnTo>
                <a:lnTo>
                  <a:pt x="28303" y="725589"/>
                </a:lnTo>
                <a:lnTo>
                  <a:pt x="49069" y="765546"/>
                </a:lnTo>
                <a:lnTo>
                  <a:pt x="74721" y="799213"/>
                </a:lnTo>
                <a:lnTo>
                  <a:pt x="104791" y="826642"/>
                </a:lnTo>
                <a:lnTo>
                  <a:pt x="138812" y="847886"/>
                </a:lnTo>
                <a:lnTo>
                  <a:pt x="176315" y="862995"/>
                </a:lnTo>
                <a:lnTo>
                  <a:pt x="216833" y="872022"/>
                </a:lnTo>
                <a:lnTo>
                  <a:pt x="259897" y="875020"/>
                </a:lnTo>
                <a:lnTo>
                  <a:pt x="303157" y="870485"/>
                </a:lnTo>
                <a:lnTo>
                  <a:pt x="344437" y="857422"/>
                </a:lnTo>
                <a:lnTo>
                  <a:pt x="382569" y="836643"/>
                </a:lnTo>
                <a:lnTo>
                  <a:pt x="416387" y="808960"/>
                </a:lnTo>
                <a:lnTo>
                  <a:pt x="444723" y="775186"/>
                </a:lnTo>
                <a:lnTo>
                  <a:pt x="466408" y="736132"/>
                </a:lnTo>
                <a:lnTo>
                  <a:pt x="480276" y="692611"/>
                </a:lnTo>
                <a:lnTo>
                  <a:pt x="485158" y="645435"/>
                </a:lnTo>
                <a:lnTo>
                  <a:pt x="480774" y="597136"/>
                </a:lnTo>
                <a:lnTo>
                  <a:pt x="468280" y="553776"/>
                </a:lnTo>
                <a:lnTo>
                  <a:pt x="448665" y="515613"/>
                </a:lnTo>
                <a:lnTo>
                  <a:pt x="422917" y="482907"/>
                </a:lnTo>
                <a:lnTo>
                  <a:pt x="392022" y="455920"/>
                </a:lnTo>
                <a:lnTo>
                  <a:pt x="356968" y="434911"/>
                </a:lnTo>
                <a:lnTo>
                  <a:pt x="318744" y="420139"/>
                </a:lnTo>
                <a:lnTo>
                  <a:pt x="194926" y="415851"/>
                </a:lnTo>
                <a:lnTo>
                  <a:pt x="197334" y="383862"/>
                </a:lnTo>
                <a:lnTo>
                  <a:pt x="217420" y="314477"/>
                </a:lnTo>
                <a:lnTo>
                  <a:pt x="235645" y="278563"/>
                </a:lnTo>
                <a:lnTo>
                  <a:pt x="259690" y="242826"/>
                </a:lnTo>
                <a:lnTo>
                  <a:pt x="289826" y="208006"/>
                </a:lnTo>
                <a:lnTo>
                  <a:pt x="326329" y="174845"/>
                </a:lnTo>
                <a:lnTo>
                  <a:pt x="369472" y="144087"/>
                </a:lnTo>
                <a:lnTo>
                  <a:pt x="419527" y="116472"/>
                </a:lnTo>
                <a:lnTo>
                  <a:pt x="476769" y="92743"/>
                </a:lnTo>
                <a:lnTo>
                  <a:pt x="541470" y="73641"/>
                </a:lnTo>
                <a:lnTo>
                  <a:pt x="524141" y="0"/>
                </a:lnTo>
                <a:close/>
              </a:path>
              <a:path w="1135380" h="875029">
                <a:moveTo>
                  <a:pt x="236735" y="410349"/>
                </a:moveTo>
                <a:lnTo>
                  <a:pt x="194926" y="415851"/>
                </a:lnTo>
                <a:lnTo>
                  <a:pt x="297801" y="415851"/>
                </a:lnTo>
                <a:lnTo>
                  <a:pt x="278337" y="411865"/>
                </a:lnTo>
                <a:lnTo>
                  <a:pt x="236735" y="410349"/>
                </a:lnTo>
                <a:close/>
              </a:path>
              <a:path w="1135380" h="875029">
                <a:moveTo>
                  <a:pt x="1117589" y="0"/>
                </a:moveTo>
                <a:lnTo>
                  <a:pt x="1065905" y="9795"/>
                </a:lnTo>
                <a:lnTo>
                  <a:pt x="1016329" y="23169"/>
                </a:lnTo>
                <a:lnTo>
                  <a:pt x="968964" y="39929"/>
                </a:lnTo>
                <a:lnTo>
                  <a:pt x="923912" y="59885"/>
                </a:lnTo>
                <a:lnTo>
                  <a:pt x="881276" y="82844"/>
                </a:lnTo>
                <a:lnTo>
                  <a:pt x="841158" y="108616"/>
                </a:lnTo>
                <a:lnTo>
                  <a:pt x="803660" y="137008"/>
                </a:lnTo>
                <a:lnTo>
                  <a:pt x="768885" y="167828"/>
                </a:lnTo>
                <a:lnTo>
                  <a:pt x="736935" y="200886"/>
                </a:lnTo>
                <a:lnTo>
                  <a:pt x="707914" y="235989"/>
                </a:lnTo>
                <a:lnTo>
                  <a:pt x="681923" y="272946"/>
                </a:lnTo>
                <a:lnTo>
                  <a:pt x="659065" y="311566"/>
                </a:lnTo>
                <a:lnTo>
                  <a:pt x="639442" y="351656"/>
                </a:lnTo>
                <a:lnTo>
                  <a:pt x="623157" y="393025"/>
                </a:lnTo>
                <a:lnTo>
                  <a:pt x="610313" y="435481"/>
                </a:lnTo>
                <a:lnTo>
                  <a:pt x="601012" y="478833"/>
                </a:lnTo>
                <a:lnTo>
                  <a:pt x="595356" y="522890"/>
                </a:lnTo>
                <a:lnTo>
                  <a:pt x="593447" y="567459"/>
                </a:lnTo>
                <a:lnTo>
                  <a:pt x="596748" y="626598"/>
                </a:lnTo>
                <a:lnTo>
                  <a:pt x="606339" y="679290"/>
                </a:lnTo>
                <a:lnTo>
                  <a:pt x="621751" y="725589"/>
                </a:lnTo>
                <a:lnTo>
                  <a:pt x="642517" y="765546"/>
                </a:lnTo>
                <a:lnTo>
                  <a:pt x="668170" y="799213"/>
                </a:lnTo>
                <a:lnTo>
                  <a:pt x="698242" y="826642"/>
                </a:lnTo>
                <a:lnTo>
                  <a:pt x="732264" y="847886"/>
                </a:lnTo>
                <a:lnTo>
                  <a:pt x="769768" y="862995"/>
                </a:lnTo>
                <a:lnTo>
                  <a:pt x="810288" y="872022"/>
                </a:lnTo>
                <a:lnTo>
                  <a:pt x="853356" y="875020"/>
                </a:lnTo>
                <a:lnTo>
                  <a:pt x="896612" y="870485"/>
                </a:lnTo>
                <a:lnTo>
                  <a:pt x="937889" y="857422"/>
                </a:lnTo>
                <a:lnTo>
                  <a:pt x="976020" y="836643"/>
                </a:lnTo>
                <a:lnTo>
                  <a:pt x="1009837" y="808960"/>
                </a:lnTo>
                <a:lnTo>
                  <a:pt x="1038171" y="775186"/>
                </a:lnTo>
                <a:lnTo>
                  <a:pt x="1059856" y="736132"/>
                </a:lnTo>
                <a:lnTo>
                  <a:pt x="1073723" y="692611"/>
                </a:lnTo>
                <a:lnTo>
                  <a:pt x="1078605" y="645435"/>
                </a:lnTo>
                <a:lnTo>
                  <a:pt x="1074221" y="597136"/>
                </a:lnTo>
                <a:lnTo>
                  <a:pt x="1061728" y="553776"/>
                </a:lnTo>
                <a:lnTo>
                  <a:pt x="1042113" y="515613"/>
                </a:lnTo>
                <a:lnTo>
                  <a:pt x="1016364" y="482907"/>
                </a:lnTo>
                <a:lnTo>
                  <a:pt x="985469" y="455920"/>
                </a:lnTo>
                <a:lnTo>
                  <a:pt x="950416" y="434911"/>
                </a:lnTo>
                <a:lnTo>
                  <a:pt x="912192" y="420139"/>
                </a:lnTo>
                <a:lnTo>
                  <a:pt x="788373" y="415851"/>
                </a:lnTo>
                <a:lnTo>
                  <a:pt x="790782" y="383862"/>
                </a:lnTo>
                <a:lnTo>
                  <a:pt x="810870" y="314477"/>
                </a:lnTo>
                <a:lnTo>
                  <a:pt x="829096" y="278563"/>
                </a:lnTo>
                <a:lnTo>
                  <a:pt x="853141" y="242826"/>
                </a:lnTo>
                <a:lnTo>
                  <a:pt x="883279" y="208006"/>
                </a:lnTo>
                <a:lnTo>
                  <a:pt x="919782" y="174845"/>
                </a:lnTo>
                <a:lnTo>
                  <a:pt x="962924" y="144087"/>
                </a:lnTo>
                <a:lnTo>
                  <a:pt x="1012979" y="116472"/>
                </a:lnTo>
                <a:lnTo>
                  <a:pt x="1070219" y="92743"/>
                </a:lnTo>
                <a:lnTo>
                  <a:pt x="1134918" y="73641"/>
                </a:lnTo>
                <a:lnTo>
                  <a:pt x="1117589" y="0"/>
                </a:lnTo>
                <a:close/>
              </a:path>
              <a:path w="1135380" h="875029">
                <a:moveTo>
                  <a:pt x="830183" y="410349"/>
                </a:moveTo>
                <a:lnTo>
                  <a:pt x="788373" y="415851"/>
                </a:lnTo>
                <a:lnTo>
                  <a:pt x="891249" y="415851"/>
                </a:lnTo>
                <a:lnTo>
                  <a:pt x="871785" y="411865"/>
                </a:lnTo>
                <a:lnTo>
                  <a:pt x="830183" y="410349"/>
                </a:lnTo>
                <a:close/>
              </a:path>
            </a:pathLst>
          </a:custGeom>
          <a:solidFill>
            <a:srgbClr val="CAD1D2"/>
          </a:solidFill>
        </p:spPr>
        <p:txBody>
          <a:bodyPr wrap="square" lIns="0" tIns="0" rIns="0" bIns="0" rtlCol="0"/>
          <a:lstStyle/>
          <a:p>
            <a:endParaRPr sz="1092" b="0" i="0">
              <a:solidFill>
                <a:schemeClr val="accent2"/>
              </a:solidFill>
              <a:latin typeface="Calibre" panose="020B0503030202060203" pitchFamily="34" charset="77"/>
            </a:endParaRPr>
          </a:p>
        </p:txBody>
      </p:sp>
      <p:sp>
        <p:nvSpPr>
          <p:cNvPr id="11" name="object 5">
            <a:extLst>
              <a:ext uri="{FF2B5EF4-FFF2-40B4-BE49-F238E27FC236}">
                <a16:creationId xmlns:a16="http://schemas.microsoft.com/office/drawing/2014/main" id="{8F46F821-51DC-404C-946F-4B8FD6448458}"/>
              </a:ext>
            </a:extLst>
          </p:cNvPr>
          <p:cNvSpPr/>
          <p:nvPr/>
        </p:nvSpPr>
        <p:spPr>
          <a:xfrm>
            <a:off x="11004337" y="4088580"/>
            <a:ext cx="688544" cy="530619"/>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1D2"/>
          </a:solidFill>
        </p:spPr>
        <p:txBody>
          <a:bodyPr wrap="square" lIns="0" tIns="0" rIns="0" bIns="0" rtlCol="0"/>
          <a:lstStyle/>
          <a:p>
            <a:endParaRPr sz="1092" b="0" i="0">
              <a:solidFill>
                <a:schemeClr val="accent2"/>
              </a:solidFill>
              <a:latin typeface="Calibre" panose="020B0503030202060203" pitchFamily="34" charset="77"/>
            </a:endParaRPr>
          </a:p>
        </p:txBody>
      </p:sp>
      <p:sp>
        <p:nvSpPr>
          <p:cNvPr id="16" name="Text Placeholder 10">
            <a:extLst>
              <a:ext uri="{FF2B5EF4-FFF2-40B4-BE49-F238E27FC236}">
                <a16:creationId xmlns:a16="http://schemas.microsoft.com/office/drawing/2014/main" id="{5750BA3A-52DC-41A4-A658-8078E25D0140}"/>
              </a:ext>
            </a:extLst>
          </p:cNvPr>
          <p:cNvSpPr>
            <a:spLocks noGrp="1"/>
          </p:cNvSpPr>
          <p:nvPr>
            <p:ph type="body" sz="quarter" idx="46" hasCustomPrompt="1"/>
          </p:nvPr>
        </p:nvSpPr>
        <p:spPr>
          <a:xfrm>
            <a:off x="8707438" y="4102100"/>
            <a:ext cx="1946276" cy="1590928"/>
          </a:xfrm>
          <a:prstGeom prst="rect">
            <a:avLst/>
          </a:prstGeom>
        </p:spPr>
        <p:txBody>
          <a:bodyPr anchor="t"/>
          <a:lstStyle>
            <a:lvl1pPr marL="7701" algn="r" defTabSz="554492" rtl="0" eaLnBrk="1" latinLnBrk="0" hangingPunct="1">
              <a:lnSpc>
                <a:spcPct val="90000"/>
              </a:lnSpc>
              <a:spcBef>
                <a:spcPts val="0"/>
              </a:spcBef>
              <a:spcAft>
                <a:spcPts val="0"/>
              </a:spcAft>
              <a:defRPr lang="en-US" sz="1700" b="0" i="0" kern="0" dirty="0">
                <a:solidFill>
                  <a:srgbClr val="CAD1D2"/>
                </a:solidFill>
                <a:latin typeface="Calibre-Semibold"/>
                <a:ea typeface="+mj-ea"/>
                <a:cs typeface="Calibre-Semibold"/>
              </a:defRPr>
            </a:lvl1pPr>
            <a:lvl2pPr algn="r">
              <a:lnSpc>
                <a:spcPct val="90000"/>
              </a:lnSpc>
              <a:spcAft>
                <a:spcPts val="0"/>
              </a:spcAft>
              <a:defRPr sz="1700">
                <a:solidFill>
                  <a:srgbClr val="CAD0D2"/>
                </a:solidFill>
                <a:latin typeface="+mn-lt"/>
              </a:defRPr>
            </a:lvl2pPr>
          </a:lstStyle>
          <a:p>
            <a:pPr lvl="0"/>
            <a:r>
              <a:rPr lang="en-US"/>
              <a:t>Name</a:t>
            </a:r>
          </a:p>
          <a:p>
            <a:pPr lvl="1"/>
            <a:r>
              <a:rPr lang="en-US"/>
              <a:t>Title</a:t>
            </a:r>
          </a:p>
        </p:txBody>
      </p:sp>
      <p:sp>
        <p:nvSpPr>
          <p:cNvPr id="8" name="object 4">
            <a:extLst>
              <a:ext uri="{FF2B5EF4-FFF2-40B4-BE49-F238E27FC236}">
                <a16:creationId xmlns:a16="http://schemas.microsoft.com/office/drawing/2014/main" id="{99E7A5E3-2446-4B21-B23C-F51990207423}"/>
              </a:ext>
            </a:extLst>
          </p:cNvPr>
          <p:cNvSpPr/>
          <p:nvPr/>
        </p:nvSpPr>
        <p:spPr>
          <a:xfrm>
            <a:off x="578066" y="2227263"/>
            <a:ext cx="688544" cy="530619"/>
          </a:xfrm>
          <a:custGeom>
            <a:avLst/>
            <a:gdLst/>
            <a:ahLst/>
            <a:cxnLst/>
            <a:rect l="l" t="t" r="r" b="b"/>
            <a:pathLst>
              <a:path w="1135380" h="875029">
                <a:moveTo>
                  <a:pt x="524141" y="0"/>
                </a:moveTo>
                <a:lnTo>
                  <a:pt x="472457" y="9795"/>
                </a:lnTo>
                <a:lnTo>
                  <a:pt x="422881" y="23169"/>
                </a:lnTo>
                <a:lnTo>
                  <a:pt x="375516" y="39929"/>
                </a:lnTo>
                <a:lnTo>
                  <a:pt x="330465" y="59885"/>
                </a:lnTo>
                <a:lnTo>
                  <a:pt x="287828" y="82844"/>
                </a:lnTo>
                <a:lnTo>
                  <a:pt x="247710" y="108616"/>
                </a:lnTo>
                <a:lnTo>
                  <a:pt x="210212" y="137008"/>
                </a:lnTo>
                <a:lnTo>
                  <a:pt x="175437" y="167828"/>
                </a:lnTo>
                <a:lnTo>
                  <a:pt x="143487" y="200886"/>
                </a:lnTo>
                <a:lnTo>
                  <a:pt x="114466" y="235989"/>
                </a:lnTo>
                <a:lnTo>
                  <a:pt x="88475" y="272946"/>
                </a:lnTo>
                <a:lnTo>
                  <a:pt x="65617" y="311566"/>
                </a:lnTo>
                <a:lnTo>
                  <a:pt x="45994" y="351656"/>
                </a:lnTo>
                <a:lnTo>
                  <a:pt x="29709" y="393025"/>
                </a:lnTo>
                <a:lnTo>
                  <a:pt x="16865" y="435481"/>
                </a:lnTo>
                <a:lnTo>
                  <a:pt x="7564" y="478833"/>
                </a:lnTo>
                <a:lnTo>
                  <a:pt x="1908" y="522890"/>
                </a:lnTo>
                <a:lnTo>
                  <a:pt x="0" y="567459"/>
                </a:lnTo>
                <a:lnTo>
                  <a:pt x="3300" y="626598"/>
                </a:lnTo>
                <a:lnTo>
                  <a:pt x="12891" y="679290"/>
                </a:lnTo>
                <a:lnTo>
                  <a:pt x="28303" y="725589"/>
                </a:lnTo>
                <a:lnTo>
                  <a:pt x="49069" y="765546"/>
                </a:lnTo>
                <a:lnTo>
                  <a:pt x="74721" y="799213"/>
                </a:lnTo>
                <a:lnTo>
                  <a:pt x="104791" y="826642"/>
                </a:lnTo>
                <a:lnTo>
                  <a:pt x="138812" y="847886"/>
                </a:lnTo>
                <a:lnTo>
                  <a:pt x="176315" y="862995"/>
                </a:lnTo>
                <a:lnTo>
                  <a:pt x="216833" y="872022"/>
                </a:lnTo>
                <a:lnTo>
                  <a:pt x="259897" y="875020"/>
                </a:lnTo>
                <a:lnTo>
                  <a:pt x="303157" y="870485"/>
                </a:lnTo>
                <a:lnTo>
                  <a:pt x="344437" y="857422"/>
                </a:lnTo>
                <a:lnTo>
                  <a:pt x="382569" y="836643"/>
                </a:lnTo>
                <a:lnTo>
                  <a:pt x="416387" y="808960"/>
                </a:lnTo>
                <a:lnTo>
                  <a:pt x="444723" y="775186"/>
                </a:lnTo>
                <a:lnTo>
                  <a:pt x="466408" y="736132"/>
                </a:lnTo>
                <a:lnTo>
                  <a:pt x="480276" y="692611"/>
                </a:lnTo>
                <a:lnTo>
                  <a:pt x="485158" y="645435"/>
                </a:lnTo>
                <a:lnTo>
                  <a:pt x="480774" y="597136"/>
                </a:lnTo>
                <a:lnTo>
                  <a:pt x="468280" y="553776"/>
                </a:lnTo>
                <a:lnTo>
                  <a:pt x="448665" y="515613"/>
                </a:lnTo>
                <a:lnTo>
                  <a:pt x="422917" y="482907"/>
                </a:lnTo>
                <a:lnTo>
                  <a:pt x="392022" y="455920"/>
                </a:lnTo>
                <a:lnTo>
                  <a:pt x="356968" y="434911"/>
                </a:lnTo>
                <a:lnTo>
                  <a:pt x="318744" y="420139"/>
                </a:lnTo>
                <a:lnTo>
                  <a:pt x="194926" y="415851"/>
                </a:lnTo>
                <a:lnTo>
                  <a:pt x="197334" y="383862"/>
                </a:lnTo>
                <a:lnTo>
                  <a:pt x="217420" y="314477"/>
                </a:lnTo>
                <a:lnTo>
                  <a:pt x="235645" y="278563"/>
                </a:lnTo>
                <a:lnTo>
                  <a:pt x="259690" y="242826"/>
                </a:lnTo>
                <a:lnTo>
                  <a:pt x="289826" y="208006"/>
                </a:lnTo>
                <a:lnTo>
                  <a:pt x="326329" y="174845"/>
                </a:lnTo>
                <a:lnTo>
                  <a:pt x="369472" y="144087"/>
                </a:lnTo>
                <a:lnTo>
                  <a:pt x="419527" y="116472"/>
                </a:lnTo>
                <a:lnTo>
                  <a:pt x="476769" y="92743"/>
                </a:lnTo>
                <a:lnTo>
                  <a:pt x="541470" y="73641"/>
                </a:lnTo>
                <a:lnTo>
                  <a:pt x="524141" y="0"/>
                </a:lnTo>
                <a:close/>
              </a:path>
              <a:path w="1135380" h="875029">
                <a:moveTo>
                  <a:pt x="236735" y="410349"/>
                </a:moveTo>
                <a:lnTo>
                  <a:pt x="194926" y="415851"/>
                </a:lnTo>
                <a:lnTo>
                  <a:pt x="297801" y="415851"/>
                </a:lnTo>
                <a:lnTo>
                  <a:pt x="278337" y="411865"/>
                </a:lnTo>
                <a:lnTo>
                  <a:pt x="236735" y="410349"/>
                </a:lnTo>
                <a:close/>
              </a:path>
              <a:path w="1135380" h="875029">
                <a:moveTo>
                  <a:pt x="1117589" y="0"/>
                </a:moveTo>
                <a:lnTo>
                  <a:pt x="1065905" y="9795"/>
                </a:lnTo>
                <a:lnTo>
                  <a:pt x="1016329" y="23169"/>
                </a:lnTo>
                <a:lnTo>
                  <a:pt x="968964" y="39929"/>
                </a:lnTo>
                <a:lnTo>
                  <a:pt x="923912" y="59885"/>
                </a:lnTo>
                <a:lnTo>
                  <a:pt x="881276" y="82844"/>
                </a:lnTo>
                <a:lnTo>
                  <a:pt x="841158" y="108616"/>
                </a:lnTo>
                <a:lnTo>
                  <a:pt x="803660" y="137008"/>
                </a:lnTo>
                <a:lnTo>
                  <a:pt x="768885" y="167828"/>
                </a:lnTo>
                <a:lnTo>
                  <a:pt x="736935" y="200886"/>
                </a:lnTo>
                <a:lnTo>
                  <a:pt x="707914" y="235989"/>
                </a:lnTo>
                <a:lnTo>
                  <a:pt x="681923" y="272946"/>
                </a:lnTo>
                <a:lnTo>
                  <a:pt x="659065" y="311566"/>
                </a:lnTo>
                <a:lnTo>
                  <a:pt x="639442" y="351656"/>
                </a:lnTo>
                <a:lnTo>
                  <a:pt x="623157" y="393025"/>
                </a:lnTo>
                <a:lnTo>
                  <a:pt x="610313" y="435481"/>
                </a:lnTo>
                <a:lnTo>
                  <a:pt x="601012" y="478833"/>
                </a:lnTo>
                <a:lnTo>
                  <a:pt x="595356" y="522890"/>
                </a:lnTo>
                <a:lnTo>
                  <a:pt x="593447" y="567459"/>
                </a:lnTo>
                <a:lnTo>
                  <a:pt x="596748" y="626598"/>
                </a:lnTo>
                <a:lnTo>
                  <a:pt x="606339" y="679290"/>
                </a:lnTo>
                <a:lnTo>
                  <a:pt x="621751" y="725589"/>
                </a:lnTo>
                <a:lnTo>
                  <a:pt x="642517" y="765546"/>
                </a:lnTo>
                <a:lnTo>
                  <a:pt x="668170" y="799213"/>
                </a:lnTo>
                <a:lnTo>
                  <a:pt x="698242" y="826642"/>
                </a:lnTo>
                <a:lnTo>
                  <a:pt x="732264" y="847886"/>
                </a:lnTo>
                <a:lnTo>
                  <a:pt x="769768" y="862995"/>
                </a:lnTo>
                <a:lnTo>
                  <a:pt x="810288" y="872022"/>
                </a:lnTo>
                <a:lnTo>
                  <a:pt x="853356" y="875020"/>
                </a:lnTo>
                <a:lnTo>
                  <a:pt x="896612" y="870485"/>
                </a:lnTo>
                <a:lnTo>
                  <a:pt x="937889" y="857422"/>
                </a:lnTo>
                <a:lnTo>
                  <a:pt x="976020" y="836643"/>
                </a:lnTo>
                <a:lnTo>
                  <a:pt x="1009837" y="808960"/>
                </a:lnTo>
                <a:lnTo>
                  <a:pt x="1038171" y="775186"/>
                </a:lnTo>
                <a:lnTo>
                  <a:pt x="1059856" y="736132"/>
                </a:lnTo>
                <a:lnTo>
                  <a:pt x="1073723" y="692611"/>
                </a:lnTo>
                <a:lnTo>
                  <a:pt x="1078605" y="645435"/>
                </a:lnTo>
                <a:lnTo>
                  <a:pt x="1074221" y="597136"/>
                </a:lnTo>
                <a:lnTo>
                  <a:pt x="1061728" y="553776"/>
                </a:lnTo>
                <a:lnTo>
                  <a:pt x="1042113" y="515613"/>
                </a:lnTo>
                <a:lnTo>
                  <a:pt x="1016364" y="482907"/>
                </a:lnTo>
                <a:lnTo>
                  <a:pt x="985469" y="455920"/>
                </a:lnTo>
                <a:lnTo>
                  <a:pt x="950416" y="434911"/>
                </a:lnTo>
                <a:lnTo>
                  <a:pt x="912192" y="420139"/>
                </a:lnTo>
                <a:lnTo>
                  <a:pt x="788373" y="415851"/>
                </a:lnTo>
                <a:lnTo>
                  <a:pt x="790782" y="383862"/>
                </a:lnTo>
                <a:lnTo>
                  <a:pt x="810870" y="314477"/>
                </a:lnTo>
                <a:lnTo>
                  <a:pt x="829096" y="278563"/>
                </a:lnTo>
                <a:lnTo>
                  <a:pt x="853141" y="242826"/>
                </a:lnTo>
                <a:lnTo>
                  <a:pt x="883279" y="208006"/>
                </a:lnTo>
                <a:lnTo>
                  <a:pt x="919782" y="174845"/>
                </a:lnTo>
                <a:lnTo>
                  <a:pt x="962924" y="144087"/>
                </a:lnTo>
                <a:lnTo>
                  <a:pt x="1012979" y="116472"/>
                </a:lnTo>
                <a:lnTo>
                  <a:pt x="1070219" y="92743"/>
                </a:lnTo>
                <a:lnTo>
                  <a:pt x="1134918" y="73641"/>
                </a:lnTo>
                <a:lnTo>
                  <a:pt x="1117589" y="0"/>
                </a:lnTo>
                <a:close/>
              </a:path>
              <a:path w="1135380" h="875029">
                <a:moveTo>
                  <a:pt x="830183" y="410349"/>
                </a:moveTo>
                <a:lnTo>
                  <a:pt x="788373" y="415851"/>
                </a:lnTo>
                <a:lnTo>
                  <a:pt x="891249" y="415851"/>
                </a:lnTo>
                <a:lnTo>
                  <a:pt x="871785" y="411865"/>
                </a:lnTo>
                <a:lnTo>
                  <a:pt x="830183" y="410349"/>
                </a:lnTo>
                <a:close/>
              </a:path>
            </a:pathLst>
          </a:custGeom>
          <a:solidFill>
            <a:srgbClr val="CAD1D2"/>
          </a:solidFill>
        </p:spPr>
        <p:txBody>
          <a:bodyPr wrap="square" lIns="0" tIns="0" rIns="0" bIns="0" rtlCol="0"/>
          <a:lstStyle/>
          <a:p>
            <a:endParaRPr sz="1092" b="0" i="0">
              <a:solidFill>
                <a:schemeClr val="accent2"/>
              </a:solidFill>
              <a:latin typeface="Calibre" panose="020B0503030202060203" pitchFamily="34" charset="77"/>
            </a:endParaRPr>
          </a:p>
        </p:txBody>
      </p:sp>
      <p:sp>
        <p:nvSpPr>
          <p:cNvPr id="9" name="object 5">
            <a:extLst>
              <a:ext uri="{FF2B5EF4-FFF2-40B4-BE49-F238E27FC236}">
                <a16:creationId xmlns:a16="http://schemas.microsoft.com/office/drawing/2014/main" id="{4250FC36-C53E-4D38-8C2E-FA74439C0A00}"/>
              </a:ext>
            </a:extLst>
          </p:cNvPr>
          <p:cNvSpPr/>
          <p:nvPr/>
        </p:nvSpPr>
        <p:spPr>
          <a:xfrm>
            <a:off x="11004337" y="4088580"/>
            <a:ext cx="688544" cy="530619"/>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1D2"/>
          </a:solidFill>
        </p:spPr>
        <p:txBody>
          <a:bodyPr wrap="square" lIns="0" tIns="0" rIns="0" bIns="0" rtlCol="0"/>
          <a:lstStyle/>
          <a:p>
            <a:endParaRPr sz="1092" b="0" i="0">
              <a:solidFill>
                <a:schemeClr val="accent2"/>
              </a:solidFill>
              <a:latin typeface="Calibre" panose="020B0503030202060203" pitchFamily="34" charset="77"/>
            </a:endParaRPr>
          </a:p>
        </p:txBody>
      </p:sp>
      <p:sp>
        <p:nvSpPr>
          <p:cNvPr id="12" name="object 4">
            <a:extLst>
              <a:ext uri="{FF2B5EF4-FFF2-40B4-BE49-F238E27FC236}">
                <a16:creationId xmlns:a16="http://schemas.microsoft.com/office/drawing/2014/main" id="{30A9A5B9-89D4-4B7D-B019-691231E1EE46}"/>
              </a:ext>
            </a:extLst>
          </p:cNvPr>
          <p:cNvSpPr/>
          <p:nvPr userDrawn="1"/>
        </p:nvSpPr>
        <p:spPr>
          <a:xfrm>
            <a:off x="578066" y="2227263"/>
            <a:ext cx="688544" cy="530619"/>
          </a:xfrm>
          <a:custGeom>
            <a:avLst/>
            <a:gdLst/>
            <a:ahLst/>
            <a:cxnLst/>
            <a:rect l="l" t="t" r="r" b="b"/>
            <a:pathLst>
              <a:path w="1135380" h="875029">
                <a:moveTo>
                  <a:pt x="524141" y="0"/>
                </a:moveTo>
                <a:lnTo>
                  <a:pt x="472457" y="9795"/>
                </a:lnTo>
                <a:lnTo>
                  <a:pt x="422881" y="23169"/>
                </a:lnTo>
                <a:lnTo>
                  <a:pt x="375516" y="39929"/>
                </a:lnTo>
                <a:lnTo>
                  <a:pt x="330465" y="59885"/>
                </a:lnTo>
                <a:lnTo>
                  <a:pt x="287828" y="82844"/>
                </a:lnTo>
                <a:lnTo>
                  <a:pt x="247710" y="108616"/>
                </a:lnTo>
                <a:lnTo>
                  <a:pt x="210212" y="137008"/>
                </a:lnTo>
                <a:lnTo>
                  <a:pt x="175437" y="167828"/>
                </a:lnTo>
                <a:lnTo>
                  <a:pt x="143487" y="200886"/>
                </a:lnTo>
                <a:lnTo>
                  <a:pt x="114466" y="235989"/>
                </a:lnTo>
                <a:lnTo>
                  <a:pt x="88475" y="272946"/>
                </a:lnTo>
                <a:lnTo>
                  <a:pt x="65617" y="311566"/>
                </a:lnTo>
                <a:lnTo>
                  <a:pt x="45994" y="351656"/>
                </a:lnTo>
                <a:lnTo>
                  <a:pt x="29709" y="393025"/>
                </a:lnTo>
                <a:lnTo>
                  <a:pt x="16865" y="435481"/>
                </a:lnTo>
                <a:lnTo>
                  <a:pt x="7564" y="478833"/>
                </a:lnTo>
                <a:lnTo>
                  <a:pt x="1908" y="522890"/>
                </a:lnTo>
                <a:lnTo>
                  <a:pt x="0" y="567459"/>
                </a:lnTo>
                <a:lnTo>
                  <a:pt x="3300" y="626598"/>
                </a:lnTo>
                <a:lnTo>
                  <a:pt x="12891" y="679290"/>
                </a:lnTo>
                <a:lnTo>
                  <a:pt x="28303" y="725589"/>
                </a:lnTo>
                <a:lnTo>
                  <a:pt x="49069" y="765546"/>
                </a:lnTo>
                <a:lnTo>
                  <a:pt x="74721" y="799213"/>
                </a:lnTo>
                <a:lnTo>
                  <a:pt x="104791" y="826642"/>
                </a:lnTo>
                <a:lnTo>
                  <a:pt x="138812" y="847886"/>
                </a:lnTo>
                <a:lnTo>
                  <a:pt x="176315" y="862995"/>
                </a:lnTo>
                <a:lnTo>
                  <a:pt x="216833" y="872022"/>
                </a:lnTo>
                <a:lnTo>
                  <a:pt x="259897" y="875020"/>
                </a:lnTo>
                <a:lnTo>
                  <a:pt x="303157" y="870485"/>
                </a:lnTo>
                <a:lnTo>
                  <a:pt x="344437" y="857422"/>
                </a:lnTo>
                <a:lnTo>
                  <a:pt x="382569" y="836643"/>
                </a:lnTo>
                <a:lnTo>
                  <a:pt x="416387" y="808960"/>
                </a:lnTo>
                <a:lnTo>
                  <a:pt x="444723" y="775186"/>
                </a:lnTo>
                <a:lnTo>
                  <a:pt x="466408" y="736132"/>
                </a:lnTo>
                <a:lnTo>
                  <a:pt x="480276" y="692611"/>
                </a:lnTo>
                <a:lnTo>
                  <a:pt x="485158" y="645435"/>
                </a:lnTo>
                <a:lnTo>
                  <a:pt x="480774" y="597136"/>
                </a:lnTo>
                <a:lnTo>
                  <a:pt x="468280" y="553776"/>
                </a:lnTo>
                <a:lnTo>
                  <a:pt x="448665" y="515613"/>
                </a:lnTo>
                <a:lnTo>
                  <a:pt x="422917" y="482907"/>
                </a:lnTo>
                <a:lnTo>
                  <a:pt x="392022" y="455920"/>
                </a:lnTo>
                <a:lnTo>
                  <a:pt x="356968" y="434911"/>
                </a:lnTo>
                <a:lnTo>
                  <a:pt x="318744" y="420139"/>
                </a:lnTo>
                <a:lnTo>
                  <a:pt x="194926" y="415851"/>
                </a:lnTo>
                <a:lnTo>
                  <a:pt x="197334" y="383862"/>
                </a:lnTo>
                <a:lnTo>
                  <a:pt x="217420" y="314477"/>
                </a:lnTo>
                <a:lnTo>
                  <a:pt x="235645" y="278563"/>
                </a:lnTo>
                <a:lnTo>
                  <a:pt x="259690" y="242826"/>
                </a:lnTo>
                <a:lnTo>
                  <a:pt x="289826" y="208006"/>
                </a:lnTo>
                <a:lnTo>
                  <a:pt x="326329" y="174845"/>
                </a:lnTo>
                <a:lnTo>
                  <a:pt x="369472" y="144087"/>
                </a:lnTo>
                <a:lnTo>
                  <a:pt x="419527" y="116472"/>
                </a:lnTo>
                <a:lnTo>
                  <a:pt x="476769" y="92743"/>
                </a:lnTo>
                <a:lnTo>
                  <a:pt x="541470" y="73641"/>
                </a:lnTo>
                <a:lnTo>
                  <a:pt x="524141" y="0"/>
                </a:lnTo>
                <a:close/>
              </a:path>
              <a:path w="1135380" h="875029">
                <a:moveTo>
                  <a:pt x="236735" y="410349"/>
                </a:moveTo>
                <a:lnTo>
                  <a:pt x="194926" y="415851"/>
                </a:lnTo>
                <a:lnTo>
                  <a:pt x="297801" y="415851"/>
                </a:lnTo>
                <a:lnTo>
                  <a:pt x="278337" y="411865"/>
                </a:lnTo>
                <a:lnTo>
                  <a:pt x="236735" y="410349"/>
                </a:lnTo>
                <a:close/>
              </a:path>
              <a:path w="1135380" h="875029">
                <a:moveTo>
                  <a:pt x="1117589" y="0"/>
                </a:moveTo>
                <a:lnTo>
                  <a:pt x="1065905" y="9795"/>
                </a:lnTo>
                <a:lnTo>
                  <a:pt x="1016329" y="23169"/>
                </a:lnTo>
                <a:lnTo>
                  <a:pt x="968964" y="39929"/>
                </a:lnTo>
                <a:lnTo>
                  <a:pt x="923912" y="59885"/>
                </a:lnTo>
                <a:lnTo>
                  <a:pt x="881276" y="82844"/>
                </a:lnTo>
                <a:lnTo>
                  <a:pt x="841158" y="108616"/>
                </a:lnTo>
                <a:lnTo>
                  <a:pt x="803660" y="137008"/>
                </a:lnTo>
                <a:lnTo>
                  <a:pt x="768885" y="167828"/>
                </a:lnTo>
                <a:lnTo>
                  <a:pt x="736935" y="200886"/>
                </a:lnTo>
                <a:lnTo>
                  <a:pt x="707914" y="235989"/>
                </a:lnTo>
                <a:lnTo>
                  <a:pt x="681923" y="272946"/>
                </a:lnTo>
                <a:lnTo>
                  <a:pt x="659065" y="311566"/>
                </a:lnTo>
                <a:lnTo>
                  <a:pt x="639442" y="351656"/>
                </a:lnTo>
                <a:lnTo>
                  <a:pt x="623157" y="393025"/>
                </a:lnTo>
                <a:lnTo>
                  <a:pt x="610313" y="435481"/>
                </a:lnTo>
                <a:lnTo>
                  <a:pt x="601012" y="478833"/>
                </a:lnTo>
                <a:lnTo>
                  <a:pt x="595356" y="522890"/>
                </a:lnTo>
                <a:lnTo>
                  <a:pt x="593447" y="567459"/>
                </a:lnTo>
                <a:lnTo>
                  <a:pt x="596748" y="626598"/>
                </a:lnTo>
                <a:lnTo>
                  <a:pt x="606339" y="679290"/>
                </a:lnTo>
                <a:lnTo>
                  <a:pt x="621751" y="725589"/>
                </a:lnTo>
                <a:lnTo>
                  <a:pt x="642517" y="765546"/>
                </a:lnTo>
                <a:lnTo>
                  <a:pt x="668170" y="799213"/>
                </a:lnTo>
                <a:lnTo>
                  <a:pt x="698242" y="826642"/>
                </a:lnTo>
                <a:lnTo>
                  <a:pt x="732264" y="847886"/>
                </a:lnTo>
                <a:lnTo>
                  <a:pt x="769768" y="862995"/>
                </a:lnTo>
                <a:lnTo>
                  <a:pt x="810288" y="872022"/>
                </a:lnTo>
                <a:lnTo>
                  <a:pt x="853356" y="875020"/>
                </a:lnTo>
                <a:lnTo>
                  <a:pt x="896612" y="870485"/>
                </a:lnTo>
                <a:lnTo>
                  <a:pt x="937889" y="857422"/>
                </a:lnTo>
                <a:lnTo>
                  <a:pt x="976020" y="836643"/>
                </a:lnTo>
                <a:lnTo>
                  <a:pt x="1009837" y="808960"/>
                </a:lnTo>
                <a:lnTo>
                  <a:pt x="1038171" y="775186"/>
                </a:lnTo>
                <a:lnTo>
                  <a:pt x="1059856" y="736132"/>
                </a:lnTo>
                <a:lnTo>
                  <a:pt x="1073723" y="692611"/>
                </a:lnTo>
                <a:lnTo>
                  <a:pt x="1078605" y="645435"/>
                </a:lnTo>
                <a:lnTo>
                  <a:pt x="1074221" y="597136"/>
                </a:lnTo>
                <a:lnTo>
                  <a:pt x="1061728" y="553776"/>
                </a:lnTo>
                <a:lnTo>
                  <a:pt x="1042113" y="515613"/>
                </a:lnTo>
                <a:lnTo>
                  <a:pt x="1016364" y="482907"/>
                </a:lnTo>
                <a:lnTo>
                  <a:pt x="985469" y="455920"/>
                </a:lnTo>
                <a:lnTo>
                  <a:pt x="950416" y="434911"/>
                </a:lnTo>
                <a:lnTo>
                  <a:pt x="912192" y="420139"/>
                </a:lnTo>
                <a:lnTo>
                  <a:pt x="788373" y="415851"/>
                </a:lnTo>
                <a:lnTo>
                  <a:pt x="790782" y="383862"/>
                </a:lnTo>
                <a:lnTo>
                  <a:pt x="810870" y="314477"/>
                </a:lnTo>
                <a:lnTo>
                  <a:pt x="829096" y="278563"/>
                </a:lnTo>
                <a:lnTo>
                  <a:pt x="853141" y="242826"/>
                </a:lnTo>
                <a:lnTo>
                  <a:pt x="883279" y="208006"/>
                </a:lnTo>
                <a:lnTo>
                  <a:pt x="919782" y="174845"/>
                </a:lnTo>
                <a:lnTo>
                  <a:pt x="962924" y="144087"/>
                </a:lnTo>
                <a:lnTo>
                  <a:pt x="1012979" y="116472"/>
                </a:lnTo>
                <a:lnTo>
                  <a:pt x="1070219" y="92743"/>
                </a:lnTo>
                <a:lnTo>
                  <a:pt x="1134918" y="73641"/>
                </a:lnTo>
                <a:lnTo>
                  <a:pt x="1117589" y="0"/>
                </a:lnTo>
                <a:close/>
              </a:path>
              <a:path w="1135380" h="875029">
                <a:moveTo>
                  <a:pt x="830183" y="410349"/>
                </a:moveTo>
                <a:lnTo>
                  <a:pt x="788373" y="415851"/>
                </a:lnTo>
                <a:lnTo>
                  <a:pt x="891249" y="415851"/>
                </a:lnTo>
                <a:lnTo>
                  <a:pt x="871785" y="411865"/>
                </a:lnTo>
                <a:lnTo>
                  <a:pt x="830183" y="410349"/>
                </a:lnTo>
                <a:close/>
              </a:path>
            </a:pathLst>
          </a:custGeom>
          <a:solidFill>
            <a:srgbClr val="CAD1D2"/>
          </a:solidFill>
        </p:spPr>
        <p:txBody>
          <a:bodyPr wrap="square" lIns="0" tIns="0" rIns="0" bIns="0" rtlCol="0"/>
          <a:lstStyle/>
          <a:p>
            <a:endParaRPr sz="1092" b="0" i="0">
              <a:solidFill>
                <a:schemeClr val="accent2"/>
              </a:solidFill>
              <a:latin typeface="Calibre" panose="020B0503030202060203" pitchFamily="34" charset="77"/>
            </a:endParaRPr>
          </a:p>
        </p:txBody>
      </p:sp>
      <p:sp>
        <p:nvSpPr>
          <p:cNvPr id="13" name="object 5">
            <a:extLst>
              <a:ext uri="{FF2B5EF4-FFF2-40B4-BE49-F238E27FC236}">
                <a16:creationId xmlns:a16="http://schemas.microsoft.com/office/drawing/2014/main" id="{71311429-4BD0-4337-A705-B113FCC87BE3}"/>
              </a:ext>
            </a:extLst>
          </p:cNvPr>
          <p:cNvSpPr/>
          <p:nvPr userDrawn="1"/>
        </p:nvSpPr>
        <p:spPr>
          <a:xfrm>
            <a:off x="11004337" y="4088580"/>
            <a:ext cx="688544" cy="530619"/>
          </a:xfrm>
          <a:custGeom>
            <a:avLst/>
            <a:gdLst/>
            <a:ahLst/>
            <a:cxnLst/>
            <a:rect l="l" t="t" r="r" b="b"/>
            <a:pathLst>
              <a:path w="1135380" h="875029">
                <a:moveTo>
                  <a:pt x="1112114" y="459169"/>
                </a:moveTo>
                <a:lnTo>
                  <a:pt x="939992" y="459169"/>
                </a:lnTo>
                <a:lnTo>
                  <a:pt x="937584" y="491157"/>
                </a:lnTo>
                <a:lnTo>
                  <a:pt x="930176" y="525196"/>
                </a:lnTo>
                <a:lnTo>
                  <a:pt x="899272" y="596456"/>
                </a:lnTo>
                <a:lnTo>
                  <a:pt x="875228" y="632194"/>
                </a:lnTo>
                <a:lnTo>
                  <a:pt x="845091" y="667014"/>
                </a:lnTo>
                <a:lnTo>
                  <a:pt x="808588" y="700174"/>
                </a:lnTo>
                <a:lnTo>
                  <a:pt x="765446" y="730933"/>
                </a:lnTo>
                <a:lnTo>
                  <a:pt x="715390" y="758548"/>
                </a:lnTo>
                <a:lnTo>
                  <a:pt x="658149" y="782277"/>
                </a:lnTo>
                <a:lnTo>
                  <a:pt x="593447" y="801378"/>
                </a:lnTo>
                <a:lnTo>
                  <a:pt x="610777" y="875020"/>
                </a:lnTo>
                <a:lnTo>
                  <a:pt x="662460" y="865225"/>
                </a:lnTo>
                <a:lnTo>
                  <a:pt x="712036" y="851851"/>
                </a:lnTo>
                <a:lnTo>
                  <a:pt x="759401" y="835090"/>
                </a:lnTo>
                <a:lnTo>
                  <a:pt x="804453" y="815134"/>
                </a:lnTo>
                <a:lnTo>
                  <a:pt x="847089" y="792175"/>
                </a:lnTo>
                <a:lnTo>
                  <a:pt x="887208" y="766404"/>
                </a:lnTo>
                <a:lnTo>
                  <a:pt x="924706" y="738012"/>
                </a:lnTo>
                <a:lnTo>
                  <a:pt x="959481" y="707191"/>
                </a:lnTo>
                <a:lnTo>
                  <a:pt x="991430" y="674133"/>
                </a:lnTo>
                <a:lnTo>
                  <a:pt x="1020452" y="639030"/>
                </a:lnTo>
                <a:lnTo>
                  <a:pt x="1046443" y="602073"/>
                </a:lnTo>
                <a:lnTo>
                  <a:pt x="1069301" y="563454"/>
                </a:lnTo>
                <a:lnTo>
                  <a:pt x="1088923" y="523364"/>
                </a:lnTo>
                <a:lnTo>
                  <a:pt x="1105208" y="481995"/>
                </a:lnTo>
                <a:lnTo>
                  <a:pt x="1112114" y="459169"/>
                </a:lnTo>
                <a:close/>
              </a:path>
              <a:path w="1135380" h="875029">
                <a:moveTo>
                  <a:pt x="875020" y="0"/>
                </a:moveTo>
                <a:lnTo>
                  <a:pt x="831761" y="4534"/>
                </a:lnTo>
                <a:lnTo>
                  <a:pt x="790481" y="17597"/>
                </a:lnTo>
                <a:lnTo>
                  <a:pt x="752348" y="38376"/>
                </a:lnTo>
                <a:lnTo>
                  <a:pt x="718530" y="66059"/>
                </a:lnTo>
                <a:lnTo>
                  <a:pt x="690195" y="99833"/>
                </a:lnTo>
                <a:lnTo>
                  <a:pt x="668509" y="138887"/>
                </a:lnTo>
                <a:lnTo>
                  <a:pt x="654642" y="182408"/>
                </a:lnTo>
                <a:lnTo>
                  <a:pt x="649760" y="229584"/>
                </a:lnTo>
                <a:lnTo>
                  <a:pt x="654144" y="277883"/>
                </a:lnTo>
                <a:lnTo>
                  <a:pt x="666637" y="321244"/>
                </a:lnTo>
                <a:lnTo>
                  <a:pt x="686252" y="359407"/>
                </a:lnTo>
                <a:lnTo>
                  <a:pt x="712001" y="392112"/>
                </a:lnTo>
                <a:lnTo>
                  <a:pt x="742896" y="419099"/>
                </a:lnTo>
                <a:lnTo>
                  <a:pt x="777949" y="440109"/>
                </a:lnTo>
                <a:lnTo>
                  <a:pt x="816173" y="454880"/>
                </a:lnTo>
                <a:lnTo>
                  <a:pt x="856580" y="463154"/>
                </a:lnTo>
                <a:lnTo>
                  <a:pt x="898182" y="464670"/>
                </a:lnTo>
                <a:lnTo>
                  <a:pt x="939992" y="459169"/>
                </a:lnTo>
                <a:lnTo>
                  <a:pt x="1112114" y="459169"/>
                </a:lnTo>
                <a:lnTo>
                  <a:pt x="1118052" y="439538"/>
                </a:lnTo>
                <a:lnTo>
                  <a:pt x="1127354" y="396186"/>
                </a:lnTo>
                <a:lnTo>
                  <a:pt x="1133010" y="352130"/>
                </a:lnTo>
                <a:lnTo>
                  <a:pt x="1134918" y="307561"/>
                </a:lnTo>
                <a:lnTo>
                  <a:pt x="1131617" y="248422"/>
                </a:lnTo>
                <a:lnTo>
                  <a:pt x="1122027" y="195729"/>
                </a:lnTo>
                <a:lnTo>
                  <a:pt x="1106614" y="149430"/>
                </a:lnTo>
                <a:lnTo>
                  <a:pt x="1085848" y="109473"/>
                </a:lnTo>
                <a:lnTo>
                  <a:pt x="1060196" y="75806"/>
                </a:lnTo>
                <a:lnTo>
                  <a:pt x="1030126" y="48377"/>
                </a:lnTo>
                <a:lnTo>
                  <a:pt x="996105" y="27134"/>
                </a:lnTo>
                <a:lnTo>
                  <a:pt x="958602" y="12025"/>
                </a:lnTo>
                <a:lnTo>
                  <a:pt x="918084" y="2997"/>
                </a:lnTo>
                <a:lnTo>
                  <a:pt x="875020" y="0"/>
                </a:lnTo>
                <a:close/>
              </a:path>
              <a:path w="1135380" h="875029">
                <a:moveTo>
                  <a:pt x="518666" y="459169"/>
                </a:moveTo>
                <a:lnTo>
                  <a:pt x="346544" y="459169"/>
                </a:lnTo>
                <a:lnTo>
                  <a:pt x="344135" y="491157"/>
                </a:lnTo>
                <a:lnTo>
                  <a:pt x="336728" y="525196"/>
                </a:lnTo>
                <a:lnTo>
                  <a:pt x="305821" y="596456"/>
                </a:lnTo>
                <a:lnTo>
                  <a:pt x="281776" y="632194"/>
                </a:lnTo>
                <a:lnTo>
                  <a:pt x="251639" y="667014"/>
                </a:lnTo>
                <a:lnTo>
                  <a:pt x="215135" y="700174"/>
                </a:lnTo>
                <a:lnTo>
                  <a:pt x="171993" y="730933"/>
                </a:lnTo>
                <a:lnTo>
                  <a:pt x="121939" y="758548"/>
                </a:lnTo>
                <a:lnTo>
                  <a:pt x="64699" y="782277"/>
                </a:lnTo>
                <a:lnTo>
                  <a:pt x="0" y="801378"/>
                </a:lnTo>
                <a:lnTo>
                  <a:pt x="17329" y="875020"/>
                </a:lnTo>
                <a:lnTo>
                  <a:pt x="69012" y="865225"/>
                </a:lnTo>
                <a:lnTo>
                  <a:pt x="118588" y="851851"/>
                </a:lnTo>
                <a:lnTo>
                  <a:pt x="165953" y="835090"/>
                </a:lnTo>
                <a:lnTo>
                  <a:pt x="211005" y="815134"/>
                </a:lnTo>
                <a:lnTo>
                  <a:pt x="253641" y="792175"/>
                </a:lnTo>
                <a:lnTo>
                  <a:pt x="293760" y="766404"/>
                </a:lnTo>
                <a:lnTo>
                  <a:pt x="331258" y="738012"/>
                </a:lnTo>
                <a:lnTo>
                  <a:pt x="366033" y="707191"/>
                </a:lnTo>
                <a:lnTo>
                  <a:pt x="397982" y="674133"/>
                </a:lnTo>
                <a:lnTo>
                  <a:pt x="427004" y="639030"/>
                </a:lnTo>
                <a:lnTo>
                  <a:pt x="452995" y="602073"/>
                </a:lnTo>
                <a:lnTo>
                  <a:pt x="475853" y="563454"/>
                </a:lnTo>
                <a:lnTo>
                  <a:pt x="495475" y="523364"/>
                </a:lnTo>
                <a:lnTo>
                  <a:pt x="511760" y="481995"/>
                </a:lnTo>
                <a:lnTo>
                  <a:pt x="518666" y="459169"/>
                </a:lnTo>
                <a:close/>
              </a:path>
              <a:path w="1135380" h="875029">
                <a:moveTo>
                  <a:pt x="281562" y="0"/>
                </a:moveTo>
                <a:lnTo>
                  <a:pt x="238303" y="4534"/>
                </a:lnTo>
                <a:lnTo>
                  <a:pt x="197024" y="17597"/>
                </a:lnTo>
                <a:lnTo>
                  <a:pt x="158893" y="38376"/>
                </a:lnTo>
                <a:lnTo>
                  <a:pt x="125077" y="66059"/>
                </a:lnTo>
                <a:lnTo>
                  <a:pt x="96743" y="99833"/>
                </a:lnTo>
                <a:lnTo>
                  <a:pt x="75060" y="138887"/>
                </a:lnTo>
                <a:lnTo>
                  <a:pt x="61193" y="182408"/>
                </a:lnTo>
                <a:lnTo>
                  <a:pt x="56312" y="229584"/>
                </a:lnTo>
                <a:lnTo>
                  <a:pt x="60696" y="277883"/>
                </a:lnTo>
                <a:lnTo>
                  <a:pt x="73188" y="321244"/>
                </a:lnTo>
                <a:lnTo>
                  <a:pt x="92802" y="359407"/>
                </a:lnTo>
                <a:lnTo>
                  <a:pt x="118550" y="392112"/>
                </a:lnTo>
                <a:lnTo>
                  <a:pt x="149444" y="419099"/>
                </a:lnTo>
                <a:lnTo>
                  <a:pt x="184497" y="440109"/>
                </a:lnTo>
                <a:lnTo>
                  <a:pt x="222721" y="454880"/>
                </a:lnTo>
                <a:lnTo>
                  <a:pt x="263128" y="463154"/>
                </a:lnTo>
                <a:lnTo>
                  <a:pt x="304732" y="464670"/>
                </a:lnTo>
                <a:lnTo>
                  <a:pt x="346544" y="459169"/>
                </a:lnTo>
                <a:lnTo>
                  <a:pt x="518666" y="459169"/>
                </a:lnTo>
                <a:lnTo>
                  <a:pt x="524604" y="439538"/>
                </a:lnTo>
                <a:lnTo>
                  <a:pt x="533906" y="396186"/>
                </a:lnTo>
                <a:lnTo>
                  <a:pt x="539562" y="352130"/>
                </a:lnTo>
                <a:lnTo>
                  <a:pt x="541470" y="307561"/>
                </a:lnTo>
                <a:lnTo>
                  <a:pt x="538169" y="248422"/>
                </a:lnTo>
                <a:lnTo>
                  <a:pt x="528579" y="195729"/>
                </a:lnTo>
                <a:lnTo>
                  <a:pt x="513166" y="149430"/>
                </a:lnTo>
                <a:lnTo>
                  <a:pt x="492400" y="109473"/>
                </a:lnTo>
                <a:lnTo>
                  <a:pt x="466747" y="75806"/>
                </a:lnTo>
                <a:lnTo>
                  <a:pt x="436676" y="48377"/>
                </a:lnTo>
                <a:lnTo>
                  <a:pt x="402654" y="27134"/>
                </a:lnTo>
                <a:lnTo>
                  <a:pt x="365149" y="12025"/>
                </a:lnTo>
                <a:lnTo>
                  <a:pt x="324629" y="2997"/>
                </a:lnTo>
                <a:lnTo>
                  <a:pt x="281562" y="0"/>
                </a:lnTo>
                <a:close/>
              </a:path>
            </a:pathLst>
          </a:custGeom>
          <a:solidFill>
            <a:srgbClr val="CAD1D2"/>
          </a:solidFill>
        </p:spPr>
        <p:txBody>
          <a:bodyPr wrap="square" lIns="0" tIns="0" rIns="0" bIns="0" rtlCol="0"/>
          <a:lstStyle/>
          <a:p>
            <a:endParaRPr sz="1092" b="0" i="0">
              <a:solidFill>
                <a:schemeClr val="accent2"/>
              </a:solidFill>
              <a:latin typeface="Calibre" panose="020B0503030202060203" pitchFamily="34" charset="77"/>
            </a:endParaRPr>
          </a:p>
        </p:txBody>
      </p:sp>
      <p:sp>
        <p:nvSpPr>
          <p:cNvPr id="14" name="TextBox 13">
            <a:extLst>
              <a:ext uri="{FF2B5EF4-FFF2-40B4-BE49-F238E27FC236}">
                <a16:creationId xmlns:a16="http://schemas.microsoft.com/office/drawing/2014/main" id="{1A4E8BEF-6622-4062-86F9-CE4DE20D0529}"/>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15" name="TextBox 14">
            <a:extLst>
              <a:ext uri="{FF2B5EF4-FFF2-40B4-BE49-F238E27FC236}">
                <a16:creationId xmlns:a16="http://schemas.microsoft.com/office/drawing/2014/main" id="{68AB1674-9492-4197-834A-32CF410DC24A}"/>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124077027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ext No. 1">
    <p:bg>
      <p:bgPr>
        <a:solidFill>
          <a:schemeClr val="tx1"/>
        </a:solidFill>
        <a:effectLst/>
      </p:bgPr>
    </p:bg>
    <p:spTree>
      <p:nvGrpSpPr>
        <p:cNvPr id="1" name=""/>
        <p:cNvGrpSpPr/>
        <p:nvPr/>
      </p:nvGrpSpPr>
      <p:grpSpPr>
        <a:xfrm>
          <a:off x="0" y="0"/>
          <a:ext cx="0" cy="0"/>
          <a:chOff x="0" y="0"/>
          <a:chExt cx="0" cy="0"/>
        </a:xfrm>
      </p:grpSpPr>
      <p:sp>
        <p:nvSpPr>
          <p:cNvPr id="20" name="Text Placeholder 14">
            <a:extLst>
              <a:ext uri="{FF2B5EF4-FFF2-40B4-BE49-F238E27FC236}">
                <a16:creationId xmlns:a16="http://schemas.microsoft.com/office/drawing/2014/main" id="{8546D87C-2B93-704D-87D6-29E80BEE7F1A}"/>
              </a:ext>
            </a:extLst>
          </p:cNvPr>
          <p:cNvSpPr>
            <a:spLocks noGrp="1"/>
          </p:cNvSpPr>
          <p:nvPr>
            <p:ph type="body" sz="quarter" idx="30" hasCustomPrompt="1"/>
          </p:nvPr>
        </p:nvSpPr>
        <p:spPr>
          <a:xfrm>
            <a:off x="1536704" y="4969531"/>
            <a:ext cx="10142534" cy="650816"/>
          </a:xfrm>
          <a:prstGeom prst="rect">
            <a:avLst/>
          </a:prstGeom>
        </p:spPr>
        <p:txBody>
          <a:bodyPr/>
          <a:lstStyle>
            <a:lvl1pPr algn="l">
              <a:lnSpc>
                <a:spcPts val="2971"/>
              </a:lnSpc>
              <a:defRPr lang="en-US" sz="12000" kern="1200" spc="42" baseline="0" dirty="0">
                <a:solidFill>
                  <a:srgbClr val="CAD1D2"/>
                </a:solidFill>
                <a:latin typeface="Calibre-Light"/>
                <a:ea typeface="+mn-ea"/>
                <a:cs typeface="Calibre-Light"/>
              </a:defRPr>
            </a:lvl1pPr>
          </a:lstStyle>
          <a:p>
            <a:pPr lvl="0"/>
            <a:r>
              <a:rPr lang="en-GB"/>
              <a:t>£1,004,0000p/m</a:t>
            </a:r>
            <a:endParaRPr lang="en-US"/>
          </a:p>
        </p:txBody>
      </p:sp>
      <p:cxnSp>
        <p:nvCxnSpPr>
          <p:cNvPr id="17" name="Straight Connector 16">
            <a:extLst>
              <a:ext uri="{FF2B5EF4-FFF2-40B4-BE49-F238E27FC236}">
                <a16:creationId xmlns:a16="http://schemas.microsoft.com/office/drawing/2014/main" id="{B158D830-F1AA-43AE-93A1-33D9E775437C}"/>
              </a:ext>
            </a:extLst>
          </p:cNvPr>
          <p:cNvCxnSpPr>
            <a:cxnSpLocks/>
          </p:cNvCxnSpPr>
          <p:nvPr userDrawn="1"/>
        </p:nvCxnSpPr>
        <p:spPr>
          <a:xfrm>
            <a:off x="922338" y="1712686"/>
            <a:ext cx="0" cy="3538766"/>
          </a:xfrm>
          <a:prstGeom prst="line">
            <a:avLst/>
          </a:prstGeom>
          <a:ln w="50800">
            <a:solidFill>
              <a:srgbClr val="17E891"/>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D97178FD-4744-484F-9480-31F8AEE60AFF}"/>
              </a:ext>
            </a:extLst>
          </p:cNvPr>
          <p:cNvSpPr>
            <a:spLocks noGrp="1"/>
          </p:cNvSpPr>
          <p:nvPr>
            <p:ph type="body" sz="quarter" idx="34"/>
          </p:nvPr>
        </p:nvSpPr>
        <p:spPr>
          <a:xfrm>
            <a:off x="1536700" y="1601788"/>
            <a:ext cx="4508500" cy="1149350"/>
          </a:xfrm>
        </p:spPr>
        <p:txBody>
          <a:bodyPr/>
          <a:lstStyle>
            <a:lvl1pPr>
              <a:defRPr>
                <a:solidFill>
                  <a:srgbClr val="CAD1D2"/>
                </a:solidFill>
              </a:defRPr>
            </a:lvl1pPr>
            <a:lvl2pPr>
              <a:defRPr>
                <a:solidFill>
                  <a:srgbClr val="CAD1D2"/>
                </a:solidFill>
              </a:defRPr>
            </a:lvl2pPr>
            <a:lvl3pPr>
              <a:defRPr>
                <a:solidFill>
                  <a:srgbClr val="CAD1D2"/>
                </a:solidFill>
              </a:defRPr>
            </a:lvl3pPr>
            <a:lvl4pPr>
              <a:buClr>
                <a:schemeClr val="bg1"/>
              </a:buClr>
              <a:defRPr>
                <a:solidFill>
                  <a:srgbClr val="CAD1D2"/>
                </a:solidFill>
              </a:defRPr>
            </a:lvl4pPr>
            <a:lvl5pPr>
              <a:defRPr>
                <a:solidFill>
                  <a:srgbClr val="CAD1D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Box 8">
            <a:extLst>
              <a:ext uri="{FF2B5EF4-FFF2-40B4-BE49-F238E27FC236}">
                <a16:creationId xmlns:a16="http://schemas.microsoft.com/office/drawing/2014/main" id="{A912BE8A-B929-433E-BD03-CC8DBBEDE67B}"/>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2024 CBRE, Inc.</a:t>
            </a:r>
          </a:p>
        </p:txBody>
      </p:sp>
      <p:sp>
        <p:nvSpPr>
          <p:cNvPr id="10" name="TextBox 9">
            <a:extLst>
              <a:ext uri="{FF2B5EF4-FFF2-40B4-BE49-F238E27FC236}">
                <a16:creationId xmlns:a16="http://schemas.microsoft.com/office/drawing/2014/main" id="{8043A06C-F7F1-4C24-B615-6BA883809D88}"/>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348284301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ext No. 2">
    <p:bg>
      <p:bgPr>
        <a:solidFill>
          <a:schemeClr val="tx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B158D830-F1AA-43AE-93A1-33D9E775437C}"/>
              </a:ext>
            </a:extLst>
          </p:cNvPr>
          <p:cNvCxnSpPr>
            <a:cxnSpLocks/>
          </p:cNvCxnSpPr>
          <p:nvPr/>
        </p:nvCxnSpPr>
        <p:spPr>
          <a:xfrm flipV="1">
            <a:off x="1023938" y="3093899"/>
            <a:ext cx="10142539" cy="1"/>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2" name="Text Placeholder 14">
            <a:extLst>
              <a:ext uri="{FF2B5EF4-FFF2-40B4-BE49-F238E27FC236}">
                <a16:creationId xmlns:a16="http://schemas.microsoft.com/office/drawing/2014/main" id="{C172DE9B-13AA-4E87-8426-7B7B0BD7AA01}"/>
              </a:ext>
            </a:extLst>
          </p:cNvPr>
          <p:cNvSpPr>
            <a:spLocks noGrp="1"/>
          </p:cNvSpPr>
          <p:nvPr>
            <p:ph type="body" sz="quarter" idx="30" hasCustomPrompt="1"/>
          </p:nvPr>
        </p:nvSpPr>
        <p:spPr>
          <a:xfrm>
            <a:off x="1023938" y="3873428"/>
            <a:ext cx="10210089" cy="1199953"/>
          </a:xfrm>
          <a:prstGeom prst="rect">
            <a:avLst/>
          </a:prstGeom>
        </p:spPr>
        <p:txBody>
          <a:bodyPr anchor="ctr"/>
          <a:lstStyle>
            <a:lvl1pPr algn="r">
              <a:lnSpc>
                <a:spcPct val="100000"/>
              </a:lnSpc>
              <a:spcAft>
                <a:spcPts val="0"/>
              </a:spcAft>
              <a:defRPr lang="en-US" sz="28000" kern="1200" spc="-154" dirty="0">
                <a:solidFill>
                  <a:srgbClr val="CCCDCB"/>
                </a:solidFill>
                <a:latin typeface="Calibre-Light"/>
                <a:ea typeface="+mn-ea"/>
                <a:cs typeface="Calibre-Light"/>
              </a:defRPr>
            </a:lvl1pPr>
          </a:lstStyle>
          <a:p>
            <a:pPr lvl="0"/>
            <a:r>
              <a:rPr lang="en-GB"/>
              <a:t>45K</a:t>
            </a:r>
            <a:endParaRPr lang="en-US"/>
          </a:p>
        </p:txBody>
      </p:sp>
      <p:cxnSp>
        <p:nvCxnSpPr>
          <p:cNvPr id="13" name="Straight Connector 12">
            <a:extLst>
              <a:ext uri="{FF2B5EF4-FFF2-40B4-BE49-F238E27FC236}">
                <a16:creationId xmlns:a16="http://schemas.microsoft.com/office/drawing/2014/main" id="{A9F57267-6257-4906-B429-8DBD08BB396D}"/>
              </a:ext>
            </a:extLst>
          </p:cNvPr>
          <p:cNvCxnSpPr>
            <a:cxnSpLocks/>
          </p:cNvCxnSpPr>
          <p:nvPr userDrawn="1"/>
        </p:nvCxnSpPr>
        <p:spPr>
          <a:xfrm flipV="1">
            <a:off x="1023938" y="3084373"/>
            <a:ext cx="10142539" cy="1"/>
          </a:xfrm>
          <a:prstGeom prst="line">
            <a:avLst/>
          </a:prstGeom>
          <a:ln w="50800">
            <a:solidFill>
              <a:srgbClr val="17E89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446F7BD-D621-4658-8FD4-E7F7670762AE}"/>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2024 CBRE, Inc.</a:t>
            </a:r>
          </a:p>
        </p:txBody>
      </p:sp>
      <p:sp>
        <p:nvSpPr>
          <p:cNvPr id="10" name="TextBox 9">
            <a:extLst>
              <a:ext uri="{FF2B5EF4-FFF2-40B4-BE49-F238E27FC236}">
                <a16:creationId xmlns:a16="http://schemas.microsoft.com/office/drawing/2014/main" id="{FEDB3B94-AC59-415F-B266-7727818737D8}"/>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
        <p:nvSpPr>
          <p:cNvPr id="18" name="Text Placeholder 17">
            <a:extLst>
              <a:ext uri="{FF2B5EF4-FFF2-40B4-BE49-F238E27FC236}">
                <a16:creationId xmlns:a16="http://schemas.microsoft.com/office/drawing/2014/main" id="{D97178FD-4744-484F-9480-31F8AEE60AFF}"/>
              </a:ext>
            </a:extLst>
          </p:cNvPr>
          <p:cNvSpPr>
            <a:spLocks noGrp="1"/>
          </p:cNvSpPr>
          <p:nvPr>
            <p:ph type="body" sz="quarter" idx="34"/>
          </p:nvPr>
        </p:nvSpPr>
        <p:spPr>
          <a:xfrm>
            <a:off x="1023938" y="1598512"/>
            <a:ext cx="3484562" cy="1149350"/>
          </a:xfrm>
        </p:spPr>
        <p:txBody>
          <a:bodyPr/>
          <a:lstStyle>
            <a:lvl1pPr>
              <a:defRPr>
                <a:solidFill>
                  <a:srgbClr val="CAD1D2"/>
                </a:solidFill>
              </a:defRPr>
            </a:lvl1pPr>
            <a:lvl2pPr>
              <a:defRPr>
                <a:solidFill>
                  <a:srgbClr val="CAD1D2"/>
                </a:solidFill>
              </a:defRPr>
            </a:lvl2pPr>
            <a:lvl3pPr>
              <a:defRPr>
                <a:solidFill>
                  <a:srgbClr val="CAD1D2"/>
                </a:solidFill>
              </a:defRPr>
            </a:lvl3pPr>
            <a:lvl4pPr>
              <a:buClr>
                <a:schemeClr val="bg1"/>
              </a:buClr>
              <a:defRPr>
                <a:solidFill>
                  <a:srgbClr val="CAD1D2"/>
                </a:solidFill>
              </a:defRPr>
            </a:lvl4pPr>
            <a:lvl5pPr>
              <a:defRPr>
                <a:solidFill>
                  <a:srgbClr val="CAD1D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8505217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Full Page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42EDB4F2-7D75-4BAC-93D5-85009027436B}"/>
              </a:ext>
            </a:extLst>
          </p:cNvPr>
          <p:cNvSpPr>
            <a:spLocks noGrp="1"/>
          </p:cNvSpPr>
          <p:nvPr>
            <p:ph type="pic" sz="quarter" idx="10"/>
          </p:nvPr>
        </p:nvSpPr>
        <p:spPr>
          <a:xfrm>
            <a:off x="-7412" y="0"/>
            <a:ext cx="12199412" cy="6858000"/>
          </a:xfrm>
          <a:solidFill>
            <a:schemeClr val="accent6"/>
          </a:solidFill>
        </p:spPr>
        <p:txBody>
          <a:bodyPr/>
          <a:lstStyle/>
          <a:p>
            <a:r>
              <a:rPr lang="en-US"/>
              <a:t>Click icon to add picture</a:t>
            </a:r>
            <a:endParaRPr lang="en-GB"/>
          </a:p>
        </p:txBody>
      </p:sp>
      <p:sp>
        <p:nvSpPr>
          <p:cNvPr id="6" name="TextBox 5">
            <a:extLst>
              <a:ext uri="{FF2B5EF4-FFF2-40B4-BE49-F238E27FC236}">
                <a16:creationId xmlns:a16="http://schemas.microsoft.com/office/drawing/2014/main" id="{EF6DEBCB-FF96-4C09-8941-8A58FB267920}"/>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7" name="TextBox 6">
            <a:extLst>
              <a:ext uri="{FF2B5EF4-FFF2-40B4-BE49-F238E27FC236}">
                <a16:creationId xmlns:a16="http://schemas.microsoft.com/office/drawing/2014/main" id="{53C6E8C5-BE2F-4571-ADEA-9668A775F670}"/>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331848261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hoto Layout 1">
    <p:bg>
      <p:bgPr>
        <a:solidFill>
          <a:schemeClr val="bg1"/>
        </a:solidFill>
        <a:effectLst/>
      </p:bgPr>
    </p:bg>
    <p:spTree>
      <p:nvGrpSpPr>
        <p:cNvPr id="1" name=""/>
        <p:cNvGrpSpPr/>
        <p:nvPr/>
      </p:nvGrpSpPr>
      <p:grpSpPr>
        <a:xfrm>
          <a:off x="0" y="0"/>
          <a:ext cx="0" cy="0"/>
          <a:chOff x="0" y="0"/>
          <a:chExt cx="0" cy="0"/>
        </a:xfrm>
      </p:grpSpPr>
      <p:sp>
        <p:nvSpPr>
          <p:cNvPr id="5" name="Picture Placeholder 11">
            <a:extLst>
              <a:ext uri="{FF2B5EF4-FFF2-40B4-BE49-F238E27FC236}">
                <a16:creationId xmlns:a16="http://schemas.microsoft.com/office/drawing/2014/main" id="{8309D712-B377-474B-A408-4582377100CE}"/>
              </a:ext>
            </a:extLst>
          </p:cNvPr>
          <p:cNvSpPr>
            <a:spLocks noGrp="1"/>
          </p:cNvSpPr>
          <p:nvPr>
            <p:ph type="pic" sz="quarter" idx="11"/>
          </p:nvPr>
        </p:nvSpPr>
        <p:spPr>
          <a:xfrm>
            <a:off x="511175" y="476250"/>
            <a:ext cx="9118600" cy="5905500"/>
          </a:xfrm>
          <a:noFill/>
        </p:spPr>
        <p:txBody>
          <a:bodyPr/>
          <a:lstStyle/>
          <a:p>
            <a:r>
              <a:rPr lang="en-US"/>
              <a:t>Click icon to add picture</a:t>
            </a:r>
            <a:endParaRPr lang="en-GB"/>
          </a:p>
        </p:txBody>
      </p:sp>
      <p:sp>
        <p:nvSpPr>
          <p:cNvPr id="4" name="Text Placeholder 4">
            <a:extLst>
              <a:ext uri="{FF2B5EF4-FFF2-40B4-BE49-F238E27FC236}">
                <a16:creationId xmlns:a16="http://schemas.microsoft.com/office/drawing/2014/main" id="{23C71C2B-9FCD-4D8D-B7C2-9683DCE53CC2}"/>
              </a:ext>
            </a:extLst>
          </p:cNvPr>
          <p:cNvSpPr>
            <a:spLocks noGrp="1"/>
          </p:cNvSpPr>
          <p:nvPr>
            <p:ph type="body" sz="quarter" idx="46" hasCustomPrompt="1"/>
          </p:nvPr>
        </p:nvSpPr>
        <p:spPr>
          <a:xfrm>
            <a:off x="10244138" y="4102100"/>
            <a:ext cx="1435100" cy="2279650"/>
          </a:xfrm>
        </p:spPr>
        <p:txBody>
          <a:bodyPr anchor="b"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Tree>
    <p:extLst>
      <p:ext uri="{BB962C8B-B14F-4D97-AF65-F5344CB8AC3E}">
        <p14:creationId xmlns:p14="http://schemas.microsoft.com/office/powerpoint/2010/main" val="363030953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Layout 2">
    <p:bg>
      <p:bgPr>
        <a:solidFill>
          <a:schemeClr val="bg1"/>
        </a:solidFill>
        <a:effectLst/>
      </p:bgPr>
    </p:bg>
    <p:spTree>
      <p:nvGrpSpPr>
        <p:cNvPr id="1" name=""/>
        <p:cNvGrpSpPr/>
        <p:nvPr/>
      </p:nvGrpSpPr>
      <p:grpSpPr>
        <a:xfrm>
          <a:off x="0" y="0"/>
          <a:ext cx="0" cy="0"/>
          <a:chOff x="0" y="0"/>
          <a:chExt cx="0" cy="0"/>
        </a:xfrm>
      </p:grpSpPr>
      <p:sp>
        <p:nvSpPr>
          <p:cNvPr id="7" name="Picture Placeholder 11">
            <a:extLst>
              <a:ext uri="{FF2B5EF4-FFF2-40B4-BE49-F238E27FC236}">
                <a16:creationId xmlns:a16="http://schemas.microsoft.com/office/drawing/2014/main" id="{C073FC8F-6DFD-4BD3-9E2B-3B5872A8D397}"/>
              </a:ext>
            </a:extLst>
          </p:cNvPr>
          <p:cNvSpPr>
            <a:spLocks noGrp="1"/>
          </p:cNvSpPr>
          <p:nvPr>
            <p:ph type="pic" sz="quarter" idx="13"/>
          </p:nvPr>
        </p:nvSpPr>
        <p:spPr>
          <a:xfrm>
            <a:off x="6657974" y="0"/>
            <a:ext cx="5534025" cy="6858000"/>
          </a:xfrm>
          <a:noFill/>
        </p:spPr>
        <p:txBody>
          <a:bodyPr/>
          <a:lstStyle/>
          <a:p>
            <a:r>
              <a:rPr lang="en-US"/>
              <a:t>Click icon to add picture</a:t>
            </a:r>
            <a:endParaRPr lang="en-GB"/>
          </a:p>
        </p:txBody>
      </p:sp>
      <p:sp>
        <p:nvSpPr>
          <p:cNvPr id="5" name="Picture Placeholder 11">
            <a:extLst>
              <a:ext uri="{FF2B5EF4-FFF2-40B4-BE49-F238E27FC236}">
                <a16:creationId xmlns:a16="http://schemas.microsoft.com/office/drawing/2014/main" id="{8309D712-B377-474B-A408-4582377100CE}"/>
              </a:ext>
            </a:extLst>
          </p:cNvPr>
          <p:cNvSpPr>
            <a:spLocks noGrp="1"/>
          </p:cNvSpPr>
          <p:nvPr>
            <p:ph type="pic" sz="quarter" idx="11"/>
          </p:nvPr>
        </p:nvSpPr>
        <p:spPr>
          <a:xfrm>
            <a:off x="511175" y="2227262"/>
            <a:ext cx="2971800" cy="4154487"/>
          </a:xfrm>
          <a:noFill/>
        </p:spPr>
        <p:txBody>
          <a:bodyPr/>
          <a:lstStyle/>
          <a:p>
            <a:r>
              <a:rPr lang="en-US"/>
              <a:t>Click icon to add picture</a:t>
            </a:r>
            <a:endParaRPr lang="en-GB"/>
          </a:p>
        </p:txBody>
      </p:sp>
      <p:sp>
        <p:nvSpPr>
          <p:cNvPr id="6" name="Text Placeholder 4">
            <a:extLst>
              <a:ext uri="{FF2B5EF4-FFF2-40B4-BE49-F238E27FC236}">
                <a16:creationId xmlns:a16="http://schemas.microsoft.com/office/drawing/2014/main" id="{92DCA525-6B86-4965-A4BC-4BA9D4F24063}"/>
              </a:ext>
            </a:extLst>
          </p:cNvPr>
          <p:cNvSpPr>
            <a:spLocks noGrp="1"/>
          </p:cNvSpPr>
          <p:nvPr>
            <p:ph type="body" sz="quarter" idx="46" hasCustomPrompt="1"/>
          </p:nvPr>
        </p:nvSpPr>
        <p:spPr>
          <a:xfrm>
            <a:off x="520698" y="352425"/>
            <a:ext cx="1435100" cy="1773238"/>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
        <p:nvSpPr>
          <p:cNvPr id="8" name="Text Placeholder 4">
            <a:extLst>
              <a:ext uri="{FF2B5EF4-FFF2-40B4-BE49-F238E27FC236}">
                <a16:creationId xmlns:a16="http://schemas.microsoft.com/office/drawing/2014/main" id="{39C2879B-0D83-4B01-8365-B8DF1EB0A025}"/>
              </a:ext>
            </a:extLst>
          </p:cNvPr>
          <p:cNvSpPr>
            <a:spLocks noGrp="1"/>
          </p:cNvSpPr>
          <p:nvPr>
            <p:ph type="body" sz="quarter" idx="47" hasCustomPrompt="1"/>
          </p:nvPr>
        </p:nvSpPr>
        <p:spPr>
          <a:xfrm>
            <a:off x="2047875" y="352425"/>
            <a:ext cx="1435100" cy="1773238"/>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Tree>
    <p:extLst>
      <p:ext uri="{BB962C8B-B14F-4D97-AF65-F5344CB8AC3E}">
        <p14:creationId xmlns:p14="http://schemas.microsoft.com/office/powerpoint/2010/main" val="2750844959"/>
      </p:ext>
    </p:extLst>
  </p:cSld>
  <p:clrMapOvr>
    <a:masterClrMapping/>
  </p:clrMapOvr>
  <p:extLst>
    <p:ext uri="{DCECCB84-F9BA-43D5-87BE-67443E8EF086}">
      <p15:sldGuideLst xmlns:p15="http://schemas.microsoft.com/office/powerpoint/2012/main">
        <p15:guide id="1" orient="horz" pos="30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ext Cover 2">
    <p:bg>
      <p:bgPr>
        <a:solidFill>
          <a:schemeClr val="accent6"/>
        </a:solidFill>
        <a:effectLst/>
      </p:bgPr>
    </p:bg>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887340F4-9434-47C2-9CB2-6C0ACFBEFAB5}"/>
              </a:ext>
            </a:extLst>
          </p:cNvPr>
          <p:cNvCxnSpPr>
            <a:cxnSpLocks/>
          </p:cNvCxnSpPr>
          <p:nvPr userDrawn="1"/>
        </p:nvCxnSpPr>
        <p:spPr>
          <a:xfrm>
            <a:off x="3584575" y="578124"/>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5" y="1554448"/>
            <a:ext cx="1328469"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US" sz="1050" b="1" kern="1200" spc="-3" dirty="0" err="1" smtClean="0">
                <a:solidFill>
                  <a:srgbClr val="FFFFFF"/>
                </a:solidFill>
                <a:latin typeface="Space Mono" panose="02000509040000020004" pitchFamily="49" charset="0"/>
                <a:ea typeface="+mn-ea"/>
                <a:cs typeface="Space Mono" panose="02000509040000020004" pitchFamily="49" charset="0"/>
              </a:defRPr>
            </a:lvl1pPr>
          </a:lstStyle>
          <a:p>
            <a:r>
              <a:rPr lang="en-GB"/>
              <a:t>DATE</a:t>
            </a: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3593749" y="1524787"/>
            <a:ext cx="7021090" cy="3024184"/>
          </a:xfrm>
        </p:spPr>
        <p:txBody>
          <a:bodyPr/>
          <a:lstStyle>
            <a:lvl1pPr>
              <a:lnSpc>
                <a:spcPct val="80000"/>
              </a:lnSpc>
              <a:defRPr sz="9600">
                <a:solidFill>
                  <a:schemeClr val="bg1"/>
                </a:solidFill>
              </a:defRPr>
            </a:lvl1pPr>
          </a:lstStyle>
          <a:p>
            <a:r>
              <a:rPr lang="en-GB"/>
              <a:t>Click to edit Master title style</a:t>
            </a:r>
          </a:p>
        </p:txBody>
      </p:sp>
      <p:sp>
        <p:nvSpPr>
          <p:cNvPr id="22" name="Rectangle 21">
            <a:extLst>
              <a:ext uri="{FF2B5EF4-FFF2-40B4-BE49-F238E27FC236}">
                <a16:creationId xmlns:a16="http://schemas.microsoft.com/office/drawing/2014/main" id="{51402F92-C298-4C9D-B165-225CA6300EEC}"/>
              </a:ext>
            </a:extLst>
          </p:cNvPr>
          <p:cNvSpPr/>
          <p:nvPr userDrawn="1"/>
        </p:nvSpPr>
        <p:spPr>
          <a:xfrm>
            <a:off x="0" y="0"/>
            <a:ext cx="3584575" cy="1091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6"/>
              </a:solidFill>
            </a:endParaRPr>
          </a:p>
        </p:txBody>
      </p:sp>
      <p:sp>
        <p:nvSpPr>
          <p:cNvPr id="9" name="CBRE Vector Logo">
            <a:extLst>
              <a:ext uri="{FF2B5EF4-FFF2-40B4-BE49-F238E27FC236}">
                <a16:creationId xmlns:a16="http://schemas.microsoft.com/office/drawing/2014/main" id="{279FC41B-1FE1-46E6-8871-A2282DFC12FB}"/>
              </a:ext>
            </a:extLst>
          </p:cNvPr>
          <p:cNvSpPr>
            <a:spLocks noChangeAspect="1"/>
          </p:cNvSpPr>
          <p:nvPr userDrawn="1"/>
        </p:nvSpPr>
        <p:spPr>
          <a:xfrm>
            <a:off x="10755020" y="458788"/>
            <a:ext cx="924217" cy="229615"/>
          </a:xfrm>
          <a:custGeom>
            <a:avLst/>
            <a:gdLst>
              <a:gd name="connsiteX0" fmla="*/ 306851 w 924217"/>
              <a:gd name="connsiteY0" fmla="*/ 137455 h 229615"/>
              <a:gd name="connsiteX1" fmla="*/ 306851 w 924217"/>
              <a:gd name="connsiteY1" fmla="*/ 175680 h 229615"/>
              <a:gd name="connsiteX2" fmla="*/ 383040 w 924217"/>
              <a:gd name="connsiteY2" fmla="*/ 175680 h 229615"/>
              <a:gd name="connsiteX3" fmla="*/ 402153 w 924217"/>
              <a:gd name="connsiteY3" fmla="*/ 156305 h 229615"/>
              <a:gd name="connsiteX4" fmla="*/ 385134 w 924217"/>
              <a:gd name="connsiteY4" fmla="*/ 137455 h 229615"/>
              <a:gd name="connsiteX5" fmla="*/ 384873 w 924217"/>
              <a:gd name="connsiteY5" fmla="*/ 137455 h 229615"/>
              <a:gd name="connsiteX6" fmla="*/ 384611 w 924217"/>
              <a:gd name="connsiteY6" fmla="*/ 137455 h 229615"/>
              <a:gd name="connsiteX7" fmla="*/ 539868 w 924217"/>
              <a:gd name="connsiteY7" fmla="*/ 50530 h 229615"/>
              <a:gd name="connsiteX8" fmla="*/ 539868 w 924217"/>
              <a:gd name="connsiteY8" fmla="*/ 87185 h 229615"/>
              <a:gd name="connsiteX9" fmla="*/ 618414 w 924217"/>
              <a:gd name="connsiteY9" fmla="*/ 87185 h 229615"/>
              <a:gd name="connsiteX10" fmla="*/ 636479 w 924217"/>
              <a:gd name="connsiteY10" fmla="*/ 71476 h 229615"/>
              <a:gd name="connsiteX11" fmla="*/ 636218 w 924217"/>
              <a:gd name="connsiteY11" fmla="*/ 71476 h 229615"/>
              <a:gd name="connsiteX12" fmla="*/ 636218 w 924217"/>
              <a:gd name="connsiteY12" fmla="*/ 66501 h 229615"/>
              <a:gd name="connsiteX13" fmla="*/ 618414 w 924217"/>
              <a:gd name="connsiteY13" fmla="*/ 50530 h 229615"/>
              <a:gd name="connsiteX14" fmla="*/ 306589 w 924217"/>
              <a:gd name="connsiteY14" fmla="*/ 49745 h 229615"/>
              <a:gd name="connsiteX15" fmla="*/ 306851 w 924217"/>
              <a:gd name="connsiteY15" fmla="*/ 87447 h 229615"/>
              <a:gd name="connsiteX16" fmla="*/ 386443 w 924217"/>
              <a:gd name="connsiteY16" fmla="*/ 87185 h 229615"/>
              <a:gd name="connsiteX17" fmla="*/ 402676 w 924217"/>
              <a:gd name="connsiteY17" fmla="*/ 68073 h 229615"/>
              <a:gd name="connsiteX18" fmla="*/ 386967 w 924217"/>
              <a:gd name="connsiteY18" fmla="*/ 49745 h 229615"/>
              <a:gd name="connsiteX19" fmla="*/ 386705 w 924217"/>
              <a:gd name="connsiteY19" fmla="*/ 49745 h 229615"/>
              <a:gd name="connsiteX20" fmla="*/ 386443 w 924217"/>
              <a:gd name="connsiteY20" fmla="*/ 49745 h 229615"/>
              <a:gd name="connsiteX21" fmla="*/ 484363 w 924217"/>
              <a:gd name="connsiteY21" fmla="*/ 261 h 229615"/>
              <a:gd name="connsiteX22" fmla="*/ 606108 w 924217"/>
              <a:gd name="connsiteY22" fmla="*/ 261 h 229615"/>
              <a:gd name="connsiteX23" fmla="*/ 688581 w 924217"/>
              <a:gd name="connsiteY23" fmla="*/ 60479 h 229615"/>
              <a:gd name="connsiteX24" fmla="*/ 654807 w 924217"/>
              <a:gd name="connsiteY24" fmla="*/ 111010 h 229615"/>
              <a:gd name="connsiteX25" fmla="*/ 687796 w 924217"/>
              <a:gd name="connsiteY25" fmla="*/ 155519 h 229615"/>
              <a:gd name="connsiteX26" fmla="*/ 687796 w 924217"/>
              <a:gd name="connsiteY26" fmla="*/ 229614 h 229615"/>
              <a:gd name="connsiteX27" fmla="*/ 633076 w 924217"/>
              <a:gd name="connsiteY27" fmla="*/ 229614 h 229615"/>
              <a:gd name="connsiteX28" fmla="*/ 633076 w 924217"/>
              <a:gd name="connsiteY28" fmla="*/ 169396 h 229615"/>
              <a:gd name="connsiteX29" fmla="*/ 601658 w 924217"/>
              <a:gd name="connsiteY29" fmla="*/ 136930 h 229615"/>
              <a:gd name="connsiteX30" fmla="*/ 540130 w 924217"/>
              <a:gd name="connsiteY30" fmla="*/ 136930 h 229615"/>
              <a:gd name="connsiteX31" fmla="*/ 540130 w 924217"/>
              <a:gd name="connsiteY31" fmla="*/ 229614 h 229615"/>
              <a:gd name="connsiteX32" fmla="*/ 484363 w 924217"/>
              <a:gd name="connsiteY32" fmla="*/ 229614 h 229615"/>
              <a:gd name="connsiteX33" fmla="*/ 722879 w 924217"/>
              <a:gd name="connsiteY33" fmla="*/ 0 h 229615"/>
              <a:gd name="connsiteX34" fmla="*/ 923955 w 924217"/>
              <a:gd name="connsiteY34" fmla="*/ 0 h 229615"/>
              <a:gd name="connsiteX35" fmla="*/ 923955 w 924217"/>
              <a:gd name="connsiteY35" fmla="*/ 50007 h 229615"/>
              <a:gd name="connsiteX36" fmla="*/ 778908 w 924217"/>
              <a:gd name="connsiteY36" fmla="*/ 50007 h 229615"/>
              <a:gd name="connsiteX37" fmla="*/ 779170 w 924217"/>
              <a:gd name="connsiteY37" fmla="*/ 86924 h 229615"/>
              <a:gd name="connsiteX38" fmla="*/ 909817 w 924217"/>
              <a:gd name="connsiteY38" fmla="*/ 86924 h 229615"/>
              <a:gd name="connsiteX39" fmla="*/ 909817 w 924217"/>
              <a:gd name="connsiteY39" fmla="*/ 137193 h 229615"/>
              <a:gd name="connsiteX40" fmla="*/ 779170 w 924217"/>
              <a:gd name="connsiteY40" fmla="*/ 137193 h 229615"/>
              <a:gd name="connsiteX41" fmla="*/ 779170 w 924217"/>
              <a:gd name="connsiteY41" fmla="*/ 177251 h 229615"/>
              <a:gd name="connsiteX42" fmla="*/ 924217 w 924217"/>
              <a:gd name="connsiteY42" fmla="*/ 177251 h 229615"/>
              <a:gd name="connsiteX43" fmla="*/ 924217 w 924217"/>
              <a:gd name="connsiteY43" fmla="*/ 229615 h 229615"/>
              <a:gd name="connsiteX44" fmla="*/ 723141 w 924217"/>
              <a:gd name="connsiteY44" fmla="*/ 229615 h 229615"/>
              <a:gd name="connsiteX45" fmla="*/ 722879 w 924217"/>
              <a:gd name="connsiteY45" fmla="*/ 0 h 229615"/>
              <a:gd name="connsiteX46" fmla="*/ 250298 w 924217"/>
              <a:gd name="connsiteY46" fmla="*/ 0 h 229615"/>
              <a:gd name="connsiteX47" fmla="*/ 369163 w 924217"/>
              <a:gd name="connsiteY47" fmla="*/ 0 h 229615"/>
              <a:gd name="connsiteX48" fmla="*/ 454254 w 924217"/>
              <a:gd name="connsiteY48" fmla="*/ 56815 h 229615"/>
              <a:gd name="connsiteX49" fmla="*/ 419956 w 924217"/>
              <a:gd name="connsiteY49" fmla="*/ 111011 h 229615"/>
              <a:gd name="connsiteX50" fmla="*/ 456611 w 924217"/>
              <a:gd name="connsiteY50" fmla="*/ 163113 h 229615"/>
              <a:gd name="connsiteX51" fmla="*/ 368902 w 924217"/>
              <a:gd name="connsiteY51" fmla="*/ 229091 h 229615"/>
              <a:gd name="connsiteX52" fmla="*/ 250298 w 924217"/>
              <a:gd name="connsiteY52" fmla="*/ 229091 h 229615"/>
              <a:gd name="connsiteX53" fmla="*/ 250298 w 924217"/>
              <a:gd name="connsiteY53" fmla="*/ 0 h 229615"/>
              <a:gd name="connsiteX54" fmla="*/ 213644 w 924217"/>
              <a:gd name="connsiteY54" fmla="*/ 0 h 229615"/>
              <a:gd name="connsiteX55" fmla="*/ 215476 w 924217"/>
              <a:gd name="connsiteY55" fmla="*/ 0 h 229615"/>
              <a:gd name="connsiteX56" fmla="*/ 215215 w 924217"/>
              <a:gd name="connsiteY56" fmla="*/ 52102 h 229615"/>
              <a:gd name="connsiteX57" fmla="*/ 213382 w 924217"/>
              <a:gd name="connsiteY57" fmla="*/ 52102 h 229615"/>
              <a:gd name="connsiteX58" fmla="*/ 109702 w 924217"/>
              <a:gd name="connsiteY58" fmla="*/ 53149 h 229615"/>
              <a:gd name="connsiteX59" fmla="*/ 54720 w 924217"/>
              <a:gd name="connsiteY59" fmla="*/ 112582 h 229615"/>
              <a:gd name="connsiteX60" fmla="*/ 111535 w 924217"/>
              <a:gd name="connsiteY60" fmla="*/ 173062 h 229615"/>
              <a:gd name="connsiteX61" fmla="*/ 213905 w 924217"/>
              <a:gd name="connsiteY61" fmla="*/ 174109 h 229615"/>
              <a:gd name="connsiteX62" fmla="*/ 216000 w 924217"/>
              <a:gd name="connsiteY62" fmla="*/ 174109 h 229615"/>
              <a:gd name="connsiteX63" fmla="*/ 215738 w 924217"/>
              <a:gd name="connsiteY63" fmla="*/ 229353 h 229615"/>
              <a:gd name="connsiteX64" fmla="*/ 213905 w 924217"/>
              <a:gd name="connsiteY64" fmla="*/ 229353 h 229615"/>
              <a:gd name="connsiteX65" fmla="*/ 145309 w 924217"/>
              <a:gd name="connsiteY65" fmla="*/ 229353 h 229615"/>
              <a:gd name="connsiteX66" fmla="*/ 126720 w 924217"/>
              <a:gd name="connsiteY66" fmla="*/ 229091 h 229615"/>
              <a:gd name="connsiteX67" fmla="*/ 64407 w 924217"/>
              <a:gd name="connsiteY67" fmla="*/ 216524 h 229615"/>
              <a:gd name="connsiteX68" fmla="*/ 1833 w 924217"/>
              <a:gd name="connsiteY68" fmla="*/ 137455 h 229615"/>
              <a:gd name="connsiteX69" fmla="*/ 0 w 924217"/>
              <a:gd name="connsiteY69" fmla="*/ 114415 h 229615"/>
              <a:gd name="connsiteX70" fmla="*/ 22516 w 924217"/>
              <a:gd name="connsiteY70" fmla="*/ 46080 h 229615"/>
              <a:gd name="connsiteX71" fmla="*/ 67811 w 924217"/>
              <a:gd name="connsiteY71" fmla="*/ 9687 h 229615"/>
              <a:gd name="connsiteX72" fmla="*/ 115462 w 924217"/>
              <a:gd name="connsiteY72" fmla="*/ 262 h 22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24217" h="229615">
                <a:moveTo>
                  <a:pt x="306851" y="137455"/>
                </a:moveTo>
                <a:lnTo>
                  <a:pt x="306851" y="175680"/>
                </a:lnTo>
                <a:lnTo>
                  <a:pt x="383040" y="175680"/>
                </a:lnTo>
                <a:cubicBezTo>
                  <a:pt x="393251" y="175680"/>
                  <a:pt x="402153" y="166778"/>
                  <a:pt x="402153" y="156305"/>
                </a:cubicBezTo>
                <a:cubicBezTo>
                  <a:pt x="402153" y="146618"/>
                  <a:pt x="394822" y="138502"/>
                  <a:pt x="385134" y="137455"/>
                </a:cubicBezTo>
                <a:lnTo>
                  <a:pt x="384873" y="137455"/>
                </a:lnTo>
                <a:lnTo>
                  <a:pt x="384611" y="137455"/>
                </a:lnTo>
                <a:close/>
                <a:moveTo>
                  <a:pt x="539868" y="50530"/>
                </a:moveTo>
                <a:lnTo>
                  <a:pt x="539868" y="87185"/>
                </a:lnTo>
                <a:lnTo>
                  <a:pt x="618414" y="87185"/>
                </a:lnTo>
                <a:cubicBezTo>
                  <a:pt x="627839" y="87185"/>
                  <a:pt x="635432" y="79068"/>
                  <a:pt x="636479" y="71476"/>
                </a:cubicBezTo>
                <a:lnTo>
                  <a:pt x="636218" y="71476"/>
                </a:lnTo>
                <a:lnTo>
                  <a:pt x="636218" y="66501"/>
                </a:lnTo>
                <a:cubicBezTo>
                  <a:pt x="635170" y="57337"/>
                  <a:pt x="627839" y="50530"/>
                  <a:pt x="618414" y="50530"/>
                </a:cubicBezTo>
                <a:close/>
                <a:moveTo>
                  <a:pt x="306589" y="49745"/>
                </a:moveTo>
                <a:lnTo>
                  <a:pt x="306851" y="87447"/>
                </a:lnTo>
                <a:lnTo>
                  <a:pt x="386443" y="87185"/>
                </a:lnTo>
                <a:cubicBezTo>
                  <a:pt x="395607" y="85876"/>
                  <a:pt x="402676" y="77236"/>
                  <a:pt x="402676" y="68073"/>
                </a:cubicBezTo>
                <a:cubicBezTo>
                  <a:pt x="402676" y="58909"/>
                  <a:pt x="396131" y="51316"/>
                  <a:pt x="386967" y="49745"/>
                </a:cubicBezTo>
                <a:lnTo>
                  <a:pt x="386705" y="49745"/>
                </a:lnTo>
                <a:lnTo>
                  <a:pt x="386443" y="49745"/>
                </a:lnTo>
                <a:close/>
                <a:moveTo>
                  <a:pt x="484363" y="261"/>
                </a:moveTo>
                <a:lnTo>
                  <a:pt x="606108" y="261"/>
                </a:lnTo>
                <a:cubicBezTo>
                  <a:pt x="645643" y="261"/>
                  <a:pt x="688319" y="10734"/>
                  <a:pt x="688581" y="60479"/>
                </a:cubicBezTo>
                <a:cubicBezTo>
                  <a:pt x="688581" y="100799"/>
                  <a:pt x="654807" y="111010"/>
                  <a:pt x="654807" y="111010"/>
                </a:cubicBezTo>
                <a:cubicBezTo>
                  <a:pt x="654807" y="111010"/>
                  <a:pt x="687796" y="121221"/>
                  <a:pt x="687796" y="155519"/>
                </a:cubicBezTo>
                <a:lnTo>
                  <a:pt x="687796" y="229614"/>
                </a:lnTo>
                <a:lnTo>
                  <a:pt x="633076" y="229614"/>
                </a:lnTo>
                <a:lnTo>
                  <a:pt x="633076" y="169396"/>
                </a:lnTo>
                <a:cubicBezTo>
                  <a:pt x="633076" y="151592"/>
                  <a:pt x="619199" y="137192"/>
                  <a:pt x="601658" y="136930"/>
                </a:cubicBezTo>
                <a:cubicBezTo>
                  <a:pt x="601658" y="136930"/>
                  <a:pt x="540130" y="136930"/>
                  <a:pt x="540130" y="136930"/>
                </a:cubicBezTo>
                <a:cubicBezTo>
                  <a:pt x="540130" y="136930"/>
                  <a:pt x="540130" y="223068"/>
                  <a:pt x="540130" y="229614"/>
                </a:cubicBezTo>
                <a:cubicBezTo>
                  <a:pt x="534370" y="229614"/>
                  <a:pt x="484363" y="229614"/>
                  <a:pt x="484363" y="229614"/>
                </a:cubicBezTo>
                <a:close/>
                <a:moveTo>
                  <a:pt x="722879" y="0"/>
                </a:moveTo>
                <a:lnTo>
                  <a:pt x="923955" y="0"/>
                </a:lnTo>
                <a:lnTo>
                  <a:pt x="923955" y="50007"/>
                </a:lnTo>
                <a:lnTo>
                  <a:pt x="778908" y="50007"/>
                </a:lnTo>
                <a:lnTo>
                  <a:pt x="779170" y="86924"/>
                </a:lnTo>
                <a:lnTo>
                  <a:pt x="909817" y="86924"/>
                </a:lnTo>
                <a:lnTo>
                  <a:pt x="909817" y="137193"/>
                </a:lnTo>
                <a:lnTo>
                  <a:pt x="779170" y="137193"/>
                </a:lnTo>
                <a:lnTo>
                  <a:pt x="779170" y="177251"/>
                </a:lnTo>
                <a:lnTo>
                  <a:pt x="924217" y="177251"/>
                </a:lnTo>
                <a:lnTo>
                  <a:pt x="924217" y="229615"/>
                </a:lnTo>
                <a:cubicBezTo>
                  <a:pt x="924217" y="229615"/>
                  <a:pt x="729948" y="229615"/>
                  <a:pt x="723141" y="229615"/>
                </a:cubicBezTo>
                <a:cubicBezTo>
                  <a:pt x="722879" y="223069"/>
                  <a:pt x="722879" y="0"/>
                  <a:pt x="722879" y="0"/>
                </a:cubicBezTo>
                <a:close/>
                <a:moveTo>
                  <a:pt x="250298" y="0"/>
                </a:moveTo>
                <a:lnTo>
                  <a:pt x="369163" y="0"/>
                </a:lnTo>
                <a:cubicBezTo>
                  <a:pt x="432785" y="0"/>
                  <a:pt x="454516" y="26444"/>
                  <a:pt x="454254" y="56815"/>
                </a:cubicBezTo>
                <a:cubicBezTo>
                  <a:pt x="454516" y="76713"/>
                  <a:pt x="449280" y="101324"/>
                  <a:pt x="419956" y="111011"/>
                </a:cubicBezTo>
                <a:cubicBezTo>
                  <a:pt x="419956" y="111011"/>
                  <a:pt x="456611" y="123316"/>
                  <a:pt x="456611" y="163113"/>
                </a:cubicBezTo>
                <a:cubicBezTo>
                  <a:pt x="456611" y="196102"/>
                  <a:pt x="433047" y="229091"/>
                  <a:pt x="368902" y="229091"/>
                </a:cubicBezTo>
                <a:cubicBezTo>
                  <a:pt x="368902" y="229091"/>
                  <a:pt x="256843" y="229091"/>
                  <a:pt x="250298" y="229091"/>
                </a:cubicBezTo>
                <a:cubicBezTo>
                  <a:pt x="250298" y="222545"/>
                  <a:pt x="250298" y="0"/>
                  <a:pt x="250298" y="0"/>
                </a:cubicBezTo>
                <a:close/>
                <a:moveTo>
                  <a:pt x="213644" y="0"/>
                </a:moveTo>
                <a:lnTo>
                  <a:pt x="215476" y="0"/>
                </a:lnTo>
                <a:lnTo>
                  <a:pt x="215215" y="52102"/>
                </a:lnTo>
                <a:lnTo>
                  <a:pt x="213382" y="52102"/>
                </a:lnTo>
                <a:cubicBezTo>
                  <a:pt x="212596" y="52102"/>
                  <a:pt x="125673" y="51055"/>
                  <a:pt x="109702" y="53149"/>
                </a:cubicBezTo>
                <a:cubicBezTo>
                  <a:pt x="76189" y="57600"/>
                  <a:pt x="54720" y="80902"/>
                  <a:pt x="54720" y="112582"/>
                </a:cubicBezTo>
                <a:cubicBezTo>
                  <a:pt x="54720" y="137978"/>
                  <a:pt x="69644" y="168873"/>
                  <a:pt x="111535" y="173062"/>
                </a:cubicBezTo>
                <a:cubicBezTo>
                  <a:pt x="137716" y="175680"/>
                  <a:pt x="213120" y="174109"/>
                  <a:pt x="213905" y="174109"/>
                </a:cubicBezTo>
                <a:lnTo>
                  <a:pt x="216000" y="174109"/>
                </a:lnTo>
                <a:lnTo>
                  <a:pt x="215738" y="229353"/>
                </a:lnTo>
                <a:lnTo>
                  <a:pt x="213905" y="229353"/>
                </a:lnTo>
                <a:cubicBezTo>
                  <a:pt x="213905" y="229353"/>
                  <a:pt x="145309" y="229353"/>
                  <a:pt x="145309" y="229353"/>
                </a:cubicBezTo>
                <a:cubicBezTo>
                  <a:pt x="145309" y="229353"/>
                  <a:pt x="126720" y="229091"/>
                  <a:pt x="126720" y="229091"/>
                </a:cubicBezTo>
                <a:cubicBezTo>
                  <a:pt x="92422" y="227258"/>
                  <a:pt x="75404" y="221498"/>
                  <a:pt x="64407" y="216524"/>
                </a:cubicBezTo>
                <a:cubicBezTo>
                  <a:pt x="31680" y="201076"/>
                  <a:pt x="8902" y="172276"/>
                  <a:pt x="1833" y="137455"/>
                </a:cubicBezTo>
                <a:cubicBezTo>
                  <a:pt x="524" y="129862"/>
                  <a:pt x="0" y="122269"/>
                  <a:pt x="0" y="114415"/>
                </a:cubicBezTo>
                <a:cubicBezTo>
                  <a:pt x="0" y="89542"/>
                  <a:pt x="7855" y="65978"/>
                  <a:pt x="22516" y="46080"/>
                </a:cubicBezTo>
                <a:cubicBezTo>
                  <a:pt x="34298" y="30371"/>
                  <a:pt x="49745" y="17804"/>
                  <a:pt x="67811" y="9687"/>
                </a:cubicBezTo>
                <a:cubicBezTo>
                  <a:pt x="86400" y="2095"/>
                  <a:pt x="104465" y="1047"/>
                  <a:pt x="115462" y="262"/>
                </a:cubicBezTo>
                <a:close/>
              </a:path>
            </a:pathLst>
          </a:custGeom>
          <a:solidFill>
            <a:schemeClr val="bg1"/>
          </a:solidFill>
          <a:ln w="2617" cap="flat">
            <a:noFill/>
            <a:prstDash val="solid"/>
            <a:miter/>
          </a:ln>
        </p:spPr>
        <p:txBody>
          <a:bodyPr wrap="square" rtlCol="0" anchor="ctr">
            <a:noAutofit/>
          </a:bodyPr>
          <a:lstStyle/>
          <a:p>
            <a:endParaRPr lang="en-GB" dirty="0"/>
          </a:p>
        </p:txBody>
      </p:sp>
    </p:spTree>
    <p:extLst>
      <p:ext uri="{BB962C8B-B14F-4D97-AF65-F5344CB8AC3E}">
        <p14:creationId xmlns:p14="http://schemas.microsoft.com/office/powerpoint/2010/main" val="2862897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2250" fill="hold"/>
                                        <p:tgtEl>
                                          <p:spTgt spid="25"/>
                                        </p:tgtEl>
                                        <p:attrNameLst>
                                          <p:attrName>ppt_x</p:attrName>
                                        </p:attrNameLst>
                                      </p:cBhvr>
                                      <p:tavLst>
                                        <p:tav tm="0">
                                          <p:val>
                                            <p:strVal val="0-#ppt_w/2"/>
                                          </p:val>
                                        </p:tav>
                                        <p:tav tm="100000">
                                          <p:val>
                                            <p:strVal val="#ppt_x"/>
                                          </p:val>
                                        </p:tav>
                                      </p:tavLst>
                                    </p:anim>
                                    <p:anim calcmode="lin" valueType="num">
                                      <p:cBhvr additive="base">
                                        <p:cTn id="8" dur="225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ext Section Opener 2 Dark">
    <p:bg>
      <p:bgPr>
        <a:solidFill>
          <a:srgbClr val="012A2C"/>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8A9ECD61-ED7B-49FC-8FEC-E9337C05843A}"/>
              </a:ext>
            </a:extLst>
          </p:cNvPr>
          <p:cNvCxnSpPr/>
          <p:nvPr/>
        </p:nvCxnSpPr>
        <p:spPr>
          <a:xfrm flipH="1">
            <a:off x="5604413" y="3192463"/>
            <a:ext cx="1435100"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E9617AF-0744-4180-BB4B-3FEB62C97441}"/>
              </a:ext>
            </a:extLst>
          </p:cNvPr>
          <p:cNvSpPr/>
          <p:nvPr userDrawn="1"/>
        </p:nvSpPr>
        <p:spPr>
          <a:xfrm>
            <a:off x="0" y="0"/>
            <a:ext cx="7170738" cy="6858000"/>
          </a:xfrm>
          <a:prstGeom prst="rect">
            <a:avLst/>
          </a:prstGeom>
          <a:solidFill>
            <a:srgbClr val="012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9236353" y="2852738"/>
            <a:ext cx="2442886" cy="1773237"/>
          </a:xfrm>
        </p:spPr>
        <p:txBody>
          <a:bodyPr anchor="t"/>
          <a:lstStyle>
            <a:lvl1pPr>
              <a:defRPr sz="3600" b="0">
                <a:solidFill>
                  <a:schemeClr val="bg1">
                    <a:alpha val="80000"/>
                  </a:schemeClr>
                </a:solidFill>
              </a:defRPr>
            </a:lvl1pPr>
          </a:lstStyle>
          <a:p>
            <a:r>
              <a:rPr lang="en-GB"/>
              <a:t>Click to edit Master title style</a:t>
            </a:r>
          </a:p>
        </p:txBody>
      </p:sp>
      <p:sp>
        <p:nvSpPr>
          <p:cNvPr id="7" name="Text Placeholder 2">
            <a:extLst>
              <a:ext uri="{FF2B5EF4-FFF2-40B4-BE49-F238E27FC236}">
                <a16:creationId xmlns:a16="http://schemas.microsoft.com/office/drawing/2014/main" id="{3CEE43AE-91A9-4FCE-B4E7-BF4A26C91C1F}"/>
              </a:ext>
            </a:extLst>
          </p:cNvPr>
          <p:cNvSpPr>
            <a:spLocks noGrp="1"/>
          </p:cNvSpPr>
          <p:nvPr>
            <p:ph type="body" sz="quarter" idx="10" hasCustomPrompt="1"/>
          </p:nvPr>
        </p:nvSpPr>
        <p:spPr>
          <a:xfrm>
            <a:off x="3515775" y="1262068"/>
            <a:ext cx="2121438" cy="3465507"/>
          </a:xfrm>
        </p:spPr>
        <p:txBody>
          <a:bodyPr anchor="b"/>
          <a:lstStyle>
            <a:lvl1pPr>
              <a:defRPr sz="28000">
                <a:solidFill>
                  <a:schemeClr val="bg1">
                    <a:alpha val="80000"/>
                  </a:schemeClr>
                </a:solidFill>
              </a:defRPr>
            </a:lvl1pPr>
          </a:lstStyle>
          <a:p>
            <a:pPr lvl="0"/>
            <a:r>
              <a:rPr lang="en-GB"/>
              <a:t>2</a:t>
            </a:r>
          </a:p>
        </p:txBody>
      </p:sp>
      <p:sp>
        <p:nvSpPr>
          <p:cNvPr id="5" name="Text Placeholder 4">
            <a:extLst>
              <a:ext uri="{FF2B5EF4-FFF2-40B4-BE49-F238E27FC236}">
                <a16:creationId xmlns:a16="http://schemas.microsoft.com/office/drawing/2014/main" id="{59E5ACF3-95EE-4BB1-BD8C-4DCB6A668DBD}"/>
              </a:ext>
            </a:extLst>
          </p:cNvPr>
          <p:cNvSpPr>
            <a:spLocks noGrp="1"/>
          </p:cNvSpPr>
          <p:nvPr>
            <p:ph type="body" sz="quarter" idx="11" hasCustomPrompt="1"/>
          </p:nvPr>
        </p:nvSpPr>
        <p:spPr>
          <a:xfrm rot="16200000">
            <a:off x="-296069" y="3018631"/>
            <a:ext cx="1773237" cy="190500"/>
          </a:xfrm>
        </p:spPr>
        <p:txBody>
          <a:bodyPr/>
          <a:lstStyle>
            <a:lvl1pPr algn="ctr">
              <a:defRPr sz="1050" b="1">
                <a:solidFill>
                  <a:srgbClr val="17E891"/>
                </a:solidFill>
                <a:latin typeface="Space Mono" panose="02000509040000020004" pitchFamily="49" charset="0"/>
              </a:defRPr>
            </a:lvl1pPr>
          </a:lstStyle>
          <a:p>
            <a:pPr lvl="0"/>
            <a:r>
              <a:rPr lang="en-GB"/>
              <a:t>Date</a:t>
            </a:r>
          </a:p>
        </p:txBody>
      </p:sp>
      <p:sp>
        <p:nvSpPr>
          <p:cNvPr id="8" name="Rectangle 7">
            <a:extLst>
              <a:ext uri="{FF2B5EF4-FFF2-40B4-BE49-F238E27FC236}">
                <a16:creationId xmlns:a16="http://schemas.microsoft.com/office/drawing/2014/main" id="{0DCC005C-687D-4601-8D19-172252F43069}"/>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3710399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nodeType="afterEffect">
                                  <p:stCondLst>
                                    <p:cond delay="0"/>
                                  </p:stCondLst>
                                  <p:childTnLst>
                                    <p:animMotion origin="layout" path="M 4.16667E-7 7.40741E-7 L 0.12825 7.40741E-7 " pathEditMode="relative" rAng="0" ptsTypes="AA">
                                      <p:cBhvr>
                                        <p:cTn id="6" dur="2000" fill="hold"/>
                                        <p:tgtEl>
                                          <p:spTgt spid="12"/>
                                        </p:tgtEl>
                                        <p:attrNameLst>
                                          <p:attrName>ppt_x</p:attrName>
                                          <p:attrName>ppt_y</p:attrName>
                                        </p:attrNameLst>
                                      </p:cBhvr>
                                      <p:rCtr x="640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hoto Layout 3">
    <p:bg>
      <p:bgPr>
        <a:solidFill>
          <a:schemeClr val="bg1"/>
        </a:solidFill>
        <a:effectLst/>
      </p:bgPr>
    </p:bg>
    <p:spTree>
      <p:nvGrpSpPr>
        <p:cNvPr id="1" name=""/>
        <p:cNvGrpSpPr/>
        <p:nvPr/>
      </p:nvGrpSpPr>
      <p:grpSpPr>
        <a:xfrm>
          <a:off x="0" y="0"/>
          <a:ext cx="0" cy="0"/>
          <a:chOff x="0" y="0"/>
          <a:chExt cx="0" cy="0"/>
        </a:xfrm>
      </p:grpSpPr>
      <p:sp>
        <p:nvSpPr>
          <p:cNvPr id="7" name="Picture Placeholder 11">
            <a:extLst>
              <a:ext uri="{FF2B5EF4-FFF2-40B4-BE49-F238E27FC236}">
                <a16:creationId xmlns:a16="http://schemas.microsoft.com/office/drawing/2014/main" id="{C073FC8F-6DFD-4BD3-9E2B-3B5872A8D397}"/>
              </a:ext>
            </a:extLst>
          </p:cNvPr>
          <p:cNvSpPr>
            <a:spLocks noGrp="1"/>
          </p:cNvSpPr>
          <p:nvPr>
            <p:ph type="pic" sz="quarter" idx="13"/>
          </p:nvPr>
        </p:nvSpPr>
        <p:spPr>
          <a:xfrm>
            <a:off x="6146801" y="2852738"/>
            <a:ext cx="5532438" cy="3529011"/>
          </a:xfrm>
          <a:noFill/>
        </p:spPr>
        <p:txBody>
          <a:bodyPr/>
          <a:lstStyle/>
          <a:p>
            <a:r>
              <a:rPr lang="en-US"/>
              <a:t>Click icon to add picture</a:t>
            </a:r>
            <a:endParaRPr lang="en-GB"/>
          </a:p>
        </p:txBody>
      </p:sp>
      <p:sp>
        <p:nvSpPr>
          <p:cNvPr id="5" name="Picture Placeholder 11">
            <a:extLst>
              <a:ext uri="{FF2B5EF4-FFF2-40B4-BE49-F238E27FC236}">
                <a16:creationId xmlns:a16="http://schemas.microsoft.com/office/drawing/2014/main" id="{8309D712-B377-474B-A408-4582377100CE}"/>
              </a:ext>
            </a:extLst>
          </p:cNvPr>
          <p:cNvSpPr>
            <a:spLocks noGrp="1"/>
          </p:cNvSpPr>
          <p:nvPr>
            <p:ph type="pic" sz="quarter" idx="11"/>
          </p:nvPr>
        </p:nvSpPr>
        <p:spPr>
          <a:xfrm>
            <a:off x="511174" y="2852738"/>
            <a:ext cx="5534025" cy="3529011"/>
          </a:xfrm>
          <a:noFill/>
        </p:spPr>
        <p:txBody>
          <a:bodyPr/>
          <a:lstStyle/>
          <a:p>
            <a:r>
              <a:rPr lang="en-US"/>
              <a:t>Click icon to add picture</a:t>
            </a:r>
            <a:endParaRPr lang="en-GB"/>
          </a:p>
        </p:txBody>
      </p:sp>
      <p:sp>
        <p:nvSpPr>
          <p:cNvPr id="6" name="Text Placeholder 4">
            <a:extLst>
              <a:ext uri="{FF2B5EF4-FFF2-40B4-BE49-F238E27FC236}">
                <a16:creationId xmlns:a16="http://schemas.microsoft.com/office/drawing/2014/main" id="{06204940-EC4E-47B0-AFAA-C43EE5579DEA}"/>
              </a:ext>
            </a:extLst>
          </p:cNvPr>
          <p:cNvSpPr>
            <a:spLocks noGrp="1"/>
          </p:cNvSpPr>
          <p:nvPr>
            <p:ph type="body" sz="quarter" idx="46" hasCustomPrompt="1"/>
          </p:nvPr>
        </p:nvSpPr>
        <p:spPr>
          <a:xfrm>
            <a:off x="520698" y="352424"/>
            <a:ext cx="1435100" cy="2398713"/>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
        <p:nvSpPr>
          <p:cNvPr id="8" name="Text Placeholder 4">
            <a:extLst>
              <a:ext uri="{FF2B5EF4-FFF2-40B4-BE49-F238E27FC236}">
                <a16:creationId xmlns:a16="http://schemas.microsoft.com/office/drawing/2014/main" id="{729C015C-9E34-4CCF-B217-05DD614D258D}"/>
              </a:ext>
            </a:extLst>
          </p:cNvPr>
          <p:cNvSpPr>
            <a:spLocks noGrp="1"/>
          </p:cNvSpPr>
          <p:nvPr>
            <p:ph type="body" sz="quarter" idx="47" hasCustomPrompt="1"/>
          </p:nvPr>
        </p:nvSpPr>
        <p:spPr>
          <a:xfrm>
            <a:off x="6146800" y="352423"/>
            <a:ext cx="1435100" cy="2398713"/>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Tree>
    <p:extLst>
      <p:ext uri="{BB962C8B-B14F-4D97-AF65-F5344CB8AC3E}">
        <p14:creationId xmlns:p14="http://schemas.microsoft.com/office/powerpoint/2010/main" val="377977682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hoto Layout 4">
    <p:bg>
      <p:bgPr>
        <a:solidFill>
          <a:schemeClr val="bg1"/>
        </a:solidFill>
        <a:effectLst/>
      </p:bgPr>
    </p:bg>
    <p:spTree>
      <p:nvGrpSpPr>
        <p:cNvPr id="1" name=""/>
        <p:cNvGrpSpPr/>
        <p:nvPr/>
      </p:nvGrpSpPr>
      <p:grpSpPr>
        <a:xfrm>
          <a:off x="0" y="0"/>
          <a:ext cx="0" cy="0"/>
          <a:chOff x="0" y="0"/>
          <a:chExt cx="0" cy="0"/>
        </a:xfrm>
      </p:grpSpPr>
      <p:sp>
        <p:nvSpPr>
          <p:cNvPr id="7" name="Picture Placeholder 11">
            <a:extLst>
              <a:ext uri="{FF2B5EF4-FFF2-40B4-BE49-F238E27FC236}">
                <a16:creationId xmlns:a16="http://schemas.microsoft.com/office/drawing/2014/main" id="{C073FC8F-6DFD-4BD3-9E2B-3B5872A8D397}"/>
              </a:ext>
            </a:extLst>
          </p:cNvPr>
          <p:cNvSpPr>
            <a:spLocks noGrp="1"/>
          </p:cNvSpPr>
          <p:nvPr>
            <p:ph type="pic" sz="quarter" idx="13"/>
          </p:nvPr>
        </p:nvSpPr>
        <p:spPr>
          <a:xfrm>
            <a:off x="7170737" y="3478213"/>
            <a:ext cx="4508501" cy="2903536"/>
          </a:xfrm>
          <a:noFill/>
        </p:spPr>
        <p:txBody>
          <a:bodyPr/>
          <a:lstStyle/>
          <a:p>
            <a:r>
              <a:rPr lang="en-US"/>
              <a:t>Click icon to add picture</a:t>
            </a:r>
            <a:endParaRPr lang="en-GB"/>
          </a:p>
        </p:txBody>
      </p:sp>
      <p:sp>
        <p:nvSpPr>
          <p:cNvPr id="5" name="Picture Placeholder 11">
            <a:extLst>
              <a:ext uri="{FF2B5EF4-FFF2-40B4-BE49-F238E27FC236}">
                <a16:creationId xmlns:a16="http://schemas.microsoft.com/office/drawing/2014/main" id="{8309D712-B377-474B-A408-4582377100CE}"/>
              </a:ext>
            </a:extLst>
          </p:cNvPr>
          <p:cNvSpPr>
            <a:spLocks noGrp="1"/>
          </p:cNvSpPr>
          <p:nvPr>
            <p:ph type="pic" sz="quarter" idx="11"/>
          </p:nvPr>
        </p:nvSpPr>
        <p:spPr>
          <a:xfrm>
            <a:off x="511174" y="3478213"/>
            <a:ext cx="4508501" cy="2903536"/>
          </a:xfrm>
          <a:noFill/>
        </p:spPr>
        <p:txBody>
          <a:bodyPr/>
          <a:lstStyle/>
          <a:p>
            <a:r>
              <a:rPr lang="en-US"/>
              <a:t>Click icon to add picture</a:t>
            </a:r>
            <a:endParaRPr lang="en-GB"/>
          </a:p>
        </p:txBody>
      </p:sp>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511887" y="473077"/>
            <a:ext cx="4508501" cy="2903536"/>
          </a:xfrm>
          <a:noFill/>
        </p:spPr>
        <p:txBody>
          <a:bodyPr/>
          <a:lstStyle/>
          <a:p>
            <a:r>
              <a:rPr lang="en-US"/>
              <a:t>Click icon to add picture</a:t>
            </a:r>
            <a:endParaRPr lang="en-GB"/>
          </a:p>
        </p:txBody>
      </p:sp>
      <p:sp>
        <p:nvSpPr>
          <p:cNvPr id="11" name="Picture Placeholder 11">
            <a:extLst>
              <a:ext uri="{FF2B5EF4-FFF2-40B4-BE49-F238E27FC236}">
                <a16:creationId xmlns:a16="http://schemas.microsoft.com/office/drawing/2014/main" id="{2FE7B96D-3E01-4CC1-BFAB-8F8BE9501B96}"/>
              </a:ext>
            </a:extLst>
          </p:cNvPr>
          <p:cNvSpPr>
            <a:spLocks noGrp="1"/>
          </p:cNvSpPr>
          <p:nvPr>
            <p:ph type="pic" sz="quarter" idx="17"/>
          </p:nvPr>
        </p:nvSpPr>
        <p:spPr>
          <a:xfrm>
            <a:off x="7170738" y="473077"/>
            <a:ext cx="4508501" cy="2903536"/>
          </a:xfrm>
          <a:noFill/>
        </p:spPr>
        <p:txBody>
          <a:bodyPr/>
          <a:lstStyle/>
          <a:p>
            <a:r>
              <a:rPr lang="en-US"/>
              <a:t>Click icon to add picture</a:t>
            </a:r>
            <a:endParaRPr lang="en-GB"/>
          </a:p>
        </p:txBody>
      </p:sp>
      <p:sp>
        <p:nvSpPr>
          <p:cNvPr id="13" name="Text Placeholder 4">
            <a:extLst>
              <a:ext uri="{FF2B5EF4-FFF2-40B4-BE49-F238E27FC236}">
                <a16:creationId xmlns:a16="http://schemas.microsoft.com/office/drawing/2014/main" id="{C5755924-A699-4784-A22B-8DD0C5CD0B33}"/>
              </a:ext>
            </a:extLst>
          </p:cNvPr>
          <p:cNvSpPr>
            <a:spLocks noGrp="1"/>
          </p:cNvSpPr>
          <p:nvPr>
            <p:ph type="body" sz="quarter" idx="46" hasCustomPrompt="1"/>
          </p:nvPr>
        </p:nvSpPr>
        <p:spPr>
          <a:xfrm>
            <a:off x="5120400" y="473077"/>
            <a:ext cx="923925" cy="1994467"/>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
        <p:nvSpPr>
          <p:cNvPr id="15" name="Text Placeholder 4">
            <a:extLst>
              <a:ext uri="{FF2B5EF4-FFF2-40B4-BE49-F238E27FC236}">
                <a16:creationId xmlns:a16="http://schemas.microsoft.com/office/drawing/2014/main" id="{EE2F68ED-1903-4B6B-B2C7-22D7619BDF64}"/>
              </a:ext>
            </a:extLst>
          </p:cNvPr>
          <p:cNvSpPr>
            <a:spLocks noGrp="1"/>
          </p:cNvSpPr>
          <p:nvPr>
            <p:ph type="body" sz="quarter" idx="47" hasCustomPrompt="1"/>
          </p:nvPr>
        </p:nvSpPr>
        <p:spPr>
          <a:xfrm>
            <a:off x="6146801" y="473077"/>
            <a:ext cx="923925" cy="1994467"/>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
        <p:nvSpPr>
          <p:cNvPr id="16" name="Text Placeholder 4">
            <a:extLst>
              <a:ext uri="{FF2B5EF4-FFF2-40B4-BE49-F238E27FC236}">
                <a16:creationId xmlns:a16="http://schemas.microsoft.com/office/drawing/2014/main" id="{5D7567B4-8661-40B0-8C9D-A5CD2404BF61}"/>
              </a:ext>
            </a:extLst>
          </p:cNvPr>
          <p:cNvSpPr>
            <a:spLocks noGrp="1"/>
          </p:cNvSpPr>
          <p:nvPr>
            <p:ph type="body" sz="quarter" idx="48" hasCustomPrompt="1"/>
          </p:nvPr>
        </p:nvSpPr>
        <p:spPr>
          <a:xfrm>
            <a:off x="5121274" y="3498685"/>
            <a:ext cx="923925" cy="1994467"/>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
        <p:nvSpPr>
          <p:cNvPr id="17" name="Text Placeholder 4">
            <a:extLst>
              <a:ext uri="{FF2B5EF4-FFF2-40B4-BE49-F238E27FC236}">
                <a16:creationId xmlns:a16="http://schemas.microsoft.com/office/drawing/2014/main" id="{62F85AD0-29FD-482C-B1D2-3EA6667A38F4}"/>
              </a:ext>
            </a:extLst>
          </p:cNvPr>
          <p:cNvSpPr>
            <a:spLocks noGrp="1"/>
          </p:cNvSpPr>
          <p:nvPr>
            <p:ph type="body" sz="quarter" idx="49" hasCustomPrompt="1"/>
          </p:nvPr>
        </p:nvSpPr>
        <p:spPr>
          <a:xfrm>
            <a:off x="6146801" y="3478213"/>
            <a:ext cx="923925" cy="1994467"/>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Tree>
    <p:extLst>
      <p:ext uri="{BB962C8B-B14F-4D97-AF65-F5344CB8AC3E}">
        <p14:creationId xmlns:p14="http://schemas.microsoft.com/office/powerpoint/2010/main" val="224601818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hoto Layout 5">
    <p:bg>
      <p:bgPr>
        <a:solidFill>
          <a:schemeClr val="bg1"/>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2FE7B96D-3E01-4CC1-BFAB-8F8BE9501B96}"/>
              </a:ext>
            </a:extLst>
          </p:cNvPr>
          <p:cNvSpPr>
            <a:spLocks noGrp="1"/>
          </p:cNvSpPr>
          <p:nvPr>
            <p:ph type="pic" sz="quarter" idx="17"/>
          </p:nvPr>
        </p:nvSpPr>
        <p:spPr>
          <a:xfrm>
            <a:off x="6146800" y="473076"/>
            <a:ext cx="5532439" cy="3527423"/>
          </a:xfrm>
          <a:noFill/>
        </p:spPr>
        <p:txBody>
          <a:bodyPr/>
          <a:lstStyle/>
          <a:p>
            <a:r>
              <a:rPr lang="en-US"/>
              <a:t>Click icon to add picture</a:t>
            </a:r>
            <a:endParaRPr lang="en-GB"/>
          </a:p>
        </p:txBody>
      </p:sp>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511887" y="473076"/>
            <a:ext cx="5533312" cy="3527423"/>
          </a:xfrm>
          <a:noFill/>
        </p:spPr>
        <p:txBody>
          <a:bodyPr/>
          <a:lstStyle/>
          <a:p>
            <a:r>
              <a:rPr lang="en-US"/>
              <a:t>Click icon to add picture</a:t>
            </a:r>
            <a:endParaRPr lang="en-GB"/>
          </a:p>
        </p:txBody>
      </p:sp>
      <p:sp>
        <p:nvSpPr>
          <p:cNvPr id="6" name="Text Placeholder 4">
            <a:extLst>
              <a:ext uri="{FF2B5EF4-FFF2-40B4-BE49-F238E27FC236}">
                <a16:creationId xmlns:a16="http://schemas.microsoft.com/office/drawing/2014/main" id="{901509A3-A658-4993-9C4C-2DBC3C44FE16}"/>
              </a:ext>
            </a:extLst>
          </p:cNvPr>
          <p:cNvSpPr>
            <a:spLocks noGrp="1"/>
          </p:cNvSpPr>
          <p:nvPr>
            <p:ph type="body" sz="quarter" idx="46" hasCustomPrompt="1"/>
          </p:nvPr>
        </p:nvSpPr>
        <p:spPr>
          <a:xfrm>
            <a:off x="511175" y="4727575"/>
            <a:ext cx="1435099" cy="1654175"/>
          </a:xfrm>
        </p:spPr>
        <p:txBody>
          <a:bodyPr anchor="b"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
        <p:nvSpPr>
          <p:cNvPr id="7" name="Text Placeholder 4">
            <a:extLst>
              <a:ext uri="{FF2B5EF4-FFF2-40B4-BE49-F238E27FC236}">
                <a16:creationId xmlns:a16="http://schemas.microsoft.com/office/drawing/2014/main" id="{2919DDE0-8443-429D-AC9F-87951D57DB61}"/>
              </a:ext>
            </a:extLst>
          </p:cNvPr>
          <p:cNvSpPr>
            <a:spLocks noGrp="1"/>
          </p:cNvSpPr>
          <p:nvPr>
            <p:ph type="body" sz="quarter" idx="47" hasCustomPrompt="1"/>
          </p:nvPr>
        </p:nvSpPr>
        <p:spPr>
          <a:xfrm>
            <a:off x="6146800" y="4727575"/>
            <a:ext cx="1435099" cy="1654175"/>
          </a:xfrm>
        </p:spPr>
        <p:txBody>
          <a:bodyPr anchor="b"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Tree>
    <p:extLst>
      <p:ext uri="{BB962C8B-B14F-4D97-AF65-F5344CB8AC3E}">
        <p14:creationId xmlns:p14="http://schemas.microsoft.com/office/powerpoint/2010/main" val="165290515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3997">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Photo Layout 6">
    <p:bg>
      <p:bgPr>
        <a:solidFill>
          <a:schemeClr val="bg1"/>
        </a:solidFill>
        <a:effectLst/>
      </p:bgPr>
    </p:bg>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2560639" y="476250"/>
            <a:ext cx="9120185" cy="5905500"/>
          </a:xfrm>
          <a:noFill/>
        </p:spPr>
        <p:txBody>
          <a:bodyPr/>
          <a:lstStyle/>
          <a:p>
            <a:r>
              <a:rPr lang="en-US"/>
              <a:t>Click icon to add picture</a:t>
            </a:r>
            <a:endParaRPr lang="en-GB"/>
          </a:p>
        </p:txBody>
      </p:sp>
      <p:sp>
        <p:nvSpPr>
          <p:cNvPr id="4" name="Text Placeholder 4">
            <a:extLst>
              <a:ext uri="{FF2B5EF4-FFF2-40B4-BE49-F238E27FC236}">
                <a16:creationId xmlns:a16="http://schemas.microsoft.com/office/drawing/2014/main" id="{27D1A7DF-6AF0-4FA0-B758-207093F6E22F}"/>
              </a:ext>
            </a:extLst>
          </p:cNvPr>
          <p:cNvSpPr>
            <a:spLocks noGrp="1"/>
          </p:cNvSpPr>
          <p:nvPr>
            <p:ph type="body" sz="quarter" idx="46" hasCustomPrompt="1"/>
          </p:nvPr>
        </p:nvSpPr>
        <p:spPr>
          <a:xfrm>
            <a:off x="511176" y="1601788"/>
            <a:ext cx="1435099" cy="4779963"/>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Tree>
    <p:extLst>
      <p:ext uri="{BB962C8B-B14F-4D97-AF65-F5344CB8AC3E}">
        <p14:creationId xmlns:p14="http://schemas.microsoft.com/office/powerpoint/2010/main" val="421419756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Photo Layout 7">
    <p:bg>
      <p:bgPr>
        <a:solidFill>
          <a:schemeClr val="bg1"/>
        </a:solidFill>
        <a:effectLst/>
      </p:bgPr>
    </p:bg>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511887" y="473076"/>
            <a:ext cx="3996613" cy="5908674"/>
          </a:xfrm>
          <a:noFill/>
        </p:spPr>
        <p:txBody>
          <a:bodyPr/>
          <a:lstStyle/>
          <a:p>
            <a:r>
              <a:rPr lang="en-US"/>
              <a:t>Click icon to add picture</a:t>
            </a:r>
            <a:endParaRPr lang="en-GB"/>
          </a:p>
        </p:txBody>
      </p:sp>
      <p:sp>
        <p:nvSpPr>
          <p:cNvPr id="11" name="Picture Placeholder 11">
            <a:extLst>
              <a:ext uri="{FF2B5EF4-FFF2-40B4-BE49-F238E27FC236}">
                <a16:creationId xmlns:a16="http://schemas.microsoft.com/office/drawing/2014/main" id="{2FE7B96D-3E01-4CC1-BFAB-8F8BE9501B96}"/>
              </a:ext>
            </a:extLst>
          </p:cNvPr>
          <p:cNvSpPr>
            <a:spLocks noGrp="1"/>
          </p:cNvSpPr>
          <p:nvPr>
            <p:ph type="pic" sz="quarter" idx="17"/>
          </p:nvPr>
        </p:nvSpPr>
        <p:spPr>
          <a:xfrm>
            <a:off x="7683500" y="473076"/>
            <a:ext cx="3995739" cy="5908674"/>
          </a:xfrm>
          <a:noFill/>
        </p:spPr>
        <p:txBody>
          <a:bodyPr/>
          <a:lstStyle/>
          <a:p>
            <a:r>
              <a:rPr lang="en-US"/>
              <a:t>Click icon to add picture</a:t>
            </a:r>
            <a:endParaRPr lang="en-GB"/>
          </a:p>
        </p:txBody>
      </p:sp>
      <p:sp>
        <p:nvSpPr>
          <p:cNvPr id="7" name="Text Placeholder 4">
            <a:extLst>
              <a:ext uri="{FF2B5EF4-FFF2-40B4-BE49-F238E27FC236}">
                <a16:creationId xmlns:a16="http://schemas.microsoft.com/office/drawing/2014/main" id="{9DF644E5-D13B-40FB-8CB2-41552D3CACEF}"/>
              </a:ext>
            </a:extLst>
          </p:cNvPr>
          <p:cNvSpPr>
            <a:spLocks noGrp="1"/>
          </p:cNvSpPr>
          <p:nvPr>
            <p:ph type="body" sz="quarter" idx="46" hasCustomPrompt="1"/>
          </p:nvPr>
        </p:nvSpPr>
        <p:spPr>
          <a:xfrm>
            <a:off x="4610101" y="476250"/>
            <a:ext cx="1435099" cy="2115119"/>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
        <p:nvSpPr>
          <p:cNvPr id="9" name="Text Placeholder 4">
            <a:extLst>
              <a:ext uri="{FF2B5EF4-FFF2-40B4-BE49-F238E27FC236}">
                <a16:creationId xmlns:a16="http://schemas.microsoft.com/office/drawing/2014/main" id="{C7A8C07D-6B80-47C6-93CB-13BCF8E2A701}"/>
              </a:ext>
            </a:extLst>
          </p:cNvPr>
          <p:cNvSpPr>
            <a:spLocks noGrp="1"/>
          </p:cNvSpPr>
          <p:nvPr>
            <p:ph type="body" sz="quarter" idx="47" hasCustomPrompt="1"/>
          </p:nvPr>
        </p:nvSpPr>
        <p:spPr>
          <a:xfrm>
            <a:off x="6146801" y="473077"/>
            <a:ext cx="1435099" cy="2115119"/>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Tree>
    <p:extLst>
      <p:ext uri="{BB962C8B-B14F-4D97-AF65-F5344CB8AC3E}">
        <p14:creationId xmlns:p14="http://schemas.microsoft.com/office/powerpoint/2010/main" val="15741486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Photo Layout 8">
    <p:bg>
      <p:bgPr>
        <a:solidFill>
          <a:schemeClr val="bg1"/>
        </a:solidFill>
        <a:effectLst/>
      </p:bgPr>
    </p:bg>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511888" y="2227262"/>
            <a:ext cx="2971088" cy="4154487"/>
          </a:xfrm>
          <a:noFill/>
        </p:spPr>
        <p:txBody>
          <a:bodyPr/>
          <a:lstStyle/>
          <a:p>
            <a:r>
              <a:rPr lang="en-US"/>
              <a:t>Click icon to add picture</a:t>
            </a:r>
            <a:endParaRPr lang="en-GB"/>
          </a:p>
        </p:txBody>
      </p:sp>
      <p:sp>
        <p:nvSpPr>
          <p:cNvPr id="9" name="Picture Placeholder 11">
            <a:extLst>
              <a:ext uri="{FF2B5EF4-FFF2-40B4-BE49-F238E27FC236}">
                <a16:creationId xmlns:a16="http://schemas.microsoft.com/office/drawing/2014/main" id="{DDD672F2-9FBA-4686-9A16-79DF51FB6945}"/>
              </a:ext>
            </a:extLst>
          </p:cNvPr>
          <p:cNvSpPr>
            <a:spLocks noGrp="1"/>
          </p:cNvSpPr>
          <p:nvPr>
            <p:ph type="pic" sz="quarter" idx="17"/>
          </p:nvPr>
        </p:nvSpPr>
        <p:spPr>
          <a:xfrm>
            <a:off x="4610100" y="2227261"/>
            <a:ext cx="2971088" cy="4154487"/>
          </a:xfrm>
          <a:noFill/>
        </p:spPr>
        <p:txBody>
          <a:bodyPr/>
          <a:lstStyle/>
          <a:p>
            <a:r>
              <a:rPr lang="en-US"/>
              <a:t>Click icon to add picture</a:t>
            </a:r>
            <a:endParaRPr lang="en-GB"/>
          </a:p>
        </p:txBody>
      </p:sp>
      <p:sp>
        <p:nvSpPr>
          <p:cNvPr id="12" name="Picture Placeholder 11">
            <a:extLst>
              <a:ext uri="{FF2B5EF4-FFF2-40B4-BE49-F238E27FC236}">
                <a16:creationId xmlns:a16="http://schemas.microsoft.com/office/drawing/2014/main" id="{6F61EF0A-8867-40FC-BAA6-AD52003D7277}"/>
              </a:ext>
            </a:extLst>
          </p:cNvPr>
          <p:cNvSpPr>
            <a:spLocks noGrp="1"/>
          </p:cNvSpPr>
          <p:nvPr>
            <p:ph type="pic" sz="quarter" idx="18"/>
          </p:nvPr>
        </p:nvSpPr>
        <p:spPr>
          <a:xfrm>
            <a:off x="8709024" y="2227263"/>
            <a:ext cx="2971088" cy="4154487"/>
          </a:xfrm>
          <a:noFill/>
        </p:spPr>
        <p:txBody>
          <a:bodyPr/>
          <a:lstStyle/>
          <a:p>
            <a:r>
              <a:rPr lang="en-US"/>
              <a:t>Click icon to add picture</a:t>
            </a:r>
            <a:endParaRPr lang="en-GB"/>
          </a:p>
        </p:txBody>
      </p:sp>
      <p:sp>
        <p:nvSpPr>
          <p:cNvPr id="11" name="Text Placeholder 4">
            <a:extLst>
              <a:ext uri="{FF2B5EF4-FFF2-40B4-BE49-F238E27FC236}">
                <a16:creationId xmlns:a16="http://schemas.microsoft.com/office/drawing/2014/main" id="{26D1CBF1-5A33-4889-9B08-801B39DA67F1}"/>
              </a:ext>
            </a:extLst>
          </p:cNvPr>
          <p:cNvSpPr>
            <a:spLocks noGrp="1"/>
          </p:cNvSpPr>
          <p:nvPr>
            <p:ph type="body" sz="quarter" idx="46" hasCustomPrompt="1"/>
          </p:nvPr>
        </p:nvSpPr>
        <p:spPr>
          <a:xfrm>
            <a:off x="511888" y="490842"/>
            <a:ext cx="1435099" cy="1634821"/>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
        <p:nvSpPr>
          <p:cNvPr id="13" name="Text Placeholder 4">
            <a:extLst>
              <a:ext uri="{FF2B5EF4-FFF2-40B4-BE49-F238E27FC236}">
                <a16:creationId xmlns:a16="http://schemas.microsoft.com/office/drawing/2014/main" id="{423F64C4-BF51-4158-AF82-C62500235309}"/>
              </a:ext>
            </a:extLst>
          </p:cNvPr>
          <p:cNvSpPr>
            <a:spLocks noGrp="1"/>
          </p:cNvSpPr>
          <p:nvPr>
            <p:ph type="body" sz="quarter" idx="47" hasCustomPrompt="1"/>
          </p:nvPr>
        </p:nvSpPr>
        <p:spPr>
          <a:xfrm>
            <a:off x="4610100" y="487670"/>
            <a:ext cx="1435099" cy="1634821"/>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
        <p:nvSpPr>
          <p:cNvPr id="15" name="Text Placeholder 4">
            <a:extLst>
              <a:ext uri="{FF2B5EF4-FFF2-40B4-BE49-F238E27FC236}">
                <a16:creationId xmlns:a16="http://schemas.microsoft.com/office/drawing/2014/main" id="{E9BEF8A3-F6B3-45D4-B4FF-C44C4332E8D8}"/>
              </a:ext>
            </a:extLst>
          </p:cNvPr>
          <p:cNvSpPr>
            <a:spLocks noGrp="1"/>
          </p:cNvSpPr>
          <p:nvPr>
            <p:ph type="body" sz="quarter" idx="48" hasCustomPrompt="1"/>
          </p:nvPr>
        </p:nvSpPr>
        <p:spPr>
          <a:xfrm>
            <a:off x="8709024" y="487670"/>
            <a:ext cx="1435099" cy="1634821"/>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Tree>
    <p:extLst>
      <p:ext uri="{BB962C8B-B14F-4D97-AF65-F5344CB8AC3E}">
        <p14:creationId xmlns:p14="http://schemas.microsoft.com/office/powerpoint/2010/main" val="97846836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hoto Layout 9">
    <p:bg>
      <p:bgPr>
        <a:solidFill>
          <a:schemeClr val="bg1"/>
        </a:solidFill>
        <a:effectLst/>
      </p:bgPr>
    </p:bg>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511888" y="2227262"/>
            <a:ext cx="2971088" cy="1773237"/>
          </a:xfrm>
          <a:noFill/>
        </p:spPr>
        <p:txBody>
          <a:bodyPr/>
          <a:lstStyle>
            <a:lvl1pPr>
              <a:spcBef>
                <a:spcPts val="300"/>
              </a:spcBef>
              <a:defRPr/>
            </a:lvl1pPr>
          </a:lstStyle>
          <a:p>
            <a:r>
              <a:rPr lang="en-US"/>
              <a:t>Click icon to add picture</a:t>
            </a:r>
            <a:endParaRPr lang="en-GB"/>
          </a:p>
        </p:txBody>
      </p:sp>
      <p:sp>
        <p:nvSpPr>
          <p:cNvPr id="9" name="Picture Placeholder 11">
            <a:extLst>
              <a:ext uri="{FF2B5EF4-FFF2-40B4-BE49-F238E27FC236}">
                <a16:creationId xmlns:a16="http://schemas.microsoft.com/office/drawing/2014/main" id="{DDD672F2-9FBA-4686-9A16-79DF51FB6945}"/>
              </a:ext>
            </a:extLst>
          </p:cNvPr>
          <p:cNvSpPr>
            <a:spLocks noGrp="1"/>
          </p:cNvSpPr>
          <p:nvPr>
            <p:ph type="pic" sz="quarter" idx="17"/>
          </p:nvPr>
        </p:nvSpPr>
        <p:spPr>
          <a:xfrm>
            <a:off x="4610100" y="2227261"/>
            <a:ext cx="2971088" cy="1773237"/>
          </a:xfrm>
          <a:noFill/>
        </p:spPr>
        <p:txBody>
          <a:bodyPr/>
          <a:lstStyle/>
          <a:p>
            <a:r>
              <a:rPr lang="en-US"/>
              <a:t>Click icon to add picture</a:t>
            </a:r>
            <a:endParaRPr lang="en-GB"/>
          </a:p>
        </p:txBody>
      </p:sp>
      <p:sp>
        <p:nvSpPr>
          <p:cNvPr id="12" name="Picture Placeholder 11">
            <a:extLst>
              <a:ext uri="{FF2B5EF4-FFF2-40B4-BE49-F238E27FC236}">
                <a16:creationId xmlns:a16="http://schemas.microsoft.com/office/drawing/2014/main" id="{6F61EF0A-8867-40FC-BAA6-AD52003D7277}"/>
              </a:ext>
            </a:extLst>
          </p:cNvPr>
          <p:cNvSpPr>
            <a:spLocks noGrp="1"/>
          </p:cNvSpPr>
          <p:nvPr>
            <p:ph type="pic" sz="quarter" idx="18"/>
          </p:nvPr>
        </p:nvSpPr>
        <p:spPr>
          <a:xfrm>
            <a:off x="8709024" y="2227263"/>
            <a:ext cx="2971088" cy="1773237"/>
          </a:xfrm>
          <a:noFill/>
        </p:spPr>
        <p:txBody>
          <a:bodyPr/>
          <a:lstStyle/>
          <a:p>
            <a:r>
              <a:rPr lang="en-US"/>
              <a:t>Click icon to add picture</a:t>
            </a:r>
            <a:endParaRPr lang="en-GB"/>
          </a:p>
        </p:txBody>
      </p:sp>
      <p:sp>
        <p:nvSpPr>
          <p:cNvPr id="11" name="Text Placeholder 4">
            <a:extLst>
              <a:ext uri="{FF2B5EF4-FFF2-40B4-BE49-F238E27FC236}">
                <a16:creationId xmlns:a16="http://schemas.microsoft.com/office/drawing/2014/main" id="{3E3C9598-FD7F-4841-A8DD-4EFE52C337CA}"/>
              </a:ext>
            </a:extLst>
          </p:cNvPr>
          <p:cNvSpPr>
            <a:spLocks noGrp="1"/>
          </p:cNvSpPr>
          <p:nvPr>
            <p:ph type="body" sz="quarter" idx="46" hasCustomPrompt="1"/>
          </p:nvPr>
        </p:nvSpPr>
        <p:spPr>
          <a:xfrm>
            <a:off x="511888" y="490842"/>
            <a:ext cx="1435099" cy="1634821"/>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
        <p:nvSpPr>
          <p:cNvPr id="13" name="Text Placeholder 4">
            <a:extLst>
              <a:ext uri="{FF2B5EF4-FFF2-40B4-BE49-F238E27FC236}">
                <a16:creationId xmlns:a16="http://schemas.microsoft.com/office/drawing/2014/main" id="{EA1B8B5E-61D4-45DD-951A-F3EFD33C3803}"/>
              </a:ext>
            </a:extLst>
          </p:cNvPr>
          <p:cNvSpPr>
            <a:spLocks noGrp="1"/>
          </p:cNvSpPr>
          <p:nvPr>
            <p:ph type="body" sz="quarter" idx="47" hasCustomPrompt="1"/>
          </p:nvPr>
        </p:nvSpPr>
        <p:spPr>
          <a:xfrm>
            <a:off x="4610100" y="487670"/>
            <a:ext cx="1435099" cy="1634821"/>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
        <p:nvSpPr>
          <p:cNvPr id="15" name="Text Placeholder 4">
            <a:extLst>
              <a:ext uri="{FF2B5EF4-FFF2-40B4-BE49-F238E27FC236}">
                <a16:creationId xmlns:a16="http://schemas.microsoft.com/office/drawing/2014/main" id="{4A907C8E-28C1-4C6A-AE41-93CC67982A09}"/>
              </a:ext>
            </a:extLst>
          </p:cNvPr>
          <p:cNvSpPr>
            <a:spLocks noGrp="1"/>
          </p:cNvSpPr>
          <p:nvPr>
            <p:ph type="body" sz="quarter" idx="48" hasCustomPrompt="1"/>
          </p:nvPr>
        </p:nvSpPr>
        <p:spPr>
          <a:xfrm>
            <a:off x="8709024" y="487670"/>
            <a:ext cx="1435099" cy="1634821"/>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Sub heading</a:t>
            </a:r>
          </a:p>
          <a:p>
            <a:pPr lvl="1"/>
            <a:r>
              <a:rPr lang="en-US"/>
              <a:t>Text</a:t>
            </a:r>
          </a:p>
        </p:txBody>
      </p:sp>
    </p:spTree>
    <p:extLst>
      <p:ext uri="{BB962C8B-B14F-4D97-AF65-F5344CB8AC3E}">
        <p14:creationId xmlns:p14="http://schemas.microsoft.com/office/powerpoint/2010/main" val="145060047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 Dark Photo Layout 1">
    <p:bg>
      <p:bgPr>
        <a:solidFill>
          <a:srgbClr val="012A2C"/>
        </a:solidFill>
        <a:effectLst/>
      </p:bgPr>
    </p:bg>
    <p:spTree>
      <p:nvGrpSpPr>
        <p:cNvPr id="1" name=""/>
        <p:cNvGrpSpPr/>
        <p:nvPr/>
      </p:nvGrpSpPr>
      <p:grpSpPr>
        <a:xfrm>
          <a:off x="0" y="0"/>
          <a:ext cx="0" cy="0"/>
          <a:chOff x="0" y="0"/>
          <a:chExt cx="0" cy="0"/>
        </a:xfrm>
      </p:grpSpPr>
      <p:sp>
        <p:nvSpPr>
          <p:cNvPr id="5" name="Picture Placeholder 11">
            <a:extLst>
              <a:ext uri="{FF2B5EF4-FFF2-40B4-BE49-F238E27FC236}">
                <a16:creationId xmlns:a16="http://schemas.microsoft.com/office/drawing/2014/main" id="{8309D712-B377-474B-A408-4582377100CE}"/>
              </a:ext>
            </a:extLst>
          </p:cNvPr>
          <p:cNvSpPr>
            <a:spLocks noGrp="1"/>
          </p:cNvSpPr>
          <p:nvPr>
            <p:ph type="pic" sz="quarter" idx="11"/>
          </p:nvPr>
        </p:nvSpPr>
        <p:spPr>
          <a:xfrm>
            <a:off x="511175" y="476250"/>
            <a:ext cx="9118600" cy="5905500"/>
          </a:xfrm>
          <a:noFill/>
        </p:spPr>
        <p:txBody>
          <a:bodyPr/>
          <a:lstStyle>
            <a:lvl1pPr>
              <a:defRPr>
                <a:solidFill>
                  <a:schemeClr val="bg1"/>
                </a:solidFill>
              </a:defRPr>
            </a:lvl1pPr>
          </a:lstStyle>
          <a:p>
            <a:r>
              <a:rPr lang="en-US"/>
              <a:t>Click icon to add picture</a:t>
            </a:r>
            <a:endParaRPr lang="en-GB"/>
          </a:p>
        </p:txBody>
      </p:sp>
      <p:sp>
        <p:nvSpPr>
          <p:cNvPr id="7" name="TextBox 6">
            <a:extLst>
              <a:ext uri="{FF2B5EF4-FFF2-40B4-BE49-F238E27FC236}">
                <a16:creationId xmlns:a16="http://schemas.microsoft.com/office/drawing/2014/main" id="{5CD241F3-60CE-4110-88EB-299D0913C1E5}"/>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8" name="TextBox 7">
            <a:extLst>
              <a:ext uri="{FF2B5EF4-FFF2-40B4-BE49-F238E27FC236}">
                <a16:creationId xmlns:a16="http://schemas.microsoft.com/office/drawing/2014/main" id="{F7587771-187C-4193-A7C6-4048D0A0A5D4}"/>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
        <p:nvSpPr>
          <p:cNvPr id="9" name="Text Placeholder 4">
            <a:extLst>
              <a:ext uri="{FF2B5EF4-FFF2-40B4-BE49-F238E27FC236}">
                <a16:creationId xmlns:a16="http://schemas.microsoft.com/office/drawing/2014/main" id="{03CE757A-9FF7-44F2-9D9C-FE02395E819D}"/>
              </a:ext>
            </a:extLst>
          </p:cNvPr>
          <p:cNvSpPr>
            <a:spLocks noGrp="1"/>
          </p:cNvSpPr>
          <p:nvPr>
            <p:ph type="body" sz="quarter" idx="46" hasCustomPrompt="1"/>
          </p:nvPr>
        </p:nvSpPr>
        <p:spPr>
          <a:xfrm>
            <a:off x="10244138" y="4266631"/>
            <a:ext cx="1435100" cy="2115119"/>
          </a:xfrm>
        </p:spPr>
        <p:txBody>
          <a:bodyPr anchor="b"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Tree>
    <p:extLst>
      <p:ext uri="{BB962C8B-B14F-4D97-AF65-F5344CB8AC3E}">
        <p14:creationId xmlns:p14="http://schemas.microsoft.com/office/powerpoint/2010/main" val="74725779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ark Photo Layout 2">
    <p:bg>
      <p:bgPr>
        <a:solidFill>
          <a:srgbClr val="012A2C"/>
        </a:solidFill>
        <a:effectLst/>
      </p:bgPr>
    </p:bg>
    <p:spTree>
      <p:nvGrpSpPr>
        <p:cNvPr id="1" name=""/>
        <p:cNvGrpSpPr/>
        <p:nvPr/>
      </p:nvGrpSpPr>
      <p:grpSpPr>
        <a:xfrm>
          <a:off x="0" y="0"/>
          <a:ext cx="0" cy="0"/>
          <a:chOff x="0" y="0"/>
          <a:chExt cx="0" cy="0"/>
        </a:xfrm>
      </p:grpSpPr>
      <p:sp>
        <p:nvSpPr>
          <p:cNvPr id="7" name="Picture Placeholder 11">
            <a:extLst>
              <a:ext uri="{FF2B5EF4-FFF2-40B4-BE49-F238E27FC236}">
                <a16:creationId xmlns:a16="http://schemas.microsoft.com/office/drawing/2014/main" id="{C073FC8F-6DFD-4BD3-9E2B-3B5872A8D397}"/>
              </a:ext>
            </a:extLst>
          </p:cNvPr>
          <p:cNvSpPr>
            <a:spLocks noGrp="1"/>
          </p:cNvSpPr>
          <p:nvPr>
            <p:ph type="pic" sz="quarter" idx="13"/>
          </p:nvPr>
        </p:nvSpPr>
        <p:spPr>
          <a:xfrm>
            <a:off x="6657974" y="0"/>
            <a:ext cx="5534025" cy="6858000"/>
          </a:xfrm>
          <a:noFill/>
        </p:spPr>
        <p:txBody>
          <a:bodyPr/>
          <a:lstStyle>
            <a:lvl1pPr>
              <a:defRPr>
                <a:solidFill>
                  <a:schemeClr val="bg1"/>
                </a:solidFill>
              </a:defRPr>
            </a:lvl1pPr>
          </a:lstStyle>
          <a:p>
            <a:r>
              <a:rPr lang="en-US"/>
              <a:t>Click icon to add picture</a:t>
            </a:r>
            <a:endParaRPr lang="en-GB"/>
          </a:p>
        </p:txBody>
      </p:sp>
      <p:sp>
        <p:nvSpPr>
          <p:cNvPr id="5" name="Picture Placeholder 11">
            <a:extLst>
              <a:ext uri="{FF2B5EF4-FFF2-40B4-BE49-F238E27FC236}">
                <a16:creationId xmlns:a16="http://schemas.microsoft.com/office/drawing/2014/main" id="{8309D712-B377-474B-A408-4582377100CE}"/>
              </a:ext>
            </a:extLst>
          </p:cNvPr>
          <p:cNvSpPr>
            <a:spLocks noGrp="1"/>
          </p:cNvSpPr>
          <p:nvPr>
            <p:ph type="pic" sz="quarter" idx="11"/>
          </p:nvPr>
        </p:nvSpPr>
        <p:spPr>
          <a:xfrm>
            <a:off x="511175" y="2227262"/>
            <a:ext cx="2971800" cy="4154487"/>
          </a:xfrm>
          <a:noFill/>
        </p:spPr>
        <p:txBody>
          <a:bodyPr/>
          <a:lstStyle>
            <a:lvl1pPr>
              <a:defRPr>
                <a:solidFill>
                  <a:schemeClr val="bg1"/>
                </a:solidFill>
              </a:defRPr>
            </a:lvl1pPr>
          </a:lstStyle>
          <a:p>
            <a:r>
              <a:rPr lang="en-US"/>
              <a:t>Click icon to add picture</a:t>
            </a:r>
            <a:endParaRPr lang="en-GB"/>
          </a:p>
        </p:txBody>
      </p:sp>
      <p:sp>
        <p:nvSpPr>
          <p:cNvPr id="8" name="TextBox 7">
            <a:extLst>
              <a:ext uri="{FF2B5EF4-FFF2-40B4-BE49-F238E27FC236}">
                <a16:creationId xmlns:a16="http://schemas.microsoft.com/office/drawing/2014/main" id="{404260AD-F825-4A97-9318-1A4EA5DFE23D}"/>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11" name="TextBox 10">
            <a:extLst>
              <a:ext uri="{FF2B5EF4-FFF2-40B4-BE49-F238E27FC236}">
                <a16:creationId xmlns:a16="http://schemas.microsoft.com/office/drawing/2014/main" id="{15A9BB28-24D8-45EF-A4CB-4555A5464A55}"/>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
        <p:nvSpPr>
          <p:cNvPr id="12" name="Text Placeholder 4">
            <a:extLst>
              <a:ext uri="{FF2B5EF4-FFF2-40B4-BE49-F238E27FC236}">
                <a16:creationId xmlns:a16="http://schemas.microsoft.com/office/drawing/2014/main" id="{0B15115C-9B3E-4A3B-B205-49092ADDC93B}"/>
              </a:ext>
            </a:extLst>
          </p:cNvPr>
          <p:cNvSpPr>
            <a:spLocks noGrp="1"/>
          </p:cNvSpPr>
          <p:nvPr>
            <p:ph type="body" sz="quarter" idx="46" hasCustomPrompt="1"/>
          </p:nvPr>
        </p:nvSpPr>
        <p:spPr>
          <a:xfrm>
            <a:off x="511175" y="359952"/>
            <a:ext cx="1435100" cy="176571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
        <p:nvSpPr>
          <p:cNvPr id="13" name="Text Placeholder 4">
            <a:extLst>
              <a:ext uri="{FF2B5EF4-FFF2-40B4-BE49-F238E27FC236}">
                <a16:creationId xmlns:a16="http://schemas.microsoft.com/office/drawing/2014/main" id="{1DF14802-686C-4333-8F0A-549FB1835D06}"/>
              </a:ext>
            </a:extLst>
          </p:cNvPr>
          <p:cNvSpPr>
            <a:spLocks noGrp="1"/>
          </p:cNvSpPr>
          <p:nvPr>
            <p:ph type="body" sz="quarter" idx="47" hasCustomPrompt="1"/>
          </p:nvPr>
        </p:nvSpPr>
        <p:spPr>
          <a:xfrm>
            <a:off x="2055813" y="359952"/>
            <a:ext cx="1435100" cy="176571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Tree>
    <p:extLst>
      <p:ext uri="{BB962C8B-B14F-4D97-AF65-F5344CB8AC3E}">
        <p14:creationId xmlns:p14="http://schemas.microsoft.com/office/powerpoint/2010/main" val="77382758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ark Photo Layout 3">
    <p:bg>
      <p:bgPr>
        <a:solidFill>
          <a:srgbClr val="012A2C"/>
        </a:solidFill>
        <a:effectLst/>
      </p:bgPr>
    </p:bg>
    <p:spTree>
      <p:nvGrpSpPr>
        <p:cNvPr id="1" name=""/>
        <p:cNvGrpSpPr/>
        <p:nvPr/>
      </p:nvGrpSpPr>
      <p:grpSpPr>
        <a:xfrm>
          <a:off x="0" y="0"/>
          <a:ext cx="0" cy="0"/>
          <a:chOff x="0" y="0"/>
          <a:chExt cx="0" cy="0"/>
        </a:xfrm>
      </p:grpSpPr>
      <p:sp>
        <p:nvSpPr>
          <p:cNvPr id="7" name="Picture Placeholder 11">
            <a:extLst>
              <a:ext uri="{FF2B5EF4-FFF2-40B4-BE49-F238E27FC236}">
                <a16:creationId xmlns:a16="http://schemas.microsoft.com/office/drawing/2014/main" id="{C073FC8F-6DFD-4BD3-9E2B-3B5872A8D397}"/>
              </a:ext>
            </a:extLst>
          </p:cNvPr>
          <p:cNvSpPr>
            <a:spLocks noGrp="1"/>
          </p:cNvSpPr>
          <p:nvPr>
            <p:ph type="pic" sz="quarter" idx="13"/>
          </p:nvPr>
        </p:nvSpPr>
        <p:spPr>
          <a:xfrm>
            <a:off x="6146801" y="2852738"/>
            <a:ext cx="5532438" cy="3529011"/>
          </a:xfrm>
          <a:noFill/>
        </p:spPr>
        <p:txBody>
          <a:bodyPr/>
          <a:lstStyle>
            <a:lvl1pPr>
              <a:defRPr>
                <a:solidFill>
                  <a:schemeClr val="bg1"/>
                </a:solidFill>
              </a:defRPr>
            </a:lvl1pPr>
          </a:lstStyle>
          <a:p>
            <a:r>
              <a:rPr lang="en-US"/>
              <a:t>Click icon to add picture</a:t>
            </a:r>
            <a:endParaRPr lang="en-GB"/>
          </a:p>
        </p:txBody>
      </p:sp>
      <p:sp>
        <p:nvSpPr>
          <p:cNvPr id="5" name="Picture Placeholder 11">
            <a:extLst>
              <a:ext uri="{FF2B5EF4-FFF2-40B4-BE49-F238E27FC236}">
                <a16:creationId xmlns:a16="http://schemas.microsoft.com/office/drawing/2014/main" id="{8309D712-B377-474B-A408-4582377100CE}"/>
              </a:ext>
            </a:extLst>
          </p:cNvPr>
          <p:cNvSpPr>
            <a:spLocks noGrp="1"/>
          </p:cNvSpPr>
          <p:nvPr>
            <p:ph type="pic" sz="quarter" idx="11"/>
          </p:nvPr>
        </p:nvSpPr>
        <p:spPr>
          <a:xfrm>
            <a:off x="511174" y="2852738"/>
            <a:ext cx="5534025" cy="3529011"/>
          </a:xfrm>
          <a:noFill/>
        </p:spPr>
        <p:txBody>
          <a:bodyPr/>
          <a:lstStyle>
            <a:lvl1pPr>
              <a:defRPr>
                <a:solidFill>
                  <a:schemeClr val="bg1"/>
                </a:solidFill>
              </a:defRPr>
            </a:lvl1pPr>
          </a:lstStyle>
          <a:p>
            <a:r>
              <a:rPr lang="en-US"/>
              <a:t>Click icon to add picture</a:t>
            </a:r>
            <a:endParaRPr lang="en-GB"/>
          </a:p>
        </p:txBody>
      </p:sp>
      <p:sp>
        <p:nvSpPr>
          <p:cNvPr id="8" name="TextBox 7">
            <a:extLst>
              <a:ext uri="{FF2B5EF4-FFF2-40B4-BE49-F238E27FC236}">
                <a16:creationId xmlns:a16="http://schemas.microsoft.com/office/drawing/2014/main" id="{D96B89DD-E8F5-4148-A27B-822CC9F876FC}"/>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9" name="TextBox 8">
            <a:extLst>
              <a:ext uri="{FF2B5EF4-FFF2-40B4-BE49-F238E27FC236}">
                <a16:creationId xmlns:a16="http://schemas.microsoft.com/office/drawing/2014/main" id="{F85C3A88-4E32-488E-B4A3-0D05398A59A7}"/>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
        <p:nvSpPr>
          <p:cNvPr id="10" name="Text Placeholder 4">
            <a:extLst>
              <a:ext uri="{FF2B5EF4-FFF2-40B4-BE49-F238E27FC236}">
                <a16:creationId xmlns:a16="http://schemas.microsoft.com/office/drawing/2014/main" id="{82223531-0835-4F10-A8F4-08D6915B4B55}"/>
              </a:ext>
            </a:extLst>
          </p:cNvPr>
          <p:cNvSpPr>
            <a:spLocks noGrp="1"/>
          </p:cNvSpPr>
          <p:nvPr>
            <p:ph type="body" sz="quarter" idx="46" hasCustomPrompt="1"/>
          </p:nvPr>
        </p:nvSpPr>
        <p:spPr>
          <a:xfrm>
            <a:off x="511174" y="352425"/>
            <a:ext cx="1435100" cy="2115119"/>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
        <p:nvSpPr>
          <p:cNvPr id="13" name="Text Placeholder 4">
            <a:extLst>
              <a:ext uri="{FF2B5EF4-FFF2-40B4-BE49-F238E27FC236}">
                <a16:creationId xmlns:a16="http://schemas.microsoft.com/office/drawing/2014/main" id="{F304DE5E-9C0A-4544-8BCC-19CB74917D31}"/>
              </a:ext>
            </a:extLst>
          </p:cNvPr>
          <p:cNvSpPr>
            <a:spLocks noGrp="1"/>
          </p:cNvSpPr>
          <p:nvPr>
            <p:ph type="body" sz="quarter" idx="47" hasCustomPrompt="1"/>
          </p:nvPr>
        </p:nvSpPr>
        <p:spPr>
          <a:xfrm>
            <a:off x="6146800" y="352424"/>
            <a:ext cx="1435100" cy="2115119"/>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Tree>
    <p:extLst>
      <p:ext uri="{BB962C8B-B14F-4D97-AF65-F5344CB8AC3E}">
        <p14:creationId xmlns:p14="http://schemas.microsoft.com/office/powerpoint/2010/main" val="7172102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ext Section Opener 3 Dark">
    <p:bg>
      <p:bgPr>
        <a:solidFill>
          <a:srgbClr val="012A2C"/>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8A9ECD61-ED7B-49FC-8FEC-E9337C05843A}"/>
              </a:ext>
            </a:extLst>
          </p:cNvPr>
          <p:cNvCxnSpPr>
            <a:cxnSpLocks/>
          </p:cNvCxnSpPr>
          <p:nvPr/>
        </p:nvCxnSpPr>
        <p:spPr>
          <a:xfrm flipH="1">
            <a:off x="0" y="857250"/>
            <a:ext cx="10142539"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E9617AF-0744-4180-BB4B-3FEB62C97441}"/>
              </a:ext>
            </a:extLst>
          </p:cNvPr>
          <p:cNvSpPr/>
          <p:nvPr/>
        </p:nvSpPr>
        <p:spPr>
          <a:xfrm>
            <a:off x="0" y="0"/>
            <a:ext cx="3584575" cy="6858000"/>
          </a:xfrm>
          <a:prstGeom prst="rect">
            <a:avLst/>
          </a:prstGeom>
          <a:solidFill>
            <a:srgbClr val="012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511175" y="476250"/>
            <a:ext cx="2971800" cy="1844675"/>
          </a:xfrm>
        </p:spPr>
        <p:txBody>
          <a:bodyPr anchor="t"/>
          <a:lstStyle>
            <a:lvl1pPr>
              <a:defRPr sz="3600" b="0">
                <a:solidFill>
                  <a:schemeClr val="bg1">
                    <a:alpha val="80000"/>
                  </a:schemeClr>
                </a:solidFill>
              </a:defRPr>
            </a:lvl1pPr>
          </a:lstStyle>
          <a:p>
            <a:r>
              <a:rPr lang="en-GB"/>
              <a:t>Click to edit Master title style</a:t>
            </a:r>
          </a:p>
        </p:txBody>
      </p:sp>
      <p:sp>
        <p:nvSpPr>
          <p:cNvPr id="7" name="Text Placeholder 2">
            <a:extLst>
              <a:ext uri="{FF2B5EF4-FFF2-40B4-BE49-F238E27FC236}">
                <a16:creationId xmlns:a16="http://schemas.microsoft.com/office/drawing/2014/main" id="{3CEE43AE-91A9-4FCE-B4E7-BF4A26C91C1F}"/>
              </a:ext>
            </a:extLst>
          </p:cNvPr>
          <p:cNvSpPr>
            <a:spLocks noGrp="1"/>
          </p:cNvSpPr>
          <p:nvPr>
            <p:ph type="body" sz="quarter" idx="10" hasCustomPrompt="1"/>
          </p:nvPr>
        </p:nvSpPr>
        <p:spPr>
          <a:xfrm>
            <a:off x="10244138" y="352424"/>
            <a:ext cx="1436687" cy="1147763"/>
          </a:xfrm>
        </p:spPr>
        <p:txBody>
          <a:bodyPr anchor="b"/>
          <a:lstStyle>
            <a:lvl1pPr algn="r">
              <a:defRPr sz="9600">
                <a:solidFill>
                  <a:schemeClr val="bg1">
                    <a:alpha val="80000"/>
                  </a:schemeClr>
                </a:solidFill>
              </a:defRPr>
            </a:lvl1pPr>
          </a:lstStyle>
          <a:p>
            <a:pPr lvl="0"/>
            <a:r>
              <a:rPr lang="en-GB"/>
              <a:t>3</a:t>
            </a:r>
          </a:p>
        </p:txBody>
      </p:sp>
      <p:sp>
        <p:nvSpPr>
          <p:cNvPr id="6" name="Rectangle 5">
            <a:extLst>
              <a:ext uri="{FF2B5EF4-FFF2-40B4-BE49-F238E27FC236}">
                <a16:creationId xmlns:a16="http://schemas.microsoft.com/office/drawing/2014/main" id="{F9495082-DE33-4603-81F4-AE473846DE18}"/>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969155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000" fill="hold"/>
                                        <p:tgtEl>
                                          <p:spTgt spid="12"/>
                                        </p:tgtEl>
                                        <p:attrNameLst>
                                          <p:attrName>ppt_x</p:attrName>
                                        </p:attrNameLst>
                                      </p:cBhvr>
                                      <p:tavLst>
                                        <p:tav tm="0">
                                          <p:val>
                                            <p:strVal val="0-#ppt_w/2"/>
                                          </p:val>
                                        </p:tav>
                                        <p:tav tm="100000">
                                          <p:val>
                                            <p:strVal val="#ppt_x"/>
                                          </p:val>
                                        </p:tav>
                                      </p:tavLst>
                                    </p:anim>
                                    <p:anim calcmode="lin" valueType="num">
                                      <p:cBhvr additive="base">
                                        <p:cTn id="8" dur="2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ark Photo Layout 4">
    <p:bg>
      <p:bgPr>
        <a:solidFill>
          <a:srgbClr val="012A2C"/>
        </a:solidFill>
        <a:effectLst/>
      </p:bgPr>
    </p:bg>
    <p:spTree>
      <p:nvGrpSpPr>
        <p:cNvPr id="1" name=""/>
        <p:cNvGrpSpPr/>
        <p:nvPr/>
      </p:nvGrpSpPr>
      <p:grpSpPr>
        <a:xfrm>
          <a:off x="0" y="0"/>
          <a:ext cx="0" cy="0"/>
          <a:chOff x="0" y="0"/>
          <a:chExt cx="0" cy="0"/>
        </a:xfrm>
      </p:grpSpPr>
      <p:sp>
        <p:nvSpPr>
          <p:cNvPr id="7" name="Picture Placeholder 11">
            <a:extLst>
              <a:ext uri="{FF2B5EF4-FFF2-40B4-BE49-F238E27FC236}">
                <a16:creationId xmlns:a16="http://schemas.microsoft.com/office/drawing/2014/main" id="{C073FC8F-6DFD-4BD3-9E2B-3B5872A8D397}"/>
              </a:ext>
            </a:extLst>
          </p:cNvPr>
          <p:cNvSpPr>
            <a:spLocks noGrp="1"/>
          </p:cNvSpPr>
          <p:nvPr>
            <p:ph type="pic" sz="quarter" idx="13"/>
          </p:nvPr>
        </p:nvSpPr>
        <p:spPr>
          <a:xfrm>
            <a:off x="7170737" y="3478213"/>
            <a:ext cx="4508501" cy="2903536"/>
          </a:xfrm>
          <a:noFill/>
        </p:spPr>
        <p:txBody>
          <a:bodyPr/>
          <a:lstStyle>
            <a:lvl1pPr>
              <a:defRPr>
                <a:solidFill>
                  <a:schemeClr val="bg1"/>
                </a:solidFill>
              </a:defRPr>
            </a:lvl1pPr>
          </a:lstStyle>
          <a:p>
            <a:r>
              <a:rPr lang="en-US"/>
              <a:t>Click icon to add picture</a:t>
            </a:r>
            <a:endParaRPr lang="en-GB"/>
          </a:p>
        </p:txBody>
      </p:sp>
      <p:sp>
        <p:nvSpPr>
          <p:cNvPr id="5" name="Picture Placeholder 11">
            <a:extLst>
              <a:ext uri="{FF2B5EF4-FFF2-40B4-BE49-F238E27FC236}">
                <a16:creationId xmlns:a16="http://schemas.microsoft.com/office/drawing/2014/main" id="{8309D712-B377-474B-A408-4582377100CE}"/>
              </a:ext>
            </a:extLst>
          </p:cNvPr>
          <p:cNvSpPr>
            <a:spLocks noGrp="1"/>
          </p:cNvSpPr>
          <p:nvPr>
            <p:ph type="pic" sz="quarter" idx="11"/>
          </p:nvPr>
        </p:nvSpPr>
        <p:spPr>
          <a:xfrm>
            <a:off x="511174" y="3478213"/>
            <a:ext cx="4508501" cy="2903536"/>
          </a:xfrm>
          <a:noFill/>
        </p:spPr>
        <p:txBody>
          <a:bodyPr/>
          <a:lstStyle>
            <a:lvl1pPr>
              <a:defRPr>
                <a:solidFill>
                  <a:schemeClr val="bg1"/>
                </a:solidFill>
              </a:defRPr>
            </a:lvl1pPr>
          </a:lstStyle>
          <a:p>
            <a:r>
              <a:rPr lang="en-US"/>
              <a:t>Click icon to add picture</a:t>
            </a:r>
            <a:endParaRPr lang="en-GB"/>
          </a:p>
        </p:txBody>
      </p:sp>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511887" y="473077"/>
            <a:ext cx="4508501" cy="2903536"/>
          </a:xfrm>
          <a:noFill/>
        </p:spPr>
        <p:txBody>
          <a:bodyPr/>
          <a:lstStyle>
            <a:lvl1pPr>
              <a:defRPr>
                <a:solidFill>
                  <a:schemeClr val="bg1"/>
                </a:solidFill>
              </a:defRPr>
            </a:lvl1pPr>
          </a:lstStyle>
          <a:p>
            <a:r>
              <a:rPr lang="en-US"/>
              <a:t>Click icon to add picture</a:t>
            </a:r>
            <a:endParaRPr lang="en-GB"/>
          </a:p>
        </p:txBody>
      </p:sp>
      <p:sp>
        <p:nvSpPr>
          <p:cNvPr id="11" name="Picture Placeholder 11">
            <a:extLst>
              <a:ext uri="{FF2B5EF4-FFF2-40B4-BE49-F238E27FC236}">
                <a16:creationId xmlns:a16="http://schemas.microsoft.com/office/drawing/2014/main" id="{2FE7B96D-3E01-4CC1-BFAB-8F8BE9501B96}"/>
              </a:ext>
            </a:extLst>
          </p:cNvPr>
          <p:cNvSpPr>
            <a:spLocks noGrp="1"/>
          </p:cNvSpPr>
          <p:nvPr>
            <p:ph type="pic" sz="quarter" idx="17"/>
          </p:nvPr>
        </p:nvSpPr>
        <p:spPr>
          <a:xfrm>
            <a:off x="7170738" y="473077"/>
            <a:ext cx="4508501" cy="2903536"/>
          </a:xfrm>
          <a:noFill/>
        </p:spPr>
        <p:txBody>
          <a:bodyPr/>
          <a:lstStyle>
            <a:lvl1pPr>
              <a:defRPr>
                <a:solidFill>
                  <a:schemeClr val="bg1"/>
                </a:solidFill>
              </a:defRPr>
            </a:lvl1pPr>
          </a:lstStyle>
          <a:p>
            <a:r>
              <a:rPr lang="en-US"/>
              <a:t>Click icon to add picture</a:t>
            </a:r>
            <a:endParaRPr lang="en-GB"/>
          </a:p>
        </p:txBody>
      </p:sp>
      <p:sp>
        <p:nvSpPr>
          <p:cNvPr id="12" name="TextBox 11">
            <a:extLst>
              <a:ext uri="{FF2B5EF4-FFF2-40B4-BE49-F238E27FC236}">
                <a16:creationId xmlns:a16="http://schemas.microsoft.com/office/drawing/2014/main" id="{1091ED0F-3BC7-49B3-B07E-D8929625665B}"/>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17" name="TextBox 16">
            <a:extLst>
              <a:ext uri="{FF2B5EF4-FFF2-40B4-BE49-F238E27FC236}">
                <a16:creationId xmlns:a16="http://schemas.microsoft.com/office/drawing/2014/main" id="{A53FC721-5C8E-4E16-BD6D-A85355F85579}"/>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
        <p:nvSpPr>
          <p:cNvPr id="18" name="Text Placeholder 4">
            <a:extLst>
              <a:ext uri="{FF2B5EF4-FFF2-40B4-BE49-F238E27FC236}">
                <a16:creationId xmlns:a16="http://schemas.microsoft.com/office/drawing/2014/main" id="{A7C546B8-74DE-4ECD-A1B7-F2C561FC39A2}"/>
              </a:ext>
            </a:extLst>
          </p:cNvPr>
          <p:cNvSpPr>
            <a:spLocks noGrp="1"/>
          </p:cNvSpPr>
          <p:nvPr>
            <p:ph type="body" sz="quarter" idx="46" hasCustomPrompt="1"/>
          </p:nvPr>
        </p:nvSpPr>
        <p:spPr>
          <a:xfrm>
            <a:off x="5120400" y="473077"/>
            <a:ext cx="924798" cy="227806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
        <p:nvSpPr>
          <p:cNvPr id="19" name="Text Placeholder 4">
            <a:extLst>
              <a:ext uri="{FF2B5EF4-FFF2-40B4-BE49-F238E27FC236}">
                <a16:creationId xmlns:a16="http://schemas.microsoft.com/office/drawing/2014/main" id="{A23B0301-17C0-4976-8FDA-A8478439C15C}"/>
              </a:ext>
            </a:extLst>
          </p:cNvPr>
          <p:cNvSpPr>
            <a:spLocks noGrp="1"/>
          </p:cNvSpPr>
          <p:nvPr>
            <p:ph type="body" sz="quarter" idx="47" hasCustomPrompt="1"/>
          </p:nvPr>
        </p:nvSpPr>
        <p:spPr>
          <a:xfrm>
            <a:off x="6146800" y="473077"/>
            <a:ext cx="924798" cy="227806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
        <p:nvSpPr>
          <p:cNvPr id="20" name="Text Placeholder 4">
            <a:extLst>
              <a:ext uri="{FF2B5EF4-FFF2-40B4-BE49-F238E27FC236}">
                <a16:creationId xmlns:a16="http://schemas.microsoft.com/office/drawing/2014/main" id="{6607C946-E1DE-405E-B405-5582801E5F67}"/>
              </a:ext>
            </a:extLst>
          </p:cNvPr>
          <p:cNvSpPr>
            <a:spLocks noGrp="1"/>
          </p:cNvSpPr>
          <p:nvPr>
            <p:ph type="body" sz="quarter" idx="48" hasCustomPrompt="1"/>
          </p:nvPr>
        </p:nvSpPr>
        <p:spPr>
          <a:xfrm>
            <a:off x="5120400" y="3486944"/>
            <a:ext cx="924798" cy="227806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
        <p:nvSpPr>
          <p:cNvPr id="21" name="Text Placeholder 4">
            <a:extLst>
              <a:ext uri="{FF2B5EF4-FFF2-40B4-BE49-F238E27FC236}">
                <a16:creationId xmlns:a16="http://schemas.microsoft.com/office/drawing/2014/main" id="{494FB285-90C2-4728-BB22-9D19DE3E381E}"/>
              </a:ext>
            </a:extLst>
          </p:cNvPr>
          <p:cNvSpPr>
            <a:spLocks noGrp="1"/>
          </p:cNvSpPr>
          <p:nvPr>
            <p:ph type="body" sz="quarter" idx="49" hasCustomPrompt="1"/>
          </p:nvPr>
        </p:nvSpPr>
        <p:spPr>
          <a:xfrm>
            <a:off x="6146800" y="3486944"/>
            <a:ext cx="924798" cy="227806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Tree>
    <p:extLst>
      <p:ext uri="{BB962C8B-B14F-4D97-AF65-F5344CB8AC3E}">
        <p14:creationId xmlns:p14="http://schemas.microsoft.com/office/powerpoint/2010/main" val="22979544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ark Photo Layout 5">
    <p:bg>
      <p:bgPr>
        <a:solidFill>
          <a:srgbClr val="012A2C"/>
        </a:solidFill>
        <a:effectLst/>
      </p:bgPr>
    </p:bg>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2FE7B96D-3E01-4CC1-BFAB-8F8BE9501B96}"/>
              </a:ext>
            </a:extLst>
          </p:cNvPr>
          <p:cNvSpPr>
            <a:spLocks noGrp="1"/>
          </p:cNvSpPr>
          <p:nvPr>
            <p:ph type="pic" sz="quarter" idx="17"/>
          </p:nvPr>
        </p:nvSpPr>
        <p:spPr>
          <a:xfrm>
            <a:off x="6146800" y="473076"/>
            <a:ext cx="5532439" cy="3527423"/>
          </a:xfrm>
          <a:noFill/>
        </p:spPr>
        <p:txBody>
          <a:bodyPr/>
          <a:lstStyle>
            <a:lvl1pPr>
              <a:defRPr>
                <a:solidFill>
                  <a:schemeClr val="bg1"/>
                </a:solidFill>
              </a:defRPr>
            </a:lvl1pPr>
          </a:lstStyle>
          <a:p>
            <a:r>
              <a:rPr lang="en-US"/>
              <a:t>Click icon to add picture</a:t>
            </a:r>
            <a:endParaRPr lang="en-GB"/>
          </a:p>
        </p:txBody>
      </p:sp>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511887" y="473076"/>
            <a:ext cx="5533312" cy="3527423"/>
          </a:xfrm>
          <a:noFill/>
        </p:spPr>
        <p:txBody>
          <a:bodyPr/>
          <a:lstStyle>
            <a:lvl1pPr>
              <a:defRPr>
                <a:solidFill>
                  <a:schemeClr val="bg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C5E880B8-CDA5-4157-B3C8-C42C9DDD99AD}"/>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12" name="TextBox 11">
            <a:extLst>
              <a:ext uri="{FF2B5EF4-FFF2-40B4-BE49-F238E27FC236}">
                <a16:creationId xmlns:a16="http://schemas.microsoft.com/office/drawing/2014/main" id="{508AA9BB-4F28-4661-AA8B-5633FA719E82}"/>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
        <p:nvSpPr>
          <p:cNvPr id="14" name="Text Placeholder 4">
            <a:extLst>
              <a:ext uri="{FF2B5EF4-FFF2-40B4-BE49-F238E27FC236}">
                <a16:creationId xmlns:a16="http://schemas.microsoft.com/office/drawing/2014/main" id="{DA9E4189-F086-4C58-8F91-D74C088E7F3B}"/>
              </a:ext>
            </a:extLst>
          </p:cNvPr>
          <p:cNvSpPr>
            <a:spLocks noGrp="1"/>
          </p:cNvSpPr>
          <p:nvPr>
            <p:ph type="body" sz="quarter" idx="46" hasCustomPrompt="1"/>
          </p:nvPr>
        </p:nvSpPr>
        <p:spPr>
          <a:xfrm>
            <a:off x="522594" y="4737895"/>
            <a:ext cx="1433205" cy="1643856"/>
          </a:xfrm>
        </p:spPr>
        <p:txBody>
          <a:bodyPr anchor="b"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
        <p:nvSpPr>
          <p:cNvPr id="15" name="Text Placeholder 4">
            <a:extLst>
              <a:ext uri="{FF2B5EF4-FFF2-40B4-BE49-F238E27FC236}">
                <a16:creationId xmlns:a16="http://schemas.microsoft.com/office/drawing/2014/main" id="{AE23BBFC-0DAE-45D8-8429-52EB8E0E5AA2}"/>
              </a:ext>
            </a:extLst>
          </p:cNvPr>
          <p:cNvSpPr>
            <a:spLocks noGrp="1"/>
          </p:cNvSpPr>
          <p:nvPr>
            <p:ph type="body" sz="quarter" idx="47" hasCustomPrompt="1"/>
          </p:nvPr>
        </p:nvSpPr>
        <p:spPr>
          <a:xfrm>
            <a:off x="6146799" y="4727574"/>
            <a:ext cx="1433205" cy="1643856"/>
          </a:xfrm>
        </p:spPr>
        <p:txBody>
          <a:bodyPr anchor="b"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Tree>
    <p:extLst>
      <p:ext uri="{BB962C8B-B14F-4D97-AF65-F5344CB8AC3E}">
        <p14:creationId xmlns:p14="http://schemas.microsoft.com/office/powerpoint/2010/main" val="262846301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Dark Photo Layout 6">
    <p:bg>
      <p:bgPr>
        <a:solidFill>
          <a:srgbClr val="012A2C"/>
        </a:solidFill>
        <a:effectLst/>
      </p:bgPr>
    </p:bg>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2560639" y="476250"/>
            <a:ext cx="9120185" cy="5905500"/>
          </a:xfrm>
          <a:noFill/>
        </p:spPr>
        <p:txBody>
          <a:bodyPr/>
          <a:lstStyle>
            <a:lvl1pPr>
              <a:defRPr>
                <a:solidFill>
                  <a:schemeClr val="bg1"/>
                </a:solidFill>
              </a:defRPr>
            </a:lvl1pPr>
          </a:lstStyle>
          <a:p>
            <a:r>
              <a:rPr lang="en-US"/>
              <a:t>Click icon to add picture</a:t>
            </a:r>
            <a:endParaRPr lang="en-GB"/>
          </a:p>
        </p:txBody>
      </p:sp>
      <p:sp>
        <p:nvSpPr>
          <p:cNvPr id="6" name="TextBox 5">
            <a:extLst>
              <a:ext uri="{FF2B5EF4-FFF2-40B4-BE49-F238E27FC236}">
                <a16:creationId xmlns:a16="http://schemas.microsoft.com/office/drawing/2014/main" id="{3E6CD312-53A5-4025-8672-6022E7B4493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7" name="TextBox 6">
            <a:extLst>
              <a:ext uri="{FF2B5EF4-FFF2-40B4-BE49-F238E27FC236}">
                <a16:creationId xmlns:a16="http://schemas.microsoft.com/office/drawing/2014/main" id="{084C9562-A1BF-4A9B-A9C0-650D1A51FDDC}"/>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
        <p:nvSpPr>
          <p:cNvPr id="8" name="Text Placeholder 4">
            <a:extLst>
              <a:ext uri="{FF2B5EF4-FFF2-40B4-BE49-F238E27FC236}">
                <a16:creationId xmlns:a16="http://schemas.microsoft.com/office/drawing/2014/main" id="{DE1A888A-67E6-4BDE-BC5E-F78956AAF91C}"/>
              </a:ext>
            </a:extLst>
          </p:cNvPr>
          <p:cNvSpPr>
            <a:spLocks noGrp="1"/>
          </p:cNvSpPr>
          <p:nvPr>
            <p:ph type="body" sz="quarter" idx="46" hasCustomPrompt="1"/>
          </p:nvPr>
        </p:nvSpPr>
        <p:spPr>
          <a:xfrm>
            <a:off x="511176" y="1601788"/>
            <a:ext cx="1435099" cy="4779963"/>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Tree>
    <p:extLst>
      <p:ext uri="{BB962C8B-B14F-4D97-AF65-F5344CB8AC3E}">
        <p14:creationId xmlns:p14="http://schemas.microsoft.com/office/powerpoint/2010/main" val="307867201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ark Photo Layout 7">
    <p:bg>
      <p:bgPr>
        <a:solidFill>
          <a:srgbClr val="012A2C"/>
        </a:solidFill>
        <a:effectLst/>
      </p:bgPr>
    </p:bg>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511887" y="473076"/>
            <a:ext cx="3996613" cy="5908674"/>
          </a:xfrm>
          <a:noFill/>
        </p:spPr>
        <p:txBody>
          <a:bodyPr/>
          <a:lstStyle>
            <a:lvl1pPr>
              <a:defRPr>
                <a:solidFill>
                  <a:schemeClr val="bg1"/>
                </a:solidFill>
              </a:defRPr>
            </a:lvl1pPr>
          </a:lstStyle>
          <a:p>
            <a:r>
              <a:rPr lang="en-US"/>
              <a:t>Click icon to add picture</a:t>
            </a:r>
            <a:endParaRPr lang="en-GB"/>
          </a:p>
        </p:txBody>
      </p:sp>
      <p:sp>
        <p:nvSpPr>
          <p:cNvPr id="11" name="Picture Placeholder 11">
            <a:extLst>
              <a:ext uri="{FF2B5EF4-FFF2-40B4-BE49-F238E27FC236}">
                <a16:creationId xmlns:a16="http://schemas.microsoft.com/office/drawing/2014/main" id="{2FE7B96D-3E01-4CC1-BFAB-8F8BE9501B96}"/>
              </a:ext>
            </a:extLst>
          </p:cNvPr>
          <p:cNvSpPr>
            <a:spLocks noGrp="1"/>
          </p:cNvSpPr>
          <p:nvPr>
            <p:ph type="pic" sz="quarter" idx="17"/>
          </p:nvPr>
        </p:nvSpPr>
        <p:spPr>
          <a:xfrm>
            <a:off x="7683500" y="473076"/>
            <a:ext cx="3995739" cy="5908674"/>
          </a:xfrm>
          <a:noFill/>
        </p:spPr>
        <p:txBody>
          <a:bodyPr/>
          <a:lstStyle>
            <a:lvl1pPr>
              <a:defRPr>
                <a:solidFill>
                  <a:schemeClr val="bg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F380DD08-2B66-41E3-8F68-FA41EBC0049E}"/>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12" name="TextBox 11">
            <a:extLst>
              <a:ext uri="{FF2B5EF4-FFF2-40B4-BE49-F238E27FC236}">
                <a16:creationId xmlns:a16="http://schemas.microsoft.com/office/drawing/2014/main" id="{F1B42FBD-B410-4F2D-B8E6-427C00270781}"/>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
        <p:nvSpPr>
          <p:cNvPr id="13" name="Text Placeholder 4">
            <a:extLst>
              <a:ext uri="{FF2B5EF4-FFF2-40B4-BE49-F238E27FC236}">
                <a16:creationId xmlns:a16="http://schemas.microsoft.com/office/drawing/2014/main" id="{C63FA1EF-ACBD-4EE4-AF34-2925029F286B}"/>
              </a:ext>
            </a:extLst>
          </p:cNvPr>
          <p:cNvSpPr>
            <a:spLocks noGrp="1"/>
          </p:cNvSpPr>
          <p:nvPr>
            <p:ph type="body" sz="quarter" idx="46" hasCustomPrompt="1"/>
          </p:nvPr>
        </p:nvSpPr>
        <p:spPr>
          <a:xfrm>
            <a:off x="4610101" y="476250"/>
            <a:ext cx="1435099" cy="2274888"/>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
        <p:nvSpPr>
          <p:cNvPr id="14" name="Text Placeholder 4">
            <a:extLst>
              <a:ext uri="{FF2B5EF4-FFF2-40B4-BE49-F238E27FC236}">
                <a16:creationId xmlns:a16="http://schemas.microsoft.com/office/drawing/2014/main" id="{7BD8572B-3E8B-48B1-9658-FFB4D4B92F04}"/>
              </a:ext>
            </a:extLst>
          </p:cNvPr>
          <p:cNvSpPr>
            <a:spLocks noGrp="1"/>
          </p:cNvSpPr>
          <p:nvPr>
            <p:ph type="body" sz="quarter" idx="47" hasCustomPrompt="1"/>
          </p:nvPr>
        </p:nvSpPr>
        <p:spPr>
          <a:xfrm>
            <a:off x="6146801" y="473077"/>
            <a:ext cx="1435099" cy="2274888"/>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Tree>
    <p:extLst>
      <p:ext uri="{BB962C8B-B14F-4D97-AF65-F5344CB8AC3E}">
        <p14:creationId xmlns:p14="http://schemas.microsoft.com/office/powerpoint/2010/main" val="390033130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ark Photo Layout 8">
    <p:bg>
      <p:bgPr>
        <a:solidFill>
          <a:srgbClr val="012A2C"/>
        </a:solidFill>
        <a:effectLst/>
      </p:bgPr>
    </p:bg>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511888" y="2227262"/>
            <a:ext cx="2971088" cy="4154487"/>
          </a:xfrm>
          <a:noFill/>
        </p:spPr>
        <p:txBody>
          <a:bodyPr/>
          <a:lstStyle>
            <a:lvl1pPr>
              <a:defRPr>
                <a:solidFill>
                  <a:schemeClr val="bg1"/>
                </a:solidFill>
              </a:defRPr>
            </a:lvl1pPr>
          </a:lstStyle>
          <a:p>
            <a:r>
              <a:rPr lang="en-US"/>
              <a:t>Click icon to add picture</a:t>
            </a:r>
            <a:endParaRPr lang="en-GB"/>
          </a:p>
        </p:txBody>
      </p:sp>
      <p:sp>
        <p:nvSpPr>
          <p:cNvPr id="9" name="Picture Placeholder 11">
            <a:extLst>
              <a:ext uri="{FF2B5EF4-FFF2-40B4-BE49-F238E27FC236}">
                <a16:creationId xmlns:a16="http://schemas.microsoft.com/office/drawing/2014/main" id="{DDD672F2-9FBA-4686-9A16-79DF51FB6945}"/>
              </a:ext>
            </a:extLst>
          </p:cNvPr>
          <p:cNvSpPr>
            <a:spLocks noGrp="1"/>
          </p:cNvSpPr>
          <p:nvPr>
            <p:ph type="pic" sz="quarter" idx="17"/>
          </p:nvPr>
        </p:nvSpPr>
        <p:spPr>
          <a:xfrm>
            <a:off x="4610100" y="2227261"/>
            <a:ext cx="2971088" cy="4154487"/>
          </a:xfrm>
          <a:noFill/>
        </p:spPr>
        <p:txBody>
          <a:bodyPr/>
          <a:lstStyle>
            <a:lvl1pPr>
              <a:defRPr>
                <a:solidFill>
                  <a:schemeClr val="bg1"/>
                </a:solidFill>
              </a:defRPr>
            </a:lvl1pPr>
          </a:lstStyle>
          <a:p>
            <a:r>
              <a:rPr lang="en-US"/>
              <a:t>Click icon to add picture</a:t>
            </a:r>
            <a:endParaRPr lang="en-GB"/>
          </a:p>
        </p:txBody>
      </p:sp>
      <p:sp>
        <p:nvSpPr>
          <p:cNvPr id="12" name="Picture Placeholder 11">
            <a:extLst>
              <a:ext uri="{FF2B5EF4-FFF2-40B4-BE49-F238E27FC236}">
                <a16:creationId xmlns:a16="http://schemas.microsoft.com/office/drawing/2014/main" id="{6F61EF0A-8867-40FC-BAA6-AD52003D7277}"/>
              </a:ext>
            </a:extLst>
          </p:cNvPr>
          <p:cNvSpPr>
            <a:spLocks noGrp="1"/>
          </p:cNvSpPr>
          <p:nvPr>
            <p:ph type="pic" sz="quarter" idx="18"/>
          </p:nvPr>
        </p:nvSpPr>
        <p:spPr>
          <a:xfrm>
            <a:off x="8709024" y="2227263"/>
            <a:ext cx="2971088" cy="4154487"/>
          </a:xfrm>
          <a:noFill/>
        </p:spPr>
        <p:txBody>
          <a:bodyPr/>
          <a:lstStyle>
            <a:lvl1pPr>
              <a:defRPr>
                <a:solidFill>
                  <a:schemeClr val="bg1"/>
                </a:solidFill>
              </a:defRPr>
            </a:lvl1pPr>
          </a:lstStyle>
          <a:p>
            <a:r>
              <a:rPr lang="en-US"/>
              <a:t>Click icon to add picture</a:t>
            </a:r>
            <a:endParaRPr lang="en-GB"/>
          </a:p>
        </p:txBody>
      </p:sp>
      <p:sp>
        <p:nvSpPr>
          <p:cNvPr id="11" name="TextBox 10">
            <a:extLst>
              <a:ext uri="{FF2B5EF4-FFF2-40B4-BE49-F238E27FC236}">
                <a16:creationId xmlns:a16="http://schemas.microsoft.com/office/drawing/2014/main" id="{9C34C9C0-794B-4B88-A088-C138D4604EBF}"/>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13" name="TextBox 12">
            <a:extLst>
              <a:ext uri="{FF2B5EF4-FFF2-40B4-BE49-F238E27FC236}">
                <a16:creationId xmlns:a16="http://schemas.microsoft.com/office/drawing/2014/main" id="{DB0C6000-FE88-4107-BF9B-3A43AB2356F3}"/>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
        <p:nvSpPr>
          <p:cNvPr id="15" name="Text Placeholder 4">
            <a:extLst>
              <a:ext uri="{FF2B5EF4-FFF2-40B4-BE49-F238E27FC236}">
                <a16:creationId xmlns:a16="http://schemas.microsoft.com/office/drawing/2014/main" id="{9CB9C873-0006-4F8A-9C03-2ABE821DCFBB}"/>
              </a:ext>
            </a:extLst>
          </p:cNvPr>
          <p:cNvSpPr>
            <a:spLocks noGrp="1"/>
          </p:cNvSpPr>
          <p:nvPr>
            <p:ph type="body" sz="quarter" idx="46" hasCustomPrompt="1"/>
          </p:nvPr>
        </p:nvSpPr>
        <p:spPr>
          <a:xfrm>
            <a:off x="511888" y="490842"/>
            <a:ext cx="1435099" cy="163482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
        <p:nvSpPr>
          <p:cNvPr id="16" name="Text Placeholder 4">
            <a:extLst>
              <a:ext uri="{FF2B5EF4-FFF2-40B4-BE49-F238E27FC236}">
                <a16:creationId xmlns:a16="http://schemas.microsoft.com/office/drawing/2014/main" id="{0191C0FD-82C3-48AA-AFB6-8D0F71BB445D}"/>
              </a:ext>
            </a:extLst>
          </p:cNvPr>
          <p:cNvSpPr>
            <a:spLocks noGrp="1"/>
          </p:cNvSpPr>
          <p:nvPr>
            <p:ph type="body" sz="quarter" idx="47" hasCustomPrompt="1"/>
          </p:nvPr>
        </p:nvSpPr>
        <p:spPr>
          <a:xfrm>
            <a:off x="4610100" y="487670"/>
            <a:ext cx="1435099" cy="163482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
        <p:nvSpPr>
          <p:cNvPr id="17" name="Text Placeholder 4">
            <a:extLst>
              <a:ext uri="{FF2B5EF4-FFF2-40B4-BE49-F238E27FC236}">
                <a16:creationId xmlns:a16="http://schemas.microsoft.com/office/drawing/2014/main" id="{B5AD2BE2-3761-4D66-B723-A1F9C41C4080}"/>
              </a:ext>
            </a:extLst>
          </p:cNvPr>
          <p:cNvSpPr>
            <a:spLocks noGrp="1"/>
          </p:cNvSpPr>
          <p:nvPr>
            <p:ph type="body" sz="quarter" idx="48" hasCustomPrompt="1"/>
          </p:nvPr>
        </p:nvSpPr>
        <p:spPr>
          <a:xfrm>
            <a:off x="8709024" y="487670"/>
            <a:ext cx="1435099" cy="163482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Tree>
    <p:extLst>
      <p:ext uri="{BB962C8B-B14F-4D97-AF65-F5344CB8AC3E}">
        <p14:creationId xmlns:p14="http://schemas.microsoft.com/office/powerpoint/2010/main" val="4263836545"/>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ark Photo Layout 9">
    <p:bg>
      <p:bgPr>
        <a:solidFill>
          <a:srgbClr val="012A2C"/>
        </a:solidFill>
        <a:effectLst/>
      </p:bgPr>
    </p:bg>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B701AF1B-CFB7-4C97-95AA-5D7E0782E539}"/>
              </a:ext>
            </a:extLst>
          </p:cNvPr>
          <p:cNvSpPr>
            <a:spLocks noGrp="1"/>
          </p:cNvSpPr>
          <p:nvPr>
            <p:ph type="pic" sz="quarter" idx="16"/>
          </p:nvPr>
        </p:nvSpPr>
        <p:spPr>
          <a:xfrm>
            <a:off x="511888" y="2227262"/>
            <a:ext cx="2971088" cy="1773237"/>
          </a:xfrm>
          <a:noFill/>
        </p:spPr>
        <p:txBody>
          <a:bodyPr/>
          <a:lstStyle>
            <a:lvl1pPr>
              <a:defRPr>
                <a:solidFill>
                  <a:schemeClr val="bg1"/>
                </a:solidFill>
              </a:defRPr>
            </a:lvl1pPr>
          </a:lstStyle>
          <a:p>
            <a:r>
              <a:rPr lang="en-US"/>
              <a:t>Click icon to add picture</a:t>
            </a:r>
            <a:endParaRPr lang="en-GB"/>
          </a:p>
        </p:txBody>
      </p:sp>
      <p:sp>
        <p:nvSpPr>
          <p:cNvPr id="9" name="Picture Placeholder 11">
            <a:extLst>
              <a:ext uri="{FF2B5EF4-FFF2-40B4-BE49-F238E27FC236}">
                <a16:creationId xmlns:a16="http://schemas.microsoft.com/office/drawing/2014/main" id="{DDD672F2-9FBA-4686-9A16-79DF51FB6945}"/>
              </a:ext>
            </a:extLst>
          </p:cNvPr>
          <p:cNvSpPr>
            <a:spLocks noGrp="1"/>
          </p:cNvSpPr>
          <p:nvPr>
            <p:ph type="pic" sz="quarter" idx="17"/>
          </p:nvPr>
        </p:nvSpPr>
        <p:spPr>
          <a:xfrm>
            <a:off x="4610100" y="2227261"/>
            <a:ext cx="2971088" cy="1773237"/>
          </a:xfrm>
          <a:noFill/>
        </p:spPr>
        <p:txBody>
          <a:bodyPr/>
          <a:lstStyle>
            <a:lvl1pPr>
              <a:defRPr>
                <a:solidFill>
                  <a:schemeClr val="bg1"/>
                </a:solidFill>
              </a:defRPr>
            </a:lvl1pPr>
          </a:lstStyle>
          <a:p>
            <a:r>
              <a:rPr lang="en-US"/>
              <a:t>Click icon to add picture</a:t>
            </a:r>
            <a:endParaRPr lang="en-GB"/>
          </a:p>
        </p:txBody>
      </p:sp>
      <p:sp>
        <p:nvSpPr>
          <p:cNvPr id="12" name="Picture Placeholder 11">
            <a:extLst>
              <a:ext uri="{FF2B5EF4-FFF2-40B4-BE49-F238E27FC236}">
                <a16:creationId xmlns:a16="http://schemas.microsoft.com/office/drawing/2014/main" id="{6F61EF0A-8867-40FC-BAA6-AD52003D7277}"/>
              </a:ext>
            </a:extLst>
          </p:cNvPr>
          <p:cNvSpPr>
            <a:spLocks noGrp="1"/>
          </p:cNvSpPr>
          <p:nvPr>
            <p:ph type="pic" sz="quarter" idx="18"/>
          </p:nvPr>
        </p:nvSpPr>
        <p:spPr>
          <a:xfrm>
            <a:off x="8709024" y="2227263"/>
            <a:ext cx="2971088" cy="1773237"/>
          </a:xfrm>
          <a:noFill/>
        </p:spPr>
        <p:txBody>
          <a:bodyPr/>
          <a:lstStyle>
            <a:lvl1pPr>
              <a:defRPr>
                <a:solidFill>
                  <a:schemeClr val="bg1"/>
                </a:solidFill>
              </a:defRPr>
            </a:lvl1pPr>
          </a:lstStyle>
          <a:p>
            <a:r>
              <a:rPr lang="en-US"/>
              <a:t>Click icon to add picture</a:t>
            </a:r>
            <a:endParaRPr lang="en-GB"/>
          </a:p>
        </p:txBody>
      </p:sp>
      <p:sp>
        <p:nvSpPr>
          <p:cNvPr id="11" name="TextBox 10">
            <a:extLst>
              <a:ext uri="{FF2B5EF4-FFF2-40B4-BE49-F238E27FC236}">
                <a16:creationId xmlns:a16="http://schemas.microsoft.com/office/drawing/2014/main" id="{D947C406-4317-4F6A-BAD5-A664E0EEA560}"/>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a:solidFill>
                  <a:schemeClr val="bg1"/>
                </a:solidFill>
                <a:latin typeface="+mn-lt"/>
                <a:ea typeface="+mn-ea"/>
                <a:cs typeface="+mn-cs"/>
              </a:rPr>
              <a:t>Confidential &amp; Proprietary | © 2022 CBRE, Inc.</a:t>
            </a:r>
          </a:p>
        </p:txBody>
      </p:sp>
      <p:sp>
        <p:nvSpPr>
          <p:cNvPr id="13" name="TextBox 12">
            <a:extLst>
              <a:ext uri="{FF2B5EF4-FFF2-40B4-BE49-F238E27FC236}">
                <a16:creationId xmlns:a16="http://schemas.microsoft.com/office/drawing/2014/main" id="{5691D2DC-E9FE-4E26-8879-71670B025BF3}"/>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a:solidFill>
                <a:schemeClr val="bg1"/>
              </a:solidFill>
              <a:latin typeface="+mn-lt"/>
              <a:ea typeface="+mn-ea"/>
              <a:cs typeface="+mn-cs"/>
            </a:endParaRPr>
          </a:p>
        </p:txBody>
      </p:sp>
      <p:sp>
        <p:nvSpPr>
          <p:cNvPr id="15" name="Text Placeholder 4">
            <a:extLst>
              <a:ext uri="{FF2B5EF4-FFF2-40B4-BE49-F238E27FC236}">
                <a16:creationId xmlns:a16="http://schemas.microsoft.com/office/drawing/2014/main" id="{42F08510-01DD-48E0-80A3-8D5C59630780}"/>
              </a:ext>
            </a:extLst>
          </p:cNvPr>
          <p:cNvSpPr>
            <a:spLocks noGrp="1"/>
          </p:cNvSpPr>
          <p:nvPr>
            <p:ph type="body" sz="quarter" idx="46" hasCustomPrompt="1"/>
          </p:nvPr>
        </p:nvSpPr>
        <p:spPr>
          <a:xfrm>
            <a:off x="511888" y="490842"/>
            <a:ext cx="1435099" cy="163482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
        <p:nvSpPr>
          <p:cNvPr id="16" name="Text Placeholder 4">
            <a:extLst>
              <a:ext uri="{FF2B5EF4-FFF2-40B4-BE49-F238E27FC236}">
                <a16:creationId xmlns:a16="http://schemas.microsoft.com/office/drawing/2014/main" id="{275CEB7D-8A26-4B74-9D16-D42C13AB95E6}"/>
              </a:ext>
            </a:extLst>
          </p:cNvPr>
          <p:cNvSpPr>
            <a:spLocks noGrp="1"/>
          </p:cNvSpPr>
          <p:nvPr>
            <p:ph type="body" sz="quarter" idx="47" hasCustomPrompt="1"/>
          </p:nvPr>
        </p:nvSpPr>
        <p:spPr>
          <a:xfrm>
            <a:off x="4610100" y="487670"/>
            <a:ext cx="1435099" cy="163482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
        <p:nvSpPr>
          <p:cNvPr id="17" name="Text Placeholder 4">
            <a:extLst>
              <a:ext uri="{FF2B5EF4-FFF2-40B4-BE49-F238E27FC236}">
                <a16:creationId xmlns:a16="http://schemas.microsoft.com/office/drawing/2014/main" id="{113AE63D-B2BC-4F72-83C1-84488C4B42B8}"/>
              </a:ext>
            </a:extLst>
          </p:cNvPr>
          <p:cNvSpPr>
            <a:spLocks noGrp="1"/>
          </p:cNvSpPr>
          <p:nvPr>
            <p:ph type="body" sz="quarter" idx="48" hasCustomPrompt="1"/>
          </p:nvPr>
        </p:nvSpPr>
        <p:spPr>
          <a:xfrm>
            <a:off x="8709024" y="487670"/>
            <a:ext cx="1435099" cy="1634821"/>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Sub heading</a:t>
            </a:r>
          </a:p>
          <a:p>
            <a:pPr lvl="1"/>
            <a:r>
              <a:rPr lang="en-US"/>
              <a:t>Text</a:t>
            </a:r>
          </a:p>
        </p:txBody>
      </p:sp>
    </p:spTree>
    <p:extLst>
      <p:ext uri="{BB962C8B-B14F-4D97-AF65-F5344CB8AC3E}">
        <p14:creationId xmlns:p14="http://schemas.microsoft.com/office/powerpoint/2010/main" val="2549917959"/>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402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 Column Introduction">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5FF70B67-C845-4CFA-837C-62210E7EFBF0}"/>
              </a:ext>
            </a:extLst>
          </p:cNvPr>
          <p:cNvSpPr>
            <a:spLocks noGrp="1"/>
          </p:cNvSpPr>
          <p:nvPr>
            <p:ph sz="quarter" idx="37"/>
          </p:nvPr>
        </p:nvSpPr>
        <p:spPr>
          <a:xfrm>
            <a:off x="3584575" y="1617663"/>
            <a:ext cx="8094663" cy="4259262"/>
          </a:xfrm>
        </p:spPr>
        <p:txBody>
          <a:bodyPr/>
          <a:lstStyle>
            <a:lvl1pPr marL="0" indent="0">
              <a:spcBef>
                <a:spcPts val="0"/>
              </a:spcBef>
              <a:spcAft>
                <a:spcPts val="600"/>
              </a:spcAf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77F03F6-9538-49CE-8D06-38030765E7BB}"/>
              </a:ext>
            </a:extLst>
          </p:cNvPr>
          <p:cNvSpPr>
            <a:spLocks noGrp="1"/>
          </p:cNvSpPr>
          <p:nvPr>
            <p:ph type="title"/>
          </p:nvPr>
        </p:nvSpPr>
        <p:spPr/>
        <p:txBody>
          <a:bodyPr/>
          <a:lstStyle/>
          <a:p>
            <a:r>
              <a:rPr lang="en-US"/>
              <a:t>Click to edit Master title style</a:t>
            </a:r>
            <a:endParaRPr lang="en-GB"/>
          </a:p>
        </p:txBody>
      </p:sp>
      <p:cxnSp>
        <p:nvCxnSpPr>
          <p:cNvPr id="10" name="Straight Connector 9">
            <a:extLst>
              <a:ext uri="{FF2B5EF4-FFF2-40B4-BE49-F238E27FC236}">
                <a16:creationId xmlns:a16="http://schemas.microsoft.com/office/drawing/2014/main" id="{4F7078D9-99A7-4F4B-A2AE-F455F56FB451}"/>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676795B3-D4D7-4DD1-95C2-286A5F9D9236}"/>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4" name="Text Placeholder 3">
            <a:extLst>
              <a:ext uri="{FF2B5EF4-FFF2-40B4-BE49-F238E27FC236}">
                <a16:creationId xmlns:a16="http://schemas.microsoft.com/office/drawing/2014/main" id="{9DBA8EA8-8ABA-4D16-B62C-6072F6B2206E}"/>
              </a:ext>
            </a:extLst>
          </p:cNvPr>
          <p:cNvSpPr>
            <a:spLocks noGrp="1"/>
          </p:cNvSpPr>
          <p:nvPr>
            <p:ph type="body" sz="quarter" idx="44"/>
          </p:nvPr>
        </p:nvSpPr>
        <p:spPr>
          <a:xfrm>
            <a:off x="511177" y="3492063"/>
            <a:ext cx="1947861" cy="2889687"/>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8281718"/>
      </p:ext>
    </p:extLst>
  </p:cSld>
  <p:clrMapOvr>
    <a:masterClrMapping/>
  </p:clrMapOvr>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ingle Column + Subheading + Notes">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5FF70B67-C845-4CFA-837C-62210E7EFBF0}"/>
              </a:ext>
            </a:extLst>
          </p:cNvPr>
          <p:cNvSpPr>
            <a:spLocks noGrp="1"/>
          </p:cNvSpPr>
          <p:nvPr>
            <p:ph sz="quarter" idx="37"/>
          </p:nvPr>
        </p:nvSpPr>
        <p:spPr>
          <a:xfrm>
            <a:off x="3584575" y="1617663"/>
            <a:ext cx="8094663" cy="4259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77F03F6-9538-49CE-8D06-38030765E7BB}"/>
              </a:ext>
            </a:extLst>
          </p:cNvPr>
          <p:cNvSpPr>
            <a:spLocks noGrp="1"/>
          </p:cNvSpPr>
          <p:nvPr>
            <p:ph type="title"/>
          </p:nvPr>
        </p:nvSpPr>
        <p:spPr/>
        <p:txBody>
          <a:bodyPr/>
          <a:lstStyle/>
          <a:p>
            <a:r>
              <a:rPr lang="en-US"/>
              <a:t>Click to edit Master title style</a:t>
            </a:r>
            <a:endParaRPr lang="en-GB"/>
          </a:p>
        </p:txBody>
      </p:sp>
      <p:cxnSp>
        <p:nvCxnSpPr>
          <p:cNvPr id="10" name="Straight Connector 9">
            <a:extLst>
              <a:ext uri="{FF2B5EF4-FFF2-40B4-BE49-F238E27FC236}">
                <a16:creationId xmlns:a16="http://schemas.microsoft.com/office/drawing/2014/main" id="{4F7078D9-99A7-4F4B-A2AE-F455F56FB451}"/>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676795B3-D4D7-4DD1-95C2-286A5F9D9236}"/>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4" name="Text Placeholder 3">
            <a:extLst>
              <a:ext uri="{FF2B5EF4-FFF2-40B4-BE49-F238E27FC236}">
                <a16:creationId xmlns:a16="http://schemas.microsoft.com/office/drawing/2014/main" id="{BC711B05-4549-41C6-99B5-4B7537143611}"/>
              </a:ext>
            </a:extLst>
          </p:cNvPr>
          <p:cNvSpPr>
            <a:spLocks noGrp="1"/>
          </p:cNvSpPr>
          <p:nvPr>
            <p:ph type="body" sz="quarter" idx="44"/>
          </p:nvPr>
        </p:nvSpPr>
        <p:spPr>
          <a:xfrm>
            <a:off x="511177" y="3492063"/>
            <a:ext cx="1947861" cy="2889687"/>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0D6F2D8A-FF16-404E-8A5E-3EB4D2D2339F}"/>
              </a:ext>
            </a:extLst>
          </p:cNvPr>
          <p:cNvSpPr>
            <a:spLocks noGrp="1"/>
          </p:cNvSpPr>
          <p:nvPr>
            <p:ph type="body" sz="quarter" idx="12" hasCustomPrompt="1"/>
          </p:nvPr>
        </p:nvSpPr>
        <p:spPr>
          <a:xfrm>
            <a:off x="3584575" y="916061"/>
            <a:ext cx="2971801" cy="584128"/>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Tree>
    <p:extLst>
      <p:ext uri="{BB962C8B-B14F-4D97-AF65-F5344CB8AC3E}">
        <p14:creationId xmlns:p14="http://schemas.microsoft.com/office/powerpoint/2010/main" val="350490185"/>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ingle Column Full Content Area">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5FF70B67-C845-4CFA-837C-62210E7EFBF0}"/>
              </a:ext>
            </a:extLst>
          </p:cNvPr>
          <p:cNvSpPr>
            <a:spLocks noGrp="1"/>
          </p:cNvSpPr>
          <p:nvPr>
            <p:ph sz="quarter" idx="37"/>
          </p:nvPr>
        </p:nvSpPr>
        <p:spPr>
          <a:xfrm>
            <a:off x="3584575" y="476250"/>
            <a:ext cx="8094663" cy="5905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77F03F6-9538-49CE-8D06-38030765E7BB}"/>
              </a:ext>
            </a:extLst>
          </p:cNvPr>
          <p:cNvSpPr>
            <a:spLocks noGrp="1"/>
          </p:cNvSpPr>
          <p:nvPr>
            <p:ph type="title"/>
          </p:nvPr>
        </p:nvSpPr>
        <p:spPr/>
        <p:txBody>
          <a:bodyPr/>
          <a:lstStyle/>
          <a:p>
            <a:r>
              <a:rPr lang="en-US"/>
              <a:t>Click to edit Master title style</a:t>
            </a:r>
            <a:endParaRPr lang="en-GB"/>
          </a:p>
        </p:txBody>
      </p:sp>
      <p:cxnSp>
        <p:nvCxnSpPr>
          <p:cNvPr id="10" name="Straight Connector 9">
            <a:extLst>
              <a:ext uri="{FF2B5EF4-FFF2-40B4-BE49-F238E27FC236}">
                <a16:creationId xmlns:a16="http://schemas.microsoft.com/office/drawing/2014/main" id="{4F7078D9-99A7-4F4B-A2AE-F455F56FB451}"/>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676795B3-D4D7-4DD1-95C2-286A5F9D9236}"/>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4" name="Text Placeholder 3">
            <a:extLst>
              <a:ext uri="{FF2B5EF4-FFF2-40B4-BE49-F238E27FC236}">
                <a16:creationId xmlns:a16="http://schemas.microsoft.com/office/drawing/2014/main" id="{6FE42C9E-C657-4F41-844F-58879D8ACEC8}"/>
              </a:ext>
            </a:extLst>
          </p:cNvPr>
          <p:cNvSpPr>
            <a:spLocks noGrp="1"/>
          </p:cNvSpPr>
          <p:nvPr>
            <p:ph type="body" sz="quarter" idx="44"/>
          </p:nvPr>
        </p:nvSpPr>
        <p:spPr>
          <a:xfrm>
            <a:off x="511177" y="3492063"/>
            <a:ext cx="1947861" cy="2889687"/>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55135783"/>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 Subheading + Notes">
    <p:spTree>
      <p:nvGrpSpPr>
        <p:cNvPr id="1" name=""/>
        <p:cNvGrpSpPr/>
        <p:nvPr/>
      </p:nvGrpSpPr>
      <p:grpSpPr>
        <a:xfrm>
          <a:off x="0" y="0"/>
          <a:ext cx="0" cy="0"/>
          <a:chOff x="0" y="0"/>
          <a:chExt cx="0" cy="0"/>
        </a:xfrm>
      </p:grpSpPr>
      <p:sp>
        <p:nvSpPr>
          <p:cNvPr id="22" name="Content Placeholder 20">
            <a:extLst>
              <a:ext uri="{FF2B5EF4-FFF2-40B4-BE49-F238E27FC236}">
                <a16:creationId xmlns:a16="http://schemas.microsoft.com/office/drawing/2014/main" id="{196D6582-4EEB-4B56-93E7-9140E1B674D7}"/>
              </a:ext>
            </a:extLst>
          </p:cNvPr>
          <p:cNvSpPr>
            <a:spLocks noGrp="1"/>
          </p:cNvSpPr>
          <p:nvPr>
            <p:ph sz="quarter" idx="38"/>
          </p:nvPr>
        </p:nvSpPr>
        <p:spPr>
          <a:xfrm>
            <a:off x="3594409" y="1617663"/>
            <a:ext cx="3987491" cy="4764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20">
            <a:extLst>
              <a:ext uri="{FF2B5EF4-FFF2-40B4-BE49-F238E27FC236}">
                <a16:creationId xmlns:a16="http://schemas.microsoft.com/office/drawing/2014/main" id="{E75F33F6-0A58-474C-B6DA-81A66074D158}"/>
              </a:ext>
            </a:extLst>
          </p:cNvPr>
          <p:cNvSpPr>
            <a:spLocks noGrp="1"/>
          </p:cNvSpPr>
          <p:nvPr>
            <p:ph sz="quarter" idx="39"/>
          </p:nvPr>
        </p:nvSpPr>
        <p:spPr>
          <a:xfrm>
            <a:off x="7693333" y="1618456"/>
            <a:ext cx="3987491" cy="4764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31" name="Straight Connector 30">
            <a:extLst>
              <a:ext uri="{FF2B5EF4-FFF2-40B4-BE49-F238E27FC236}">
                <a16:creationId xmlns:a16="http://schemas.microsoft.com/office/drawing/2014/main" id="{57405448-4BB4-44F3-B6CC-224CE96172CE}"/>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BBF2B94-1837-4093-A56F-6E0AB2566174}"/>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8" name="Title 7">
            <a:extLst>
              <a:ext uri="{FF2B5EF4-FFF2-40B4-BE49-F238E27FC236}">
                <a16:creationId xmlns:a16="http://schemas.microsoft.com/office/drawing/2014/main" id="{1DC34ECF-03B3-486C-ADEE-66E4B678A63E}"/>
              </a:ext>
            </a:extLst>
          </p:cNvPr>
          <p:cNvSpPr>
            <a:spLocks noGrp="1"/>
          </p:cNvSpPr>
          <p:nvPr>
            <p:ph type="title"/>
          </p:nvPr>
        </p:nvSpPr>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9BC96A2-D1C8-41BD-B90A-74BD42940234}"/>
              </a:ext>
            </a:extLst>
          </p:cNvPr>
          <p:cNvSpPr>
            <a:spLocks noGrp="1"/>
          </p:cNvSpPr>
          <p:nvPr>
            <p:ph type="body" sz="quarter" idx="44"/>
          </p:nvPr>
        </p:nvSpPr>
        <p:spPr>
          <a:xfrm>
            <a:off x="511177" y="3492064"/>
            <a:ext cx="1947861" cy="2500312"/>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
        <p:nvSpPr>
          <p:cNvPr id="12" name="Text Placeholder 4">
            <a:extLst>
              <a:ext uri="{FF2B5EF4-FFF2-40B4-BE49-F238E27FC236}">
                <a16:creationId xmlns:a16="http://schemas.microsoft.com/office/drawing/2014/main" id="{C964E3A1-3626-432A-9819-1B4206CF6504}"/>
              </a:ext>
            </a:extLst>
          </p:cNvPr>
          <p:cNvSpPr>
            <a:spLocks noGrp="1"/>
          </p:cNvSpPr>
          <p:nvPr>
            <p:ph type="body" sz="quarter" idx="12" hasCustomPrompt="1"/>
          </p:nvPr>
        </p:nvSpPr>
        <p:spPr>
          <a:xfrm>
            <a:off x="3584576" y="917539"/>
            <a:ext cx="3997324" cy="708232"/>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
        <p:nvSpPr>
          <p:cNvPr id="13" name="Text Placeholder 4">
            <a:extLst>
              <a:ext uri="{FF2B5EF4-FFF2-40B4-BE49-F238E27FC236}">
                <a16:creationId xmlns:a16="http://schemas.microsoft.com/office/drawing/2014/main" id="{C59D201F-04CE-42A9-843F-2B662ABEF12C}"/>
              </a:ext>
            </a:extLst>
          </p:cNvPr>
          <p:cNvSpPr>
            <a:spLocks noGrp="1"/>
          </p:cNvSpPr>
          <p:nvPr>
            <p:ph type="body" sz="quarter" idx="48" hasCustomPrompt="1"/>
          </p:nvPr>
        </p:nvSpPr>
        <p:spPr>
          <a:xfrm>
            <a:off x="7681911" y="917539"/>
            <a:ext cx="3997324" cy="708232"/>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Tree>
    <p:extLst>
      <p:ext uri="{BB962C8B-B14F-4D97-AF65-F5344CB8AC3E}">
        <p14:creationId xmlns:p14="http://schemas.microsoft.com/office/powerpoint/2010/main" val="12144239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ext Section Opener 1 Light">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7E93DAEA-1371-40B1-AA61-B7A48DAD0DDD}"/>
              </a:ext>
            </a:extLst>
          </p:cNvPr>
          <p:cNvCxnSpPr>
            <a:cxnSpLocks/>
          </p:cNvCxnSpPr>
          <p:nvPr/>
        </p:nvCxnSpPr>
        <p:spPr>
          <a:xfrm flipH="1">
            <a:off x="-4874462" y="3227163"/>
            <a:ext cx="11014187"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EF57CAE-C614-4FB7-8803-8772B9B9089B}"/>
              </a:ext>
            </a:extLst>
          </p:cNvPr>
          <p:cNvSpPr/>
          <p:nvPr userDrawn="1"/>
        </p:nvSpPr>
        <p:spPr>
          <a:xfrm>
            <a:off x="0" y="0"/>
            <a:ext cx="62039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9236352" y="2852738"/>
            <a:ext cx="2466739" cy="726893"/>
          </a:xfrm>
        </p:spPr>
        <p:txBody>
          <a:bodyPr anchor="t"/>
          <a:lstStyle>
            <a:lvl1pPr>
              <a:defRPr sz="3600" b="0">
                <a:solidFill>
                  <a:schemeClr val="tx1"/>
                </a:solidFill>
              </a:defRPr>
            </a:lvl1pPr>
          </a:lstStyle>
          <a:p>
            <a:r>
              <a:rPr lang="en-GB"/>
              <a:t>Click to edit Master title style</a:t>
            </a:r>
          </a:p>
        </p:txBody>
      </p:sp>
      <p:sp>
        <p:nvSpPr>
          <p:cNvPr id="3" name="Text Placeholder 2">
            <a:extLst>
              <a:ext uri="{FF2B5EF4-FFF2-40B4-BE49-F238E27FC236}">
                <a16:creationId xmlns:a16="http://schemas.microsoft.com/office/drawing/2014/main" id="{A7675C32-E7FA-4FC2-8068-9BCFE3F29195}"/>
              </a:ext>
            </a:extLst>
          </p:cNvPr>
          <p:cNvSpPr>
            <a:spLocks noGrp="1"/>
          </p:cNvSpPr>
          <p:nvPr>
            <p:ph type="body" sz="quarter" idx="10" hasCustomPrompt="1"/>
          </p:nvPr>
        </p:nvSpPr>
        <p:spPr>
          <a:xfrm>
            <a:off x="-292141" y="-1006460"/>
            <a:ext cx="7026275" cy="6857985"/>
          </a:xfrm>
        </p:spPr>
        <p:txBody>
          <a:bodyPr anchor="ctr"/>
          <a:lstStyle>
            <a:lvl1pPr>
              <a:defRPr sz="88000">
                <a:solidFill>
                  <a:srgbClr val="003F2D"/>
                </a:solidFill>
              </a:defRPr>
            </a:lvl1pPr>
          </a:lstStyle>
          <a:p>
            <a:pPr lvl="0"/>
            <a:r>
              <a:rPr lang="en-GB"/>
              <a:t>1</a:t>
            </a:r>
          </a:p>
        </p:txBody>
      </p:sp>
      <p:sp>
        <p:nvSpPr>
          <p:cNvPr id="8" name="Rectangle 7">
            <a:extLst>
              <a:ext uri="{FF2B5EF4-FFF2-40B4-BE49-F238E27FC236}">
                <a16:creationId xmlns:a16="http://schemas.microsoft.com/office/drawing/2014/main" id="{03261D45-4DF4-4F41-AEF1-7DDE0F37B8B5}"/>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3170401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nodeType="withEffect">
                                  <p:stCondLst>
                                    <p:cond delay="0"/>
                                  </p:stCondLst>
                                  <p:childTnLst>
                                    <p:animMotion origin="layout" path="M -2.91667E-6 -1.85185E-6 L 0.21003 -1.85185E-6 " pathEditMode="relative" rAng="0" ptsTypes="AA">
                                      <p:cBhvr>
                                        <p:cTn id="6" dur="2000" fill="hold"/>
                                        <p:tgtEl>
                                          <p:spTgt spid="6"/>
                                        </p:tgtEl>
                                        <p:attrNameLst>
                                          <p:attrName>ppt_x</p:attrName>
                                          <p:attrName>ppt_y</p:attrName>
                                        </p:attrNameLst>
                                      </p:cBhvr>
                                      <p:rCtr x="1049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lumn + no Subheading + Notes">
    <p:spTree>
      <p:nvGrpSpPr>
        <p:cNvPr id="1" name=""/>
        <p:cNvGrpSpPr/>
        <p:nvPr/>
      </p:nvGrpSpPr>
      <p:grpSpPr>
        <a:xfrm>
          <a:off x="0" y="0"/>
          <a:ext cx="0" cy="0"/>
          <a:chOff x="0" y="0"/>
          <a:chExt cx="0" cy="0"/>
        </a:xfrm>
      </p:grpSpPr>
      <p:sp>
        <p:nvSpPr>
          <p:cNvPr id="22" name="Content Placeholder 20">
            <a:extLst>
              <a:ext uri="{FF2B5EF4-FFF2-40B4-BE49-F238E27FC236}">
                <a16:creationId xmlns:a16="http://schemas.microsoft.com/office/drawing/2014/main" id="{196D6582-4EEB-4B56-93E7-9140E1B674D7}"/>
              </a:ext>
            </a:extLst>
          </p:cNvPr>
          <p:cNvSpPr>
            <a:spLocks noGrp="1"/>
          </p:cNvSpPr>
          <p:nvPr>
            <p:ph sz="quarter" idx="38"/>
          </p:nvPr>
        </p:nvSpPr>
        <p:spPr>
          <a:xfrm>
            <a:off x="3594409" y="1617663"/>
            <a:ext cx="3474729" cy="4764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20">
            <a:extLst>
              <a:ext uri="{FF2B5EF4-FFF2-40B4-BE49-F238E27FC236}">
                <a16:creationId xmlns:a16="http://schemas.microsoft.com/office/drawing/2014/main" id="{E75F33F6-0A58-474C-B6DA-81A66074D158}"/>
              </a:ext>
            </a:extLst>
          </p:cNvPr>
          <p:cNvSpPr>
            <a:spLocks noGrp="1"/>
          </p:cNvSpPr>
          <p:nvPr>
            <p:ph sz="quarter" idx="39"/>
          </p:nvPr>
        </p:nvSpPr>
        <p:spPr>
          <a:xfrm>
            <a:off x="7693334" y="1618456"/>
            <a:ext cx="3473142" cy="4764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31" name="Straight Connector 30">
            <a:extLst>
              <a:ext uri="{FF2B5EF4-FFF2-40B4-BE49-F238E27FC236}">
                <a16:creationId xmlns:a16="http://schemas.microsoft.com/office/drawing/2014/main" id="{57405448-4BB4-44F3-B6CC-224CE96172CE}"/>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BBF2B94-1837-4093-A56F-6E0AB2566174}"/>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8" name="Title 7">
            <a:extLst>
              <a:ext uri="{FF2B5EF4-FFF2-40B4-BE49-F238E27FC236}">
                <a16:creationId xmlns:a16="http://schemas.microsoft.com/office/drawing/2014/main" id="{1DC34ECF-03B3-486C-ADEE-66E4B678A63E}"/>
              </a:ext>
            </a:extLst>
          </p:cNvPr>
          <p:cNvSpPr>
            <a:spLocks noGrp="1"/>
          </p:cNvSpPr>
          <p:nvPr>
            <p:ph type="title"/>
          </p:nvPr>
        </p:nvSpPr>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768DEF-0460-4078-AA4F-6D46F32CBCD4}"/>
              </a:ext>
            </a:extLst>
          </p:cNvPr>
          <p:cNvSpPr>
            <a:spLocks noGrp="1"/>
          </p:cNvSpPr>
          <p:nvPr>
            <p:ph type="body" sz="quarter" idx="44"/>
          </p:nvPr>
        </p:nvSpPr>
        <p:spPr>
          <a:xfrm>
            <a:off x="511177" y="3492064"/>
            <a:ext cx="1947861" cy="2500312"/>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38820267"/>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 + Subheading + Notes + Statement">
    <p:spTree>
      <p:nvGrpSpPr>
        <p:cNvPr id="1" name=""/>
        <p:cNvGrpSpPr/>
        <p:nvPr/>
      </p:nvGrpSpPr>
      <p:grpSpPr>
        <a:xfrm>
          <a:off x="0" y="0"/>
          <a:ext cx="0" cy="0"/>
          <a:chOff x="0" y="0"/>
          <a:chExt cx="0" cy="0"/>
        </a:xfrm>
      </p:grpSpPr>
      <p:sp>
        <p:nvSpPr>
          <p:cNvPr id="22" name="Content Placeholder 20">
            <a:extLst>
              <a:ext uri="{FF2B5EF4-FFF2-40B4-BE49-F238E27FC236}">
                <a16:creationId xmlns:a16="http://schemas.microsoft.com/office/drawing/2014/main" id="{196D6582-4EEB-4B56-93E7-9140E1B674D7}"/>
              </a:ext>
            </a:extLst>
          </p:cNvPr>
          <p:cNvSpPr>
            <a:spLocks noGrp="1"/>
          </p:cNvSpPr>
          <p:nvPr>
            <p:ph sz="quarter" idx="38"/>
          </p:nvPr>
        </p:nvSpPr>
        <p:spPr>
          <a:xfrm>
            <a:off x="3594409" y="1617663"/>
            <a:ext cx="3987491" cy="4764087"/>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31" name="Straight Connector 30">
            <a:extLst>
              <a:ext uri="{FF2B5EF4-FFF2-40B4-BE49-F238E27FC236}">
                <a16:creationId xmlns:a16="http://schemas.microsoft.com/office/drawing/2014/main" id="{57405448-4BB4-44F3-B6CC-224CE96172CE}"/>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BBF2B94-1837-4093-A56F-6E0AB2566174}"/>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8" name="Title 7">
            <a:extLst>
              <a:ext uri="{FF2B5EF4-FFF2-40B4-BE49-F238E27FC236}">
                <a16:creationId xmlns:a16="http://schemas.microsoft.com/office/drawing/2014/main" id="{1DC34ECF-03B3-486C-ADEE-66E4B678A63E}"/>
              </a:ext>
            </a:extLst>
          </p:cNvPr>
          <p:cNvSpPr>
            <a:spLocks noGrp="1"/>
          </p:cNvSpPr>
          <p:nvPr>
            <p:ph type="title"/>
          </p:nvPr>
        </p:nvSpPr>
        <p:spPr/>
        <p:txBody>
          <a:bodyPr/>
          <a:lstStyle/>
          <a:p>
            <a:r>
              <a:rPr lang="en-US"/>
              <a:t>Click to edit Master title style</a:t>
            </a:r>
            <a:endParaRPr lang="en-GB"/>
          </a:p>
        </p:txBody>
      </p:sp>
      <p:sp>
        <p:nvSpPr>
          <p:cNvPr id="13" name="Content Placeholder 20">
            <a:extLst>
              <a:ext uri="{FF2B5EF4-FFF2-40B4-BE49-F238E27FC236}">
                <a16:creationId xmlns:a16="http://schemas.microsoft.com/office/drawing/2014/main" id="{EFA96B3F-6381-41B4-99C1-1577012ECA2E}"/>
              </a:ext>
            </a:extLst>
          </p:cNvPr>
          <p:cNvSpPr>
            <a:spLocks noGrp="1"/>
          </p:cNvSpPr>
          <p:nvPr>
            <p:ph sz="quarter" idx="44"/>
          </p:nvPr>
        </p:nvSpPr>
        <p:spPr>
          <a:xfrm>
            <a:off x="7693334" y="1618456"/>
            <a:ext cx="1936442" cy="4764087"/>
          </a:xfrm>
        </p:spPr>
        <p:txBody>
          <a:bodyPr/>
          <a:lstStyle>
            <a:lvl1pPr>
              <a:defRPr lang="en-US" sz="1600" b="0" dirty="0">
                <a:solidFill>
                  <a:schemeClr val="tx1"/>
                </a:solidFill>
                <a:latin typeface="Calibre Semibold" panose="020B0703030202060203" pitchFamily="34" charset="0"/>
                <a:ea typeface="+mn-ea"/>
                <a:cs typeface="+mn-cs"/>
              </a:defRPr>
            </a:lvl1pPr>
            <a:lvl2pPr>
              <a:defRPr lang="en-US" sz="1200" dirty="0">
                <a:solidFill>
                  <a:schemeClr val="tx1"/>
                </a:solidFill>
                <a:latin typeface="+mn-lt"/>
                <a:ea typeface="+mn-ea"/>
                <a:cs typeface="+mn-cs"/>
              </a:defRPr>
            </a:lvl2pPr>
            <a:lvl3pPr marL="171450" indent="-171450">
              <a:buFont typeface="Calibre" panose="020B0503030202060203" pitchFamily="34" charset="0"/>
              <a:buChar char="–"/>
              <a:defRPr lang="en-US" sz="1200" dirty="0">
                <a:solidFill>
                  <a:schemeClr val="tx1"/>
                </a:solidFill>
                <a:latin typeface="+mn-lt"/>
                <a:ea typeface="+mn-ea"/>
                <a:cs typeface="+mn-cs"/>
              </a:defRPr>
            </a:lvl3pPr>
            <a:lvl4pPr marL="356616">
              <a:defRPr lang="en-US" sz="1200" b="0" dirty="0">
                <a:solidFill>
                  <a:schemeClr val="tx1"/>
                </a:solidFill>
                <a:latin typeface="+mn-lt"/>
                <a:ea typeface="+mn-ea"/>
                <a:cs typeface="+mn-cs"/>
              </a:defRPr>
            </a:lvl4pPr>
            <a:lvl5pPr marL="0" indent="0">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defRPr lang="en-US" sz="1050" b="0" dirty="0" smtClean="0">
                <a:solidFill>
                  <a:schemeClr val="tx1"/>
                </a:solidFill>
                <a:latin typeface="+mn-lt"/>
                <a:ea typeface="+mn-ea"/>
                <a:cs typeface="+mn-cs"/>
              </a:defRPr>
            </a:lvl7pPr>
            <a:lvl8pPr marL="171450" indent="-171450">
              <a:buFont typeface="Calibre" panose="020B0503030202060203" pitchFamily="34" charset="0"/>
              <a:buChar char="–"/>
              <a:defRPr lang="en-US" sz="1050" dirty="0" smtClean="0">
                <a:solidFill>
                  <a:schemeClr val="tx1"/>
                </a:solidFill>
                <a:latin typeface="+mn-lt"/>
                <a:ea typeface="+mn-ea"/>
                <a:cs typeface="+mn-cs"/>
              </a:defRPr>
            </a:lvl8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ext Placeholder 2">
            <a:extLst>
              <a:ext uri="{FF2B5EF4-FFF2-40B4-BE49-F238E27FC236}">
                <a16:creationId xmlns:a16="http://schemas.microsoft.com/office/drawing/2014/main" id="{86583EB0-4FA6-4DEB-9FDE-DBF8F93F09D7}"/>
              </a:ext>
            </a:extLst>
          </p:cNvPr>
          <p:cNvSpPr>
            <a:spLocks noGrp="1"/>
          </p:cNvSpPr>
          <p:nvPr>
            <p:ph type="body" sz="quarter" idx="45"/>
          </p:nvPr>
        </p:nvSpPr>
        <p:spPr>
          <a:xfrm>
            <a:off x="511177" y="3492063"/>
            <a:ext cx="1947861" cy="2500313"/>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
        <p:nvSpPr>
          <p:cNvPr id="17" name="Content Placeholder 20">
            <a:extLst>
              <a:ext uri="{FF2B5EF4-FFF2-40B4-BE49-F238E27FC236}">
                <a16:creationId xmlns:a16="http://schemas.microsoft.com/office/drawing/2014/main" id="{D077A3FF-C10A-4E33-8B14-34862DA36E03}"/>
              </a:ext>
            </a:extLst>
          </p:cNvPr>
          <p:cNvSpPr>
            <a:spLocks noGrp="1"/>
          </p:cNvSpPr>
          <p:nvPr>
            <p:ph sz="quarter" idx="49"/>
          </p:nvPr>
        </p:nvSpPr>
        <p:spPr>
          <a:xfrm>
            <a:off x="9742796" y="1613071"/>
            <a:ext cx="1936442" cy="4764087"/>
          </a:xfrm>
        </p:spPr>
        <p:txBody>
          <a:bodyPr/>
          <a:lstStyle>
            <a:lvl1pPr>
              <a:defRPr lang="en-US" sz="1600" b="0" dirty="0">
                <a:solidFill>
                  <a:schemeClr val="tx1"/>
                </a:solidFill>
                <a:latin typeface="Calibre Semibold" panose="020B0703030202060203" pitchFamily="34" charset="0"/>
                <a:ea typeface="+mn-ea"/>
                <a:cs typeface="+mn-cs"/>
              </a:defRPr>
            </a:lvl1pPr>
            <a:lvl2pPr>
              <a:defRPr lang="en-US" sz="1200" dirty="0">
                <a:solidFill>
                  <a:schemeClr val="tx1"/>
                </a:solidFill>
                <a:latin typeface="+mn-lt"/>
                <a:ea typeface="+mn-ea"/>
                <a:cs typeface="+mn-cs"/>
              </a:defRPr>
            </a:lvl2pPr>
            <a:lvl3pPr marL="171450" indent="-171450">
              <a:buFont typeface="Calibre" panose="020B0503030202060203" pitchFamily="34" charset="0"/>
              <a:buChar char="–"/>
              <a:defRPr lang="en-US" sz="1200" dirty="0">
                <a:solidFill>
                  <a:schemeClr val="tx1"/>
                </a:solidFill>
                <a:latin typeface="+mn-lt"/>
                <a:ea typeface="+mn-ea"/>
                <a:cs typeface="+mn-cs"/>
              </a:defRPr>
            </a:lvl3pPr>
            <a:lvl4pPr marL="356616">
              <a:defRPr lang="en-US" sz="1200" b="0" dirty="0">
                <a:solidFill>
                  <a:schemeClr val="tx1"/>
                </a:solidFill>
                <a:latin typeface="+mn-lt"/>
                <a:ea typeface="+mn-ea"/>
                <a:cs typeface="+mn-cs"/>
              </a:defRPr>
            </a:lvl4pPr>
            <a:lvl5pPr marL="0" indent="0">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defRPr lang="en-US" sz="1050" b="0" dirty="0" smtClean="0">
                <a:solidFill>
                  <a:schemeClr val="tx1"/>
                </a:solidFill>
                <a:latin typeface="+mn-lt"/>
                <a:ea typeface="+mn-ea"/>
                <a:cs typeface="+mn-cs"/>
              </a:defRPr>
            </a:lvl7pPr>
            <a:lvl8pPr marL="171450" indent="-171450">
              <a:buFont typeface="Calibre" panose="020B0503030202060203" pitchFamily="34" charset="0"/>
              <a:buChar char="–"/>
              <a:defRPr lang="en-US" sz="1050" dirty="0" smtClean="0">
                <a:solidFill>
                  <a:schemeClr val="tx1"/>
                </a:solidFill>
                <a:latin typeface="+mn-lt"/>
                <a:ea typeface="+mn-ea"/>
                <a:cs typeface="+mn-cs"/>
              </a:defRPr>
            </a:lvl8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4">
            <a:extLst>
              <a:ext uri="{FF2B5EF4-FFF2-40B4-BE49-F238E27FC236}">
                <a16:creationId xmlns:a16="http://schemas.microsoft.com/office/drawing/2014/main" id="{B12F6346-F7B7-4CBD-B310-A751C2E04BFE}"/>
              </a:ext>
            </a:extLst>
          </p:cNvPr>
          <p:cNvSpPr>
            <a:spLocks noGrp="1"/>
          </p:cNvSpPr>
          <p:nvPr>
            <p:ph type="body" sz="quarter" idx="12" hasCustomPrompt="1"/>
          </p:nvPr>
        </p:nvSpPr>
        <p:spPr>
          <a:xfrm>
            <a:off x="3584576" y="917539"/>
            <a:ext cx="3997324" cy="708232"/>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
        <p:nvSpPr>
          <p:cNvPr id="15" name="Text Placeholder 4">
            <a:extLst>
              <a:ext uri="{FF2B5EF4-FFF2-40B4-BE49-F238E27FC236}">
                <a16:creationId xmlns:a16="http://schemas.microsoft.com/office/drawing/2014/main" id="{06035AC2-FF22-4EA8-BC8D-9E1A1817689D}"/>
              </a:ext>
            </a:extLst>
          </p:cNvPr>
          <p:cNvSpPr>
            <a:spLocks noGrp="1"/>
          </p:cNvSpPr>
          <p:nvPr>
            <p:ph type="body" sz="quarter" idx="50" hasCustomPrompt="1"/>
          </p:nvPr>
        </p:nvSpPr>
        <p:spPr>
          <a:xfrm>
            <a:off x="7681911" y="917539"/>
            <a:ext cx="3997324" cy="708232"/>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Tree>
    <p:extLst>
      <p:ext uri="{BB962C8B-B14F-4D97-AF65-F5344CB8AC3E}">
        <p14:creationId xmlns:p14="http://schemas.microsoft.com/office/powerpoint/2010/main" val="1223475169"/>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 3 Column +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62755-0C65-4BE0-A5A7-D86C17C7FA6A}"/>
              </a:ext>
            </a:extLst>
          </p:cNvPr>
          <p:cNvSpPr>
            <a:spLocks noGrp="1"/>
          </p:cNvSpPr>
          <p:nvPr>
            <p:ph type="title"/>
          </p:nvPr>
        </p:nvSpPr>
        <p:spPr/>
        <p:txBody>
          <a:bodyPr/>
          <a:lstStyle/>
          <a:p>
            <a:r>
              <a:rPr lang="en-US"/>
              <a:t>Click to edit Master title style</a:t>
            </a:r>
            <a:endParaRPr lang="en-GB"/>
          </a:p>
        </p:txBody>
      </p:sp>
      <p:sp>
        <p:nvSpPr>
          <p:cNvPr id="6" name="Content Placeholder 5">
            <a:extLst>
              <a:ext uri="{FF2B5EF4-FFF2-40B4-BE49-F238E27FC236}">
                <a16:creationId xmlns:a16="http://schemas.microsoft.com/office/drawing/2014/main" id="{E12F9A9A-F488-4434-A4E9-6067B6E3316D}"/>
              </a:ext>
            </a:extLst>
          </p:cNvPr>
          <p:cNvSpPr>
            <a:spLocks noGrp="1"/>
          </p:cNvSpPr>
          <p:nvPr>
            <p:ph sz="quarter" idx="47"/>
          </p:nvPr>
        </p:nvSpPr>
        <p:spPr>
          <a:xfrm>
            <a:off x="3584575" y="1615581"/>
            <a:ext cx="2451100" cy="477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5">
            <a:extLst>
              <a:ext uri="{FF2B5EF4-FFF2-40B4-BE49-F238E27FC236}">
                <a16:creationId xmlns:a16="http://schemas.microsoft.com/office/drawing/2014/main" id="{05E2AA67-294D-44E6-802E-395517F6C1A7}"/>
              </a:ext>
            </a:extLst>
          </p:cNvPr>
          <p:cNvSpPr>
            <a:spLocks noGrp="1"/>
          </p:cNvSpPr>
          <p:nvPr>
            <p:ph sz="quarter" idx="48"/>
          </p:nvPr>
        </p:nvSpPr>
        <p:spPr>
          <a:xfrm>
            <a:off x="6159500" y="1615581"/>
            <a:ext cx="2451100" cy="477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5">
            <a:extLst>
              <a:ext uri="{FF2B5EF4-FFF2-40B4-BE49-F238E27FC236}">
                <a16:creationId xmlns:a16="http://schemas.microsoft.com/office/drawing/2014/main" id="{8743C110-DC20-4390-A47A-8AB1F9DB5F4C}"/>
              </a:ext>
            </a:extLst>
          </p:cNvPr>
          <p:cNvSpPr>
            <a:spLocks noGrp="1"/>
          </p:cNvSpPr>
          <p:nvPr>
            <p:ph sz="quarter" idx="49"/>
          </p:nvPr>
        </p:nvSpPr>
        <p:spPr>
          <a:xfrm>
            <a:off x="8712200" y="1613050"/>
            <a:ext cx="2451100" cy="477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5" name="Straight Connector 14">
            <a:extLst>
              <a:ext uri="{FF2B5EF4-FFF2-40B4-BE49-F238E27FC236}">
                <a16:creationId xmlns:a16="http://schemas.microsoft.com/office/drawing/2014/main" id="{9303E485-437D-430C-90FD-0B098DCEC883}"/>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F82FCAD7-8E2A-406D-BD68-62118ED93FB4}"/>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4" name="Text Placeholder 3">
            <a:extLst>
              <a:ext uri="{FF2B5EF4-FFF2-40B4-BE49-F238E27FC236}">
                <a16:creationId xmlns:a16="http://schemas.microsoft.com/office/drawing/2014/main" id="{C8B1CD64-0C67-49B0-B205-0FAB935BCE68}"/>
              </a:ext>
            </a:extLst>
          </p:cNvPr>
          <p:cNvSpPr>
            <a:spLocks noGrp="1"/>
          </p:cNvSpPr>
          <p:nvPr>
            <p:ph type="body" sz="quarter" idx="50"/>
          </p:nvPr>
        </p:nvSpPr>
        <p:spPr>
          <a:xfrm>
            <a:off x="511177" y="3492063"/>
            <a:ext cx="1947861" cy="2500313"/>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
        <p:nvSpPr>
          <p:cNvPr id="17" name="Text Placeholder 4">
            <a:extLst>
              <a:ext uri="{FF2B5EF4-FFF2-40B4-BE49-F238E27FC236}">
                <a16:creationId xmlns:a16="http://schemas.microsoft.com/office/drawing/2014/main" id="{2105D293-36C8-4795-BA2C-142D7045B877}"/>
              </a:ext>
            </a:extLst>
          </p:cNvPr>
          <p:cNvSpPr>
            <a:spLocks noGrp="1"/>
          </p:cNvSpPr>
          <p:nvPr>
            <p:ph type="body" sz="quarter" idx="12" hasCustomPrompt="1"/>
          </p:nvPr>
        </p:nvSpPr>
        <p:spPr>
          <a:xfrm>
            <a:off x="3584575" y="921205"/>
            <a:ext cx="2460625" cy="57898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
        <p:nvSpPr>
          <p:cNvPr id="18" name="Text Placeholder 4">
            <a:extLst>
              <a:ext uri="{FF2B5EF4-FFF2-40B4-BE49-F238E27FC236}">
                <a16:creationId xmlns:a16="http://schemas.microsoft.com/office/drawing/2014/main" id="{CAE1EBDA-0010-4470-8206-608B7A3C82A6}"/>
              </a:ext>
            </a:extLst>
          </p:cNvPr>
          <p:cNvSpPr>
            <a:spLocks noGrp="1"/>
          </p:cNvSpPr>
          <p:nvPr>
            <p:ph type="body" sz="quarter" idx="54" hasCustomPrompt="1"/>
          </p:nvPr>
        </p:nvSpPr>
        <p:spPr>
          <a:xfrm>
            <a:off x="6154738" y="921205"/>
            <a:ext cx="2460625" cy="57898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
        <p:nvSpPr>
          <p:cNvPr id="19" name="Text Placeholder 4">
            <a:extLst>
              <a:ext uri="{FF2B5EF4-FFF2-40B4-BE49-F238E27FC236}">
                <a16:creationId xmlns:a16="http://schemas.microsoft.com/office/drawing/2014/main" id="{A5B5E27D-54D5-403F-8568-50B316DD39E9}"/>
              </a:ext>
            </a:extLst>
          </p:cNvPr>
          <p:cNvSpPr>
            <a:spLocks noGrp="1"/>
          </p:cNvSpPr>
          <p:nvPr>
            <p:ph type="body" sz="quarter" idx="55" hasCustomPrompt="1"/>
          </p:nvPr>
        </p:nvSpPr>
        <p:spPr>
          <a:xfrm>
            <a:off x="8707438" y="921204"/>
            <a:ext cx="2460625" cy="57898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Tree>
    <p:extLst>
      <p:ext uri="{BB962C8B-B14F-4D97-AF65-F5344CB8AC3E}">
        <p14:creationId xmlns:p14="http://schemas.microsoft.com/office/powerpoint/2010/main" val="1748726347"/>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 Full 3 Column +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62755-0C65-4BE0-A5A7-D86C17C7FA6A}"/>
              </a:ext>
            </a:extLst>
          </p:cNvPr>
          <p:cNvSpPr>
            <a:spLocks noGrp="1"/>
          </p:cNvSpPr>
          <p:nvPr>
            <p:ph type="title"/>
          </p:nvPr>
        </p:nvSpPr>
        <p:spPr/>
        <p:txBody>
          <a:bodyPr/>
          <a:lstStyle/>
          <a:p>
            <a:r>
              <a:rPr lang="en-US"/>
              <a:t>Click to edit Master title style</a:t>
            </a:r>
            <a:endParaRPr lang="en-GB"/>
          </a:p>
        </p:txBody>
      </p:sp>
      <p:cxnSp>
        <p:nvCxnSpPr>
          <p:cNvPr id="15" name="Straight Connector 14">
            <a:extLst>
              <a:ext uri="{FF2B5EF4-FFF2-40B4-BE49-F238E27FC236}">
                <a16:creationId xmlns:a16="http://schemas.microsoft.com/office/drawing/2014/main" id="{9303E485-437D-430C-90FD-0B098DCEC883}"/>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F82FCAD7-8E2A-406D-BD68-62118ED93FB4}"/>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4" name="Text Placeholder 3">
            <a:extLst>
              <a:ext uri="{FF2B5EF4-FFF2-40B4-BE49-F238E27FC236}">
                <a16:creationId xmlns:a16="http://schemas.microsoft.com/office/drawing/2014/main" id="{B5A2922C-5DB8-476B-826A-BA3C966144E5}"/>
              </a:ext>
            </a:extLst>
          </p:cNvPr>
          <p:cNvSpPr>
            <a:spLocks noGrp="1"/>
          </p:cNvSpPr>
          <p:nvPr>
            <p:ph type="body" sz="quarter" idx="55"/>
          </p:nvPr>
        </p:nvSpPr>
        <p:spPr>
          <a:xfrm>
            <a:off x="511177" y="3492064"/>
            <a:ext cx="1947861" cy="2500312"/>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
        <p:nvSpPr>
          <p:cNvPr id="20" name="Content Placeholder 6">
            <a:extLst>
              <a:ext uri="{FF2B5EF4-FFF2-40B4-BE49-F238E27FC236}">
                <a16:creationId xmlns:a16="http://schemas.microsoft.com/office/drawing/2014/main" id="{5166DCB1-FD12-4DE9-BE8B-A100E8A45225}"/>
              </a:ext>
            </a:extLst>
          </p:cNvPr>
          <p:cNvSpPr>
            <a:spLocks noGrp="1"/>
          </p:cNvSpPr>
          <p:nvPr>
            <p:ph sz="quarter" idx="11"/>
          </p:nvPr>
        </p:nvSpPr>
        <p:spPr>
          <a:xfrm>
            <a:off x="3584575" y="476250"/>
            <a:ext cx="2451100" cy="4149725"/>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spcBef>
                <a:spcPts val="600"/>
              </a:spcBef>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6">
            <a:extLst>
              <a:ext uri="{FF2B5EF4-FFF2-40B4-BE49-F238E27FC236}">
                <a16:creationId xmlns:a16="http://schemas.microsoft.com/office/drawing/2014/main" id="{B10A6D5A-CF17-494C-B79D-8B190AC3C1D8}"/>
              </a:ext>
            </a:extLst>
          </p:cNvPr>
          <p:cNvSpPr>
            <a:spLocks noGrp="1"/>
          </p:cNvSpPr>
          <p:nvPr>
            <p:ph sz="quarter" idx="62"/>
          </p:nvPr>
        </p:nvSpPr>
        <p:spPr>
          <a:xfrm>
            <a:off x="6159500" y="476250"/>
            <a:ext cx="2451100" cy="4149725"/>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spcBef>
                <a:spcPts val="600"/>
              </a:spcBef>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6">
            <a:extLst>
              <a:ext uri="{FF2B5EF4-FFF2-40B4-BE49-F238E27FC236}">
                <a16:creationId xmlns:a16="http://schemas.microsoft.com/office/drawing/2014/main" id="{DE76B683-CDAD-48A2-9A52-3D2B81031811}"/>
              </a:ext>
            </a:extLst>
          </p:cNvPr>
          <p:cNvSpPr>
            <a:spLocks noGrp="1"/>
          </p:cNvSpPr>
          <p:nvPr>
            <p:ph sz="quarter" idx="63"/>
          </p:nvPr>
        </p:nvSpPr>
        <p:spPr>
          <a:xfrm>
            <a:off x="8712200" y="476250"/>
            <a:ext cx="2451100" cy="4149725"/>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spcBef>
                <a:spcPts val="600"/>
              </a:spcBef>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4">
            <a:extLst>
              <a:ext uri="{FF2B5EF4-FFF2-40B4-BE49-F238E27FC236}">
                <a16:creationId xmlns:a16="http://schemas.microsoft.com/office/drawing/2014/main" id="{2630DAAF-DCA1-445B-896D-CAC3D6E017A6}"/>
              </a:ext>
            </a:extLst>
          </p:cNvPr>
          <p:cNvSpPr>
            <a:spLocks noGrp="1"/>
          </p:cNvSpPr>
          <p:nvPr>
            <p:ph type="body" sz="quarter" idx="10"/>
          </p:nvPr>
        </p:nvSpPr>
        <p:spPr>
          <a:xfrm>
            <a:off x="3584575" y="4727575"/>
            <a:ext cx="2451100" cy="1654175"/>
          </a:xfrm>
          <a:solidFill>
            <a:schemeClr val="accent3">
              <a:alpha val="30000"/>
            </a:schemeClr>
          </a:solidFill>
        </p:spPr>
        <p:txBody>
          <a:bodyPr lIns="73152" bIns="73152"/>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6" name="Text Placeholder 4">
            <a:extLst>
              <a:ext uri="{FF2B5EF4-FFF2-40B4-BE49-F238E27FC236}">
                <a16:creationId xmlns:a16="http://schemas.microsoft.com/office/drawing/2014/main" id="{D68FDF7A-9608-4A6B-B581-55300ABE2FCF}"/>
              </a:ext>
            </a:extLst>
          </p:cNvPr>
          <p:cNvSpPr>
            <a:spLocks noGrp="1"/>
          </p:cNvSpPr>
          <p:nvPr>
            <p:ph type="body" sz="quarter" idx="64"/>
          </p:nvPr>
        </p:nvSpPr>
        <p:spPr>
          <a:xfrm>
            <a:off x="6156327" y="4727575"/>
            <a:ext cx="2451100" cy="1654175"/>
          </a:xfrm>
          <a:solidFill>
            <a:schemeClr val="accent3">
              <a:alpha val="30000"/>
            </a:schemeClr>
          </a:solidFill>
        </p:spPr>
        <p:txBody>
          <a:bodyPr lIns="73152" bIns="73152"/>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7" name="Text Placeholder 4">
            <a:extLst>
              <a:ext uri="{FF2B5EF4-FFF2-40B4-BE49-F238E27FC236}">
                <a16:creationId xmlns:a16="http://schemas.microsoft.com/office/drawing/2014/main" id="{CAE8C12F-CC63-4C84-ACEC-AE6C1FB6B298}"/>
              </a:ext>
            </a:extLst>
          </p:cNvPr>
          <p:cNvSpPr>
            <a:spLocks noGrp="1"/>
          </p:cNvSpPr>
          <p:nvPr>
            <p:ph type="body" sz="quarter" idx="65"/>
          </p:nvPr>
        </p:nvSpPr>
        <p:spPr>
          <a:xfrm>
            <a:off x="8707438" y="4727574"/>
            <a:ext cx="2451100" cy="1654175"/>
          </a:xfrm>
          <a:solidFill>
            <a:schemeClr val="accent3">
              <a:alpha val="30000"/>
            </a:schemeClr>
          </a:solidFill>
        </p:spPr>
        <p:txBody>
          <a:bodyPr lIns="73152" bIns="73152"/>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4972804"/>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 Image 3 Column +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62755-0C65-4BE0-A5A7-D86C17C7FA6A}"/>
              </a:ext>
            </a:extLst>
          </p:cNvPr>
          <p:cNvSpPr>
            <a:spLocks noGrp="1"/>
          </p:cNvSpPr>
          <p:nvPr>
            <p:ph type="title"/>
          </p:nvPr>
        </p:nvSpPr>
        <p:spPr/>
        <p:txBody>
          <a:bodyPr/>
          <a:lstStyle/>
          <a:p>
            <a:r>
              <a:rPr lang="en-US"/>
              <a:t>Click to edit Master title style</a:t>
            </a:r>
            <a:endParaRPr lang="en-GB"/>
          </a:p>
        </p:txBody>
      </p:sp>
      <p:cxnSp>
        <p:nvCxnSpPr>
          <p:cNvPr id="15" name="Straight Connector 14">
            <a:extLst>
              <a:ext uri="{FF2B5EF4-FFF2-40B4-BE49-F238E27FC236}">
                <a16:creationId xmlns:a16="http://schemas.microsoft.com/office/drawing/2014/main" id="{9303E485-437D-430C-90FD-0B098DCEC883}"/>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F82FCAD7-8E2A-406D-BD68-62118ED93FB4}"/>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18" name="Text Placeholder 13">
            <a:extLst>
              <a:ext uri="{FF2B5EF4-FFF2-40B4-BE49-F238E27FC236}">
                <a16:creationId xmlns:a16="http://schemas.microsoft.com/office/drawing/2014/main" id="{17CE7236-8CBB-4625-955D-4A2E27F5CC82}"/>
              </a:ext>
            </a:extLst>
          </p:cNvPr>
          <p:cNvSpPr>
            <a:spLocks noGrp="1"/>
          </p:cNvSpPr>
          <p:nvPr>
            <p:ph type="body" sz="quarter" idx="37"/>
          </p:nvPr>
        </p:nvSpPr>
        <p:spPr>
          <a:xfrm>
            <a:off x="3584575" y="3478213"/>
            <a:ext cx="2460625" cy="2693987"/>
          </a:xfrm>
        </p:spPr>
        <p:txBody>
          <a:bodyPr tIns="0"/>
          <a:lstStyle>
            <a:lvl1pPr>
              <a:spcAft>
                <a:spcPts val="0"/>
              </a:spcAft>
              <a:defRPr>
                <a:solidFill>
                  <a:schemeClr val="tx1"/>
                </a:solidFill>
                <a:latin typeface="Calibre Semibold" panose="020B0703030202060203" pitchFamily="34" charset="0"/>
              </a:defRPr>
            </a:lvl1pPr>
            <a:lvl2pPr marL="0" indent="0">
              <a:buFontTx/>
              <a:buNone/>
              <a:defRPr sz="2200">
                <a:solidFill>
                  <a:schemeClr val="tx1"/>
                </a:solidFill>
                <a:latin typeface="Calibre Light" panose="020B0303030202060203" pitchFamily="34" charset="0"/>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3">
            <a:extLst>
              <a:ext uri="{FF2B5EF4-FFF2-40B4-BE49-F238E27FC236}">
                <a16:creationId xmlns:a16="http://schemas.microsoft.com/office/drawing/2014/main" id="{A87E9A59-7A55-434F-8D1C-0C9DCD366770}"/>
              </a:ext>
            </a:extLst>
          </p:cNvPr>
          <p:cNvSpPr>
            <a:spLocks noGrp="1"/>
          </p:cNvSpPr>
          <p:nvPr>
            <p:ph type="body" sz="quarter" idx="39"/>
          </p:nvPr>
        </p:nvSpPr>
        <p:spPr>
          <a:xfrm>
            <a:off x="6155270" y="3478213"/>
            <a:ext cx="2451097" cy="2693987"/>
          </a:xfrm>
        </p:spPr>
        <p:txBody>
          <a:bodyPr tIns="0"/>
          <a:lstStyle>
            <a:lvl1pPr>
              <a:spcAft>
                <a:spcPts val="0"/>
              </a:spcAft>
              <a:defRPr>
                <a:solidFill>
                  <a:schemeClr val="tx1"/>
                </a:solidFill>
                <a:latin typeface="Calibre Semibold" panose="020B0703030202060203" pitchFamily="34" charset="0"/>
              </a:defRPr>
            </a:lvl1pPr>
            <a:lvl2pPr marL="0" indent="0">
              <a:buFontTx/>
              <a:buNone/>
              <a:defRPr sz="2200">
                <a:solidFill>
                  <a:schemeClr val="tx1"/>
                </a:solidFill>
                <a:latin typeface="Calibre Light" panose="020B0303030202060203" pitchFamily="34" charset="0"/>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3">
            <a:extLst>
              <a:ext uri="{FF2B5EF4-FFF2-40B4-BE49-F238E27FC236}">
                <a16:creationId xmlns:a16="http://schemas.microsoft.com/office/drawing/2014/main" id="{6209132C-9A7A-484F-9D6B-45592AEFBE4A}"/>
              </a:ext>
            </a:extLst>
          </p:cNvPr>
          <p:cNvSpPr>
            <a:spLocks noGrp="1"/>
          </p:cNvSpPr>
          <p:nvPr>
            <p:ph type="body" sz="quarter" idx="41"/>
          </p:nvPr>
        </p:nvSpPr>
        <p:spPr>
          <a:xfrm>
            <a:off x="8707438" y="3478213"/>
            <a:ext cx="2468858" cy="2693987"/>
          </a:xfrm>
        </p:spPr>
        <p:txBody>
          <a:bodyPr tIns="0"/>
          <a:lstStyle>
            <a:lvl1pPr>
              <a:spcAft>
                <a:spcPts val="0"/>
              </a:spcAft>
              <a:defRPr>
                <a:solidFill>
                  <a:schemeClr val="tx1"/>
                </a:solidFill>
                <a:latin typeface="Calibre Semibold" panose="020B0703030202060203" pitchFamily="34" charset="0"/>
              </a:defRPr>
            </a:lvl1pPr>
            <a:lvl2pPr marL="0" indent="0">
              <a:buFontTx/>
              <a:buNone/>
              <a:defRPr sz="2200">
                <a:solidFill>
                  <a:schemeClr val="tx1"/>
                </a:solidFill>
                <a:latin typeface="Calibre Light" panose="020B0303030202060203" pitchFamily="34" charset="0"/>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Picture Placeholder 11">
            <a:extLst>
              <a:ext uri="{FF2B5EF4-FFF2-40B4-BE49-F238E27FC236}">
                <a16:creationId xmlns:a16="http://schemas.microsoft.com/office/drawing/2014/main" id="{F5863F80-DEFD-4E1D-B527-6D80C6B88188}"/>
              </a:ext>
            </a:extLst>
          </p:cNvPr>
          <p:cNvSpPr>
            <a:spLocks noGrp="1"/>
          </p:cNvSpPr>
          <p:nvPr>
            <p:ph type="pic" sz="quarter" idx="42"/>
          </p:nvPr>
        </p:nvSpPr>
        <p:spPr>
          <a:xfrm>
            <a:off x="3584575" y="1601788"/>
            <a:ext cx="2457450" cy="1562100"/>
          </a:xfrm>
          <a:noFill/>
        </p:spPr>
        <p:txBody>
          <a:bodyPr/>
          <a:lstStyle/>
          <a:p>
            <a:r>
              <a:rPr lang="en-US"/>
              <a:t>Click icon to add picture</a:t>
            </a:r>
            <a:endParaRPr lang="en-GB"/>
          </a:p>
        </p:txBody>
      </p:sp>
      <p:sp>
        <p:nvSpPr>
          <p:cNvPr id="23" name="Picture Placeholder 11">
            <a:extLst>
              <a:ext uri="{FF2B5EF4-FFF2-40B4-BE49-F238E27FC236}">
                <a16:creationId xmlns:a16="http://schemas.microsoft.com/office/drawing/2014/main" id="{1ABC8741-43F1-4A15-8BF4-505E3E27EE0E}"/>
              </a:ext>
            </a:extLst>
          </p:cNvPr>
          <p:cNvSpPr>
            <a:spLocks noGrp="1"/>
          </p:cNvSpPr>
          <p:nvPr>
            <p:ph type="pic" sz="quarter" idx="52"/>
          </p:nvPr>
        </p:nvSpPr>
        <p:spPr>
          <a:xfrm>
            <a:off x="6149977" y="1601788"/>
            <a:ext cx="2451097" cy="1562100"/>
          </a:xfrm>
          <a:noFill/>
        </p:spPr>
        <p:txBody>
          <a:bodyPr/>
          <a:lstStyle/>
          <a:p>
            <a:r>
              <a:rPr lang="en-US"/>
              <a:t>Click icon to add picture</a:t>
            </a:r>
            <a:endParaRPr lang="en-GB"/>
          </a:p>
        </p:txBody>
      </p:sp>
      <p:sp>
        <p:nvSpPr>
          <p:cNvPr id="27" name="Picture Placeholder 11">
            <a:extLst>
              <a:ext uri="{FF2B5EF4-FFF2-40B4-BE49-F238E27FC236}">
                <a16:creationId xmlns:a16="http://schemas.microsoft.com/office/drawing/2014/main" id="{39D9A9A2-3D13-43EA-8AA3-15C6AC783747}"/>
              </a:ext>
            </a:extLst>
          </p:cNvPr>
          <p:cNvSpPr>
            <a:spLocks noGrp="1"/>
          </p:cNvSpPr>
          <p:nvPr>
            <p:ph type="pic" sz="quarter" idx="44"/>
          </p:nvPr>
        </p:nvSpPr>
        <p:spPr>
          <a:xfrm>
            <a:off x="8715378" y="1601788"/>
            <a:ext cx="2451097" cy="1562100"/>
          </a:xfrm>
          <a:noFill/>
        </p:spPr>
        <p:txBody>
          <a:bodyPr/>
          <a:lstStyle/>
          <a:p>
            <a:r>
              <a:rPr lang="en-US"/>
              <a:t>Click icon to add picture</a:t>
            </a:r>
            <a:endParaRPr lang="en-GB"/>
          </a:p>
        </p:txBody>
      </p:sp>
      <p:sp>
        <p:nvSpPr>
          <p:cNvPr id="4" name="Text Placeholder 3">
            <a:extLst>
              <a:ext uri="{FF2B5EF4-FFF2-40B4-BE49-F238E27FC236}">
                <a16:creationId xmlns:a16="http://schemas.microsoft.com/office/drawing/2014/main" id="{EF283AF0-165C-4C26-8710-BC167331F76B}"/>
              </a:ext>
            </a:extLst>
          </p:cNvPr>
          <p:cNvSpPr>
            <a:spLocks noGrp="1"/>
          </p:cNvSpPr>
          <p:nvPr>
            <p:ph type="body" sz="quarter" idx="53"/>
          </p:nvPr>
        </p:nvSpPr>
        <p:spPr>
          <a:xfrm>
            <a:off x="511177" y="3492063"/>
            <a:ext cx="1947861" cy="2500313"/>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
        <p:nvSpPr>
          <p:cNvPr id="25" name="Text Placeholder 4">
            <a:extLst>
              <a:ext uri="{FF2B5EF4-FFF2-40B4-BE49-F238E27FC236}">
                <a16:creationId xmlns:a16="http://schemas.microsoft.com/office/drawing/2014/main" id="{20681946-647E-4E3E-941A-BC2F1D9DAA1D}"/>
              </a:ext>
            </a:extLst>
          </p:cNvPr>
          <p:cNvSpPr>
            <a:spLocks noGrp="1"/>
          </p:cNvSpPr>
          <p:nvPr>
            <p:ph type="body" sz="quarter" idx="12" hasCustomPrompt="1"/>
          </p:nvPr>
        </p:nvSpPr>
        <p:spPr>
          <a:xfrm>
            <a:off x="3584575" y="921205"/>
            <a:ext cx="2460625" cy="57898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
        <p:nvSpPr>
          <p:cNvPr id="26" name="Text Placeholder 4">
            <a:extLst>
              <a:ext uri="{FF2B5EF4-FFF2-40B4-BE49-F238E27FC236}">
                <a16:creationId xmlns:a16="http://schemas.microsoft.com/office/drawing/2014/main" id="{DBABE035-9F36-4B39-A8E7-A443D797A644}"/>
              </a:ext>
            </a:extLst>
          </p:cNvPr>
          <p:cNvSpPr>
            <a:spLocks noGrp="1"/>
          </p:cNvSpPr>
          <p:nvPr>
            <p:ph type="body" sz="quarter" idx="57" hasCustomPrompt="1"/>
          </p:nvPr>
        </p:nvSpPr>
        <p:spPr>
          <a:xfrm>
            <a:off x="6154738" y="921205"/>
            <a:ext cx="2460625" cy="57898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
        <p:nvSpPr>
          <p:cNvPr id="28" name="Text Placeholder 4">
            <a:extLst>
              <a:ext uri="{FF2B5EF4-FFF2-40B4-BE49-F238E27FC236}">
                <a16:creationId xmlns:a16="http://schemas.microsoft.com/office/drawing/2014/main" id="{A441C666-72B0-4C16-80B2-45F23F4C2E28}"/>
              </a:ext>
            </a:extLst>
          </p:cNvPr>
          <p:cNvSpPr>
            <a:spLocks noGrp="1"/>
          </p:cNvSpPr>
          <p:nvPr>
            <p:ph type="body" sz="quarter" idx="58" hasCustomPrompt="1"/>
          </p:nvPr>
        </p:nvSpPr>
        <p:spPr>
          <a:xfrm>
            <a:off x="8707438" y="921204"/>
            <a:ext cx="2460625" cy="57898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Tree>
    <p:extLst>
      <p:ext uri="{BB962C8B-B14F-4D97-AF65-F5344CB8AC3E}">
        <p14:creationId xmlns:p14="http://schemas.microsoft.com/office/powerpoint/2010/main" val="3830801854"/>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 Image 3 Column +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62755-0C65-4BE0-A5A7-D86C17C7FA6A}"/>
              </a:ext>
            </a:extLst>
          </p:cNvPr>
          <p:cNvSpPr>
            <a:spLocks noGrp="1"/>
          </p:cNvSpPr>
          <p:nvPr>
            <p:ph type="title"/>
          </p:nvPr>
        </p:nvSpPr>
        <p:spPr/>
        <p:txBody>
          <a:bodyPr/>
          <a:lstStyle/>
          <a:p>
            <a:r>
              <a:rPr lang="en-US"/>
              <a:t>Click to edit Master title style</a:t>
            </a:r>
            <a:endParaRPr lang="en-GB"/>
          </a:p>
        </p:txBody>
      </p:sp>
      <p:cxnSp>
        <p:nvCxnSpPr>
          <p:cNvPr id="15" name="Straight Connector 14">
            <a:extLst>
              <a:ext uri="{FF2B5EF4-FFF2-40B4-BE49-F238E27FC236}">
                <a16:creationId xmlns:a16="http://schemas.microsoft.com/office/drawing/2014/main" id="{9303E485-437D-430C-90FD-0B098DCEC883}"/>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F82FCAD7-8E2A-406D-BD68-62118ED93FB4}"/>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18" name="Text Placeholder 13">
            <a:extLst>
              <a:ext uri="{FF2B5EF4-FFF2-40B4-BE49-F238E27FC236}">
                <a16:creationId xmlns:a16="http://schemas.microsoft.com/office/drawing/2014/main" id="{17CE7236-8CBB-4625-955D-4A2E27F5CC82}"/>
              </a:ext>
            </a:extLst>
          </p:cNvPr>
          <p:cNvSpPr>
            <a:spLocks noGrp="1"/>
          </p:cNvSpPr>
          <p:nvPr>
            <p:ph type="body" sz="quarter" idx="37"/>
          </p:nvPr>
        </p:nvSpPr>
        <p:spPr>
          <a:xfrm>
            <a:off x="3584575" y="3478213"/>
            <a:ext cx="2460625" cy="2693987"/>
          </a:xfrm>
        </p:spPr>
        <p:txBody>
          <a:bodyPr tIns="0"/>
          <a:lstStyle>
            <a:lvl1pPr>
              <a:spcAft>
                <a:spcPts val="0"/>
              </a:spcAft>
              <a:defRPr>
                <a:solidFill>
                  <a:schemeClr val="tx1"/>
                </a:solidFill>
                <a:latin typeface="Calibre Semibold" panose="020B0703030202060203" pitchFamily="34" charset="0"/>
              </a:defRPr>
            </a:lvl1pPr>
            <a:lvl2pPr marL="0" indent="0">
              <a:buFontTx/>
              <a:buNone/>
              <a:defRPr sz="2200">
                <a:solidFill>
                  <a:schemeClr val="tx1"/>
                </a:solidFill>
                <a:latin typeface="Calibre Light" panose="020B0303030202060203" pitchFamily="34" charset="0"/>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3">
            <a:extLst>
              <a:ext uri="{FF2B5EF4-FFF2-40B4-BE49-F238E27FC236}">
                <a16:creationId xmlns:a16="http://schemas.microsoft.com/office/drawing/2014/main" id="{A87E9A59-7A55-434F-8D1C-0C9DCD366770}"/>
              </a:ext>
            </a:extLst>
          </p:cNvPr>
          <p:cNvSpPr>
            <a:spLocks noGrp="1"/>
          </p:cNvSpPr>
          <p:nvPr>
            <p:ph type="body" sz="quarter" idx="39"/>
          </p:nvPr>
        </p:nvSpPr>
        <p:spPr>
          <a:xfrm>
            <a:off x="6155270" y="3478213"/>
            <a:ext cx="2451097" cy="2693987"/>
          </a:xfrm>
        </p:spPr>
        <p:txBody>
          <a:bodyPr tIns="0"/>
          <a:lstStyle>
            <a:lvl1pPr>
              <a:spcAft>
                <a:spcPts val="0"/>
              </a:spcAft>
              <a:defRPr>
                <a:solidFill>
                  <a:schemeClr val="tx1"/>
                </a:solidFill>
                <a:latin typeface="Calibre Semibold" panose="020B0703030202060203" pitchFamily="34" charset="0"/>
              </a:defRPr>
            </a:lvl1pPr>
            <a:lvl2pPr marL="0" indent="0">
              <a:buFontTx/>
              <a:buNone/>
              <a:defRPr sz="2200">
                <a:solidFill>
                  <a:schemeClr val="tx1"/>
                </a:solidFill>
                <a:latin typeface="Calibre Light" panose="020B0303030202060203" pitchFamily="34" charset="0"/>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3">
            <a:extLst>
              <a:ext uri="{FF2B5EF4-FFF2-40B4-BE49-F238E27FC236}">
                <a16:creationId xmlns:a16="http://schemas.microsoft.com/office/drawing/2014/main" id="{6209132C-9A7A-484F-9D6B-45592AEFBE4A}"/>
              </a:ext>
            </a:extLst>
          </p:cNvPr>
          <p:cNvSpPr>
            <a:spLocks noGrp="1"/>
          </p:cNvSpPr>
          <p:nvPr>
            <p:ph type="body" sz="quarter" idx="41"/>
          </p:nvPr>
        </p:nvSpPr>
        <p:spPr>
          <a:xfrm>
            <a:off x="8707438" y="3478213"/>
            <a:ext cx="2468858" cy="2693987"/>
          </a:xfrm>
        </p:spPr>
        <p:txBody>
          <a:bodyPr tIns="0"/>
          <a:lstStyle>
            <a:lvl1pPr>
              <a:spcAft>
                <a:spcPts val="0"/>
              </a:spcAft>
              <a:defRPr>
                <a:solidFill>
                  <a:schemeClr val="tx1"/>
                </a:solidFill>
                <a:latin typeface="Calibre Semibold" panose="020B0703030202060203" pitchFamily="34" charset="0"/>
              </a:defRPr>
            </a:lvl1pPr>
            <a:lvl2pPr marL="0" indent="0">
              <a:buFontTx/>
              <a:buNone/>
              <a:defRPr sz="2200">
                <a:solidFill>
                  <a:schemeClr val="tx1"/>
                </a:solidFill>
                <a:latin typeface="Calibre Light" panose="020B0303030202060203" pitchFamily="34" charset="0"/>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Picture Placeholder 11">
            <a:extLst>
              <a:ext uri="{FF2B5EF4-FFF2-40B4-BE49-F238E27FC236}">
                <a16:creationId xmlns:a16="http://schemas.microsoft.com/office/drawing/2014/main" id="{F5863F80-DEFD-4E1D-B527-6D80C6B88188}"/>
              </a:ext>
            </a:extLst>
          </p:cNvPr>
          <p:cNvSpPr>
            <a:spLocks noGrp="1"/>
          </p:cNvSpPr>
          <p:nvPr>
            <p:ph type="pic" sz="quarter" idx="42"/>
          </p:nvPr>
        </p:nvSpPr>
        <p:spPr>
          <a:xfrm>
            <a:off x="3584575" y="1601788"/>
            <a:ext cx="2457450" cy="1562100"/>
          </a:xfrm>
          <a:noFill/>
        </p:spPr>
        <p:txBody>
          <a:bodyPr/>
          <a:lstStyle/>
          <a:p>
            <a:r>
              <a:rPr lang="en-US"/>
              <a:t>Click icon to add picture</a:t>
            </a:r>
            <a:endParaRPr lang="en-GB"/>
          </a:p>
        </p:txBody>
      </p:sp>
      <p:sp>
        <p:nvSpPr>
          <p:cNvPr id="23" name="Picture Placeholder 11">
            <a:extLst>
              <a:ext uri="{FF2B5EF4-FFF2-40B4-BE49-F238E27FC236}">
                <a16:creationId xmlns:a16="http://schemas.microsoft.com/office/drawing/2014/main" id="{1ABC8741-43F1-4A15-8BF4-505E3E27EE0E}"/>
              </a:ext>
            </a:extLst>
          </p:cNvPr>
          <p:cNvSpPr>
            <a:spLocks noGrp="1"/>
          </p:cNvSpPr>
          <p:nvPr>
            <p:ph type="pic" sz="quarter" idx="52"/>
          </p:nvPr>
        </p:nvSpPr>
        <p:spPr>
          <a:xfrm>
            <a:off x="6149977" y="1601788"/>
            <a:ext cx="2451097" cy="1562100"/>
          </a:xfrm>
          <a:noFill/>
        </p:spPr>
        <p:txBody>
          <a:bodyPr/>
          <a:lstStyle/>
          <a:p>
            <a:r>
              <a:rPr lang="en-US"/>
              <a:t>Click icon to add picture</a:t>
            </a:r>
            <a:endParaRPr lang="en-GB"/>
          </a:p>
        </p:txBody>
      </p:sp>
      <p:sp>
        <p:nvSpPr>
          <p:cNvPr id="27" name="Picture Placeholder 11">
            <a:extLst>
              <a:ext uri="{FF2B5EF4-FFF2-40B4-BE49-F238E27FC236}">
                <a16:creationId xmlns:a16="http://schemas.microsoft.com/office/drawing/2014/main" id="{39D9A9A2-3D13-43EA-8AA3-15C6AC783747}"/>
              </a:ext>
            </a:extLst>
          </p:cNvPr>
          <p:cNvSpPr>
            <a:spLocks noGrp="1"/>
          </p:cNvSpPr>
          <p:nvPr>
            <p:ph type="pic" sz="quarter" idx="44"/>
          </p:nvPr>
        </p:nvSpPr>
        <p:spPr>
          <a:xfrm>
            <a:off x="8715378" y="1601788"/>
            <a:ext cx="2451097" cy="1562100"/>
          </a:xfrm>
          <a:noFill/>
        </p:spPr>
        <p:txBody>
          <a:bodyPr/>
          <a:lstStyle/>
          <a:p>
            <a:r>
              <a:rPr lang="en-US"/>
              <a:t>Click icon to add picture</a:t>
            </a:r>
            <a:endParaRPr lang="en-GB"/>
          </a:p>
        </p:txBody>
      </p:sp>
      <p:sp>
        <p:nvSpPr>
          <p:cNvPr id="4" name="Text Placeholder 3">
            <a:extLst>
              <a:ext uri="{FF2B5EF4-FFF2-40B4-BE49-F238E27FC236}">
                <a16:creationId xmlns:a16="http://schemas.microsoft.com/office/drawing/2014/main" id="{38BB620A-70FA-47B5-9375-63E2EDE2AC69}"/>
              </a:ext>
            </a:extLst>
          </p:cNvPr>
          <p:cNvSpPr>
            <a:spLocks noGrp="1"/>
          </p:cNvSpPr>
          <p:nvPr>
            <p:ph type="body" sz="quarter" idx="53"/>
          </p:nvPr>
        </p:nvSpPr>
        <p:spPr>
          <a:xfrm>
            <a:off x="511177" y="3492063"/>
            <a:ext cx="1947861" cy="2500313"/>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
        <p:nvSpPr>
          <p:cNvPr id="17" name="Text Placeholder 4">
            <a:extLst>
              <a:ext uri="{FF2B5EF4-FFF2-40B4-BE49-F238E27FC236}">
                <a16:creationId xmlns:a16="http://schemas.microsoft.com/office/drawing/2014/main" id="{F59B7FF5-843D-43B0-9504-87FD537AA22C}"/>
              </a:ext>
            </a:extLst>
          </p:cNvPr>
          <p:cNvSpPr>
            <a:spLocks noGrp="1"/>
          </p:cNvSpPr>
          <p:nvPr>
            <p:ph type="body" sz="quarter" idx="12" hasCustomPrompt="1"/>
          </p:nvPr>
        </p:nvSpPr>
        <p:spPr>
          <a:xfrm>
            <a:off x="3584575" y="921205"/>
            <a:ext cx="2460625" cy="57898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
        <p:nvSpPr>
          <p:cNvPr id="20" name="Text Placeholder 4">
            <a:extLst>
              <a:ext uri="{FF2B5EF4-FFF2-40B4-BE49-F238E27FC236}">
                <a16:creationId xmlns:a16="http://schemas.microsoft.com/office/drawing/2014/main" id="{60CA06D5-335E-4D4A-8354-C0F7A4C3186F}"/>
              </a:ext>
            </a:extLst>
          </p:cNvPr>
          <p:cNvSpPr>
            <a:spLocks noGrp="1"/>
          </p:cNvSpPr>
          <p:nvPr>
            <p:ph type="body" sz="quarter" idx="57" hasCustomPrompt="1"/>
          </p:nvPr>
        </p:nvSpPr>
        <p:spPr>
          <a:xfrm>
            <a:off x="6154738" y="921205"/>
            <a:ext cx="2460625" cy="57898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
        <p:nvSpPr>
          <p:cNvPr id="24" name="Text Placeholder 4">
            <a:extLst>
              <a:ext uri="{FF2B5EF4-FFF2-40B4-BE49-F238E27FC236}">
                <a16:creationId xmlns:a16="http://schemas.microsoft.com/office/drawing/2014/main" id="{651E9DA8-9494-4733-A4CC-603CB4DA1021}"/>
              </a:ext>
            </a:extLst>
          </p:cNvPr>
          <p:cNvSpPr>
            <a:spLocks noGrp="1"/>
          </p:cNvSpPr>
          <p:nvPr>
            <p:ph type="body" sz="quarter" idx="58" hasCustomPrompt="1"/>
          </p:nvPr>
        </p:nvSpPr>
        <p:spPr>
          <a:xfrm>
            <a:off x="8707438" y="921204"/>
            <a:ext cx="2460625" cy="57898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Tree>
    <p:extLst>
      <p:ext uri="{BB962C8B-B14F-4D97-AF65-F5344CB8AC3E}">
        <p14:creationId xmlns:p14="http://schemas.microsoft.com/office/powerpoint/2010/main" val="4028639714"/>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am 2">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57B03FB-3DDD-43D5-937D-82E8E760CE61}"/>
              </a:ext>
            </a:extLst>
          </p:cNvPr>
          <p:cNvSpPr>
            <a:spLocks noGrp="1"/>
          </p:cNvSpPr>
          <p:nvPr>
            <p:ph type="title"/>
          </p:nvPr>
        </p:nvSpPr>
        <p:spPr/>
        <p:txBody>
          <a:bodyPr/>
          <a:lstStyle/>
          <a:p>
            <a:r>
              <a:rPr lang="en-US"/>
              <a:t>Click to edit Master title style</a:t>
            </a:r>
            <a:endParaRPr lang="en-GB"/>
          </a:p>
        </p:txBody>
      </p:sp>
      <p:sp>
        <p:nvSpPr>
          <p:cNvPr id="12" name="Picture Placeholder 11">
            <a:extLst>
              <a:ext uri="{FF2B5EF4-FFF2-40B4-BE49-F238E27FC236}">
                <a16:creationId xmlns:a16="http://schemas.microsoft.com/office/drawing/2014/main" id="{06FCBAB6-F45A-4A9F-AFC0-FA89B4BE41E5}"/>
              </a:ext>
            </a:extLst>
          </p:cNvPr>
          <p:cNvSpPr>
            <a:spLocks noGrp="1"/>
          </p:cNvSpPr>
          <p:nvPr>
            <p:ph type="pic" sz="quarter" idx="42"/>
          </p:nvPr>
        </p:nvSpPr>
        <p:spPr>
          <a:xfrm>
            <a:off x="4105276" y="484190"/>
            <a:ext cx="1016000" cy="1325564"/>
          </a:xfrm>
          <a:noFill/>
        </p:spPr>
        <p:txBody>
          <a:bodyPr/>
          <a:lstStyle/>
          <a:p>
            <a:r>
              <a:rPr lang="en-US"/>
              <a:t>Click icon to add picture</a:t>
            </a:r>
            <a:endParaRPr lang="en-GB"/>
          </a:p>
        </p:txBody>
      </p:sp>
      <p:sp>
        <p:nvSpPr>
          <p:cNvPr id="14" name="Picture Placeholder 11">
            <a:extLst>
              <a:ext uri="{FF2B5EF4-FFF2-40B4-BE49-F238E27FC236}">
                <a16:creationId xmlns:a16="http://schemas.microsoft.com/office/drawing/2014/main" id="{63211789-735E-4E7A-BA8F-7919401DC5CC}"/>
              </a:ext>
            </a:extLst>
          </p:cNvPr>
          <p:cNvSpPr>
            <a:spLocks noGrp="1"/>
          </p:cNvSpPr>
          <p:nvPr>
            <p:ph type="pic" sz="quarter" idx="48"/>
          </p:nvPr>
        </p:nvSpPr>
        <p:spPr>
          <a:xfrm>
            <a:off x="8215843" y="481311"/>
            <a:ext cx="1016000" cy="1325564"/>
          </a:xfrm>
          <a:noFill/>
        </p:spPr>
        <p:txBody>
          <a:bodyPr/>
          <a:lstStyle/>
          <a:p>
            <a:r>
              <a:rPr lang="en-US"/>
              <a:t>Click icon to add picture</a:t>
            </a:r>
            <a:endParaRPr lang="en-GB"/>
          </a:p>
        </p:txBody>
      </p:sp>
      <p:sp>
        <p:nvSpPr>
          <p:cNvPr id="15" name="Text Placeholder 4">
            <a:extLst>
              <a:ext uri="{FF2B5EF4-FFF2-40B4-BE49-F238E27FC236}">
                <a16:creationId xmlns:a16="http://schemas.microsoft.com/office/drawing/2014/main" id="{0DCCB9D4-1D16-4FF6-8538-257C59FA776E}"/>
              </a:ext>
            </a:extLst>
          </p:cNvPr>
          <p:cNvSpPr>
            <a:spLocks noGrp="1"/>
          </p:cNvSpPr>
          <p:nvPr>
            <p:ph type="body" sz="quarter" idx="49" hasCustomPrompt="1"/>
          </p:nvPr>
        </p:nvSpPr>
        <p:spPr>
          <a:xfrm>
            <a:off x="4102946" y="2852739"/>
            <a:ext cx="1016000" cy="3557869"/>
          </a:xfrm>
        </p:spPr>
        <p:txBody>
          <a:bodyPr tIns="0"/>
          <a:lstStyle>
            <a:lvl1pPr>
              <a:spcBef>
                <a:spcPts val="1800"/>
              </a:spcBef>
              <a:spcAft>
                <a:spcPts val="0"/>
              </a:spcAft>
              <a:defRPr sz="1050" b="1" cap="all" baseline="0">
                <a:latin typeface="Barlow Condensed" panose="00000506000000000000" pitchFamily="2" charset="0"/>
              </a:defRPr>
            </a:lvl1pPr>
            <a:lvl2pPr>
              <a:spcAft>
                <a:spcPts val="0"/>
              </a:spcAft>
              <a:defRPr sz="1050">
                <a:latin typeface="Barlow Condensed" panose="00000506000000000000" pitchFamily="2" charset="0"/>
              </a:defRPr>
            </a:lvl2pPr>
            <a:lvl3pPr marL="90488" indent="-90488">
              <a:spcBef>
                <a:spcPts val="0"/>
              </a:spcBef>
              <a:spcAft>
                <a:spcPts val="0"/>
              </a:spcAft>
              <a:buFont typeface="SwissReSansOTLight" panose="04000400000000000000" pitchFamily="82" charset="0"/>
              <a:buChar char="–"/>
              <a:defRPr sz="1050">
                <a:latin typeface="Barlow Condensed" panose="00000506000000000000" pitchFamily="2" charset="0"/>
              </a:defRPr>
            </a:lvl3pPr>
            <a:lvl5pPr>
              <a:defRPr>
                <a:latin typeface="Calibre Bold" panose="020B0803030202060203" pitchFamily="34" charset="0"/>
              </a:defRPr>
            </a:lvl5pPr>
          </a:lstStyle>
          <a:p>
            <a:pPr lvl="0"/>
            <a:r>
              <a:rPr lang="en-US"/>
              <a:t>subheading</a:t>
            </a:r>
          </a:p>
          <a:p>
            <a:pPr lvl="1"/>
            <a:r>
              <a:rPr lang="en-US"/>
              <a:t>Second level</a:t>
            </a:r>
          </a:p>
          <a:p>
            <a:pPr lvl="2"/>
            <a:r>
              <a:rPr lang="en-US"/>
              <a:t>Third level</a:t>
            </a:r>
          </a:p>
        </p:txBody>
      </p:sp>
      <p:sp>
        <p:nvSpPr>
          <p:cNvPr id="18" name="Text Placeholder 4">
            <a:extLst>
              <a:ext uri="{FF2B5EF4-FFF2-40B4-BE49-F238E27FC236}">
                <a16:creationId xmlns:a16="http://schemas.microsoft.com/office/drawing/2014/main" id="{2095B527-5B70-47B4-95BE-DECF37C363B3}"/>
              </a:ext>
            </a:extLst>
          </p:cNvPr>
          <p:cNvSpPr>
            <a:spLocks noGrp="1"/>
          </p:cNvSpPr>
          <p:nvPr>
            <p:ph type="body" sz="quarter" idx="50" hasCustomPrompt="1"/>
          </p:nvPr>
        </p:nvSpPr>
        <p:spPr>
          <a:xfrm>
            <a:off x="8201871" y="2852739"/>
            <a:ext cx="1016000" cy="3557869"/>
          </a:xfrm>
        </p:spPr>
        <p:txBody>
          <a:bodyPr tIns="0"/>
          <a:lstStyle>
            <a:lvl1pPr>
              <a:spcBef>
                <a:spcPts val="1800"/>
              </a:spcBef>
              <a:spcAft>
                <a:spcPts val="0"/>
              </a:spcAft>
              <a:defRPr sz="1050" b="1" cap="all" baseline="0">
                <a:latin typeface="Barlow Condensed" panose="00000506000000000000" pitchFamily="2" charset="0"/>
              </a:defRPr>
            </a:lvl1pPr>
            <a:lvl2pPr>
              <a:spcAft>
                <a:spcPts val="0"/>
              </a:spcAft>
              <a:defRPr sz="1050">
                <a:latin typeface="Barlow Condensed" panose="00000506000000000000" pitchFamily="2" charset="0"/>
              </a:defRPr>
            </a:lvl2pPr>
            <a:lvl3pPr marL="90488" indent="-90488">
              <a:spcBef>
                <a:spcPts val="0"/>
              </a:spcBef>
              <a:spcAft>
                <a:spcPts val="0"/>
              </a:spcAft>
              <a:buFont typeface="SwissReSansOTLight" panose="04000400000000000000" pitchFamily="82" charset="0"/>
              <a:buChar char="–"/>
              <a:defRPr sz="1050">
                <a:latin typeface="Barlow Condensed" panose="00000506000000000000" pitchFamily="2" charset="0"/>
              </a:defRPr>
            </a:lvl3pPr>
            <a:lvl5pPr>
              <a:defRPr>
                <a:latin typeface="Calibre Bold" panose="020B0803030202060203" pitchFamily="34" charset="0"/>
              </a:defRPr>
            </a:lvl5pPr>
          </a:lstStyle>
          <a:p>
            <a:pPr lvl="0"/>
            <a:r>
              <a:rPr lang="en-US"/>
              <a:t>subheading</a:t>
            </a:r>
          </a:p>
          <a:p>
            <a:pPr lvl="1"/>
            <a:r>
              <a:rPr lang="en-US"/>
              <a:t>Second level</a:t>
            </a:r>
          </a:p>
          <a:p>
            <a:pPr lvl="2"/>
            <a:r>
              <a:rPr lang="en-US"/>
              <a:t>Third level</a:t>
            </a:r>
          </a:p>
        </p:txBody>
      </p:sp>
      <p:cxnSp>
        <p:nvCxnSpPr>
          <p:cNvPr id="19" name="Straight Connector 18">
            <a:extLst>
              <a:ext uri="{FF2B5EF4-FFF2-40B4-BE49-F238E27FC236}">
                <a16:creationId xmlns:a16="http://schemas.microsoft.com/office/drawing/2014/main" id="{5FC07B9A-D2CB-4E21-94E8-D78567A2DCC2}"/>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20" name="Text Placeholder 6">
            <a:extLst>
              <a:ext uri="{FF2B5EF4-FFF2-40B4-BE49-F238E27FC236}">
                <a16:creationId xmlns:a16="http://schemas.microsoft.com/office/drawing/2014/main" id="{6B97DD71-031B-4E0C-9AEE-E2D7B11C1926}"/>
              </a:ext>
            </a:extLst>
          </p:cNvPr>
          <p:cNvSpPr>
            <a:spLocks noGrp="1"/>
          </p:cNvSpPr>
          <p:nvPr>
            <p:ph type="body" sz="quarter" idx="5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16" name="Text Placeholder 4">
            <a:extLst>
              <a:ext uri="{FF2B5EF4-FFF2-40B4-BE49-F238E27FC236}">
                <a16:creationId xmlns:a16="http://schemas.microsoft.com/office/drawing/2014/main" id="{3F36BB42-BAAC-470B-A14C-8054A655C6B4}"/>
              </a:ext>
            </a:extLst>
          </p:cNvPr>
          <p:cNvSpPr>
            <a:spLocks noGrp="1"/>
          </p:cNvSpPr>
          <p:nvPr>
            <p:ph type="body" sz="quarter" idx="55" hasCustomPrompt="1"/>
          </p:nvPr>
        </p:nvSpPr>
        <p:spPr>
          <a:xfrm>
            <a:off x="5538046" y="430322"/>
            <a:ext cx="2043854" cy="1069866"/>
          </a:xfrm>
        </p:spPr>
        <p:txBody>
          <a:bodyPr tIns="0"/>
          <a:lstStyle>
            <a:lvl1pPr>
              <a:spcAft>
                <a:spcPts val="0"/>
              </a:spcAft>
              <a:defRPr sz="1000" cap="all" baseline="0">
                <a:latin typeface="+mn-lt"/>
              </a:defRPr>
            </a:lvl1pPr>
            <a:lvl2pPr>
              <a:spcAft>
                <a:spcPts val="1800"/>
              </a:spcAft>
              <a:defRPr sz="1400"/>
            </a:lvl2pPr>
            <a:lvl3pPr>
              <a:spcBef>
                <a:spcPts val="600"/>
              </a:spcBef>
              <a:spcAft>
                <a:spcPts val="0"/>
              </a:spcAft>
              <a:defRPr/>
            </a:lvl3pPr>
            <a:lvl4pPr marL="0" indent="0">
              <a:spcBef>
                <a:spcPts val="0"/>
              </a:spcBef>
              <a:spcAft>
                <a:spcPts val="0"/>
              </a:spcAft>
              <a:buNone/>
              <a:defRPr/>
            </a:lvl4pPr>
            <a:lvl5pPr marL="0" indent="0">
              <a:spcBef>
                <a:spcPts val="0"/>
              </a:spcBef>
              <a:spcAft>
                <a:spcPts val="600"/>
              </a:spcAft>
              <a:buNone/>
              <a:defRPr>
                <a:latin typeface="Calibre Bold" panose="020B0803030202060203" pitchFamily="34" charset="0"/>
              </a:defRPr>
            </a:lvl5pPr>
            <a:lvl6pPr>
              <a:defRPr/>
            </a:lvl6pPr>
            <a:lvl7pPr>
              <a:defRPr/>
            </a:lvl7pPr>
            <a:lvl8pPr>
              <a:defRPr/>
            </a:lvl8pPr>
          </a:lstStyle>
          <a:p>
            <a:pPr lvl="0"/>
            <a:r>
              <a:rPr lang="en-US"/>
              <a:t>industry</a:t>
            </a:r>
          </a:p>
          <a:p>
            <a:pPr lvl="1"/>
            <a:r>
              <a:rPr lang="en-US"/>
              <a:t>Name Surname</a:t>
            </a:r>
          </a:p>
          <a:p>
            <a:pPr lvl="2"/>
            <a:r>
              <a:rPr lang="en-US"/>
              <a:t>Job Title</a:t>
            </a:r>
          </a:p>
          <a:p>
            <a:pPr lvl="3"/>
            <a:r>
              <a:rPr lang="en-US"/>
              <a:t>Email</a:t>
            </a:r>
          </a:p>
        </p:txBody>
      </p:sp>
      <p:sp>
        <p:nvSpPr>
          <p:cNvPr id="17" name="Text Placeholder 4">
            <a:extLst>
              <a:ext uri="{FF2B5EF4-FFF2-40B4-BE49-F238E27FC236}">
                <a16:creationId xmlns:a16="http://schemas.microsoft.com/office/drawing/2014/main" id="{F516C98C-1DF2-4FF6-A7E2-C3FDB9F7A5D7}"/>
              </a:ext>
            </a:extLst>
          </p:cNvPr>
          <p:cNvSpPr>
            <a:spLocks noGrp="1"/>
          </p:cNvSpPr>
          <p:nvPr>
            <p:ph type="body" sz="quarter" idx="56" hasCustomPrompt="1"/>
          </p:nvPr>
        </p:nvSpPr>
        <p:spPr>
          <a:xfrm>
            <a:off x="9635384" y="430322"/>
            <a:ext cx="2043854" cy="1069866"/>
          </a:xfrm>
        </p:spPr>
        <p:txBody>
          <a:bodyPr tIns="0"/>
          <a:lstStyle>
            <a:lvl1pPr>
              <a:spcAft>
                <a:spcPts val="0"/>
              </a:spcAft>
              <a:defRPr sz="1000" cap="all" baseline="0">
                <a:latin typeface="+mn-lt"/>
              </a:defRPr>
            </a:lvl1pPr>
            <a:lvl2pPr>
              <a:spcAft>
                <a:spcPts val="1800"/>
              </a:spcAft>
              <a:defRPr sz="1400"/>
            </a:lvl2pPr>
            <a:lvl3pPr>
              <a:spcBef>
                <a:spcPts val="600"/>
              </a:spcBef>
              <a:spcAft>
                <a:spcPts val="0"/>
              </a:spcAft>
              <a:defRPr/>
            </a:lvl3pPr>
            <a:lvl4pPr marL="0" indent="0">
              <a:spcBef>
                <a:spcPts val="0"/>
              </a:spcBef>
              <a:spcAft>
                <a:spcPts val="0"/>
              </a:spcAft>
              <a:buNone/>
              <a:defRPr/>
            </a:lvl4pPr>
            <a:lvl5pPr marL="0" indent="0">
              <a:spcBef>
                <a:spcPts val="0"/>
              </a:spcBef>
              <a:spcAft>
                <a:spcPts val="600"/>
              </a:spcAft>
              <a:buNone/>
              <a:defRPr>
                <a:latin typeface="Calibre Bold" panose="020B0803030202060203" pitchFamily="34" charset="0"/>
              </a:defRPr>
            </a:lvl5pPr>
            <a:lvl6pPr>
              <a:defRPr/>
            </a:lvl6pPr>
            <a:lvl7pPr>
              <a:defRPr/>
            </a:lvl7pPr>
            <a:lvl8pPr>
              <a:defRPr/>
            </a:lvl8pPr>
          </a:lstStyle>
          <a:p>
            <a:pPr lvl="0"/>
            <a:r>
              <a:rPr lang="en-US"/>
              <a:t>industry</a:t>
            </a:r>
          </a:p>
          <a:p>
            <a:pPr lvl="1"/>
            <a:r>
              <a:rPr lang="en-US"/>
              <a:t>Name Surname</a:t>
            </a:r>
          </a:p>
          <a:p>
            <a:pPr lvl="2"/>
            <a:r>
              <a:rPr lang="en-US"/>
              <a:t>Job Title</a:t>
            </a:r>
          </a:p>
          <a:p>
            <a:pPr lvl="3"/>
            <a:r>
              <a:rPr lang="en-US"/>
              <a:t>Email</a:t>
            </a:r>
          </a:p>
        </p:txBody>
      </p:sp>
      <p:sp>
        <p:nvSpPr>
          <p:cNvPr id="21" name="Text Placeholder 4">
            <a:extLst>
              <a:ext uri="{FF2B5EF4-FFF2-40B4-BE49-F238E27FC236}">
                <a16:creationId xmlns:a16="http://schemas.microsoft.com/office/drawing/2014/main" id="{B2D3416A-00E4-47AF-A14C-AFFB92D9F7CD}"/>
              </a:ext>
            </a:extLst>
          </p:cNvPr>
          <p:cNvSpPr>
            <a:spLocks noGrp="1"/>
          </p:cNvSpPr>
          <p:nvPr>
            <p:ph type="body" sz="quarter" idx="10"/>
          </p:nvPr>
        </p:nvSpPr>
        <p:spPr>
          <a:xfrm>
            <a:off x="5538816" y="2125663"/>
            <a:ext cx="2043854" cy="4302016"/>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4">
            <a:extLst>
              <a:ext uri="{FF2B5EF4-FFF2-40B4-BE49-F238E27FC236}">
                <a16:creationId xmlns:a16="http://schemas.microsoft.com/office/drawing/2014/main" id="{195FCD78-DB6B-421B-B2D4-AE5BEF3DF4B0}"/>
              </a:ext>
            </a:extLst>
          </p:cNvPr>
          <p:cNvSpPr>
            <a:spLocks noGrp="1"/>
          </p:cNvSpPr>
          <p:nvPr>
            <p:ph type="body" sz="quarter" idx="57"/>
          </p:nvPr>
        </p:nvSpPr>
        <p:spPr>
          <a:xfrm>
            <a:off x="9647997" y="2125662"/>
            <a:ext cx="2043854" cy="4302016"/>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53083634"/>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 4 Column + Title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EDA477A-EA05-4910-A907-B37AE40891F2}"/>
              </a:ext>
            </a:extLst>
          </p:cNvPr>
          <p:cNvSpPr>
            <a:spLocks noGrp="1"/>
          </p:cNvSpPr>
          <p:nvPr>
            <p:ph type="title"/>
          </p:nvPr>
        </p:nvSpPr>
        <p:spPr/>
        <p:txBody>
          <a:bodyPr/>
          <a:lstStyle/>
          <a:p>
            <a:r>
              <a:rPr lang="en-US"/>
              <a:t>Click to edit Master title style</a:t>
            </a:r>
            <a:endParaRPr lang="en-GB"/>
          </a:p>
        </p:txBody>
      </p:sp>
      <p:cxnSp>
        <p:nvCxnSpPr>
          <p:cNvPr id="15" name="Straight Connector 14">
            <a:extLst>
              <a:ext uri="{FF2B5EF4-FFF2-40B4-BE49-F238E27FC236}">
                <a16:creationId xmlns:a16="http://schemas.microsoft.com/office/drawing/2014/main" id="{3E1B1BC1-6426-4194-977F-50E0566069B1}"/>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2C4518EA-20F4-4C32-AE32-5FF170885DAD}"/>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17" name="Content Placeholder 16">
            <a:extLst>
              <a:ext uri="{FF2B5EF4-FFF2-40B4-BE49-F238E27FC236}">
                <a16:creationId xmlns:a16="http://schemas.microsoft.com/office/drawing/2014/main" id="{382EEC82-E425-4447-8168-823386C35811}"/>
              </a:ext>
            </a:extLst>
          </p:cNvPr>
          <p:cNvSpPr>
            <a:spLocks noGrp="1"/>
          </p:cNvSpPr>
          <p:nvPr>
            <p:ph sz="quarter" idx="46"/>
          </p:nvPr>
        </p:nvSpPr>
        <p:spPr>
          <a:xfrm>
            <a:off x="3596483" y="1601788"/>
            <a:ext cx="1946577" cy="4376737"/>
          </a:xfrm>
          <a:custGeom>
            <a:avLst/>
            <a:gdLst>
              <a:gd name="connsiteX0" fmla="*/ 0 w 1946577"/>
              <a:gd name="connsiteY0" fmla="*/ 0 h 4376737"/>
              <a:gd name="connsiteX1" fmla="*/ 1946577 w 1946577"/>
              <a:gd name="connsiteY1" fmla="*/ 0 h 4376737"/>
              <a:gd name="connsiteX2" fmla="*/ 1946577 w 1946577"/>
              <a:gd name="connsiteY2" fmla="*/ 4376737 h 4376737"/>
              <a:gd name="connsiteX3" fmla="*/ 0 w 1946577"/>
              <a:gd name="connsiteY3" fmla="*/ 4376737 h 4376737"/>
            </a:gdLst>
            <a:ahLst/>
            <a:cxnLst>
              <a:cxn ang="0">
                <a:pos x="connsiteX0" y="connsiteY0"/>
              </a:cxn>
              <a:cxn ang="0">
                <a:pos x="connsiteX1" y="connsiteY1"/>
              </a:cxn>
              <a:cxn ang="0">
                <a:pos x="connsiteX2" y="connsiteY2"/>
              </a:cxn>
              <a:cxn ang="0">
                <a:pos x="connsiteX3" y="connsiteY3"/>
              </a:cxn>
            </a:cxnLst>
            <a:rect l="l" t="t" r="r" b="b"/>
            <a:pathLst>
              <a:path w="1946577" h="4376737">
                <a:moveTo>
                  <a:pt x="0" y="0"/>
                </a:moveTo>
                <a:lnTo>
                  <a:pt x="1946577" y="0"/>
                </a:lnTo>
                <a:lnTo>
                  <a:pt x="1946577" y="4376737"/>
                </a:lnTo>
                <a:lnTo>
                  <a:pt x="0" y="4376737"/>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21">
            <a:extLst>
              <a:ext uri="{FF2B5EF4-FFF2-40B4-BE49-F238E27FC236}">
                <a16:creationId xmlns:a16="http://schemas.microsoft.com/office/drawing/2014/main" id="{B6F5A440-4CB0-4227-83F4-B25372C1CEF0}"/>
              </a:ext>
            </a:extLst>
          </p:cNvPr>
          <p:cNvSpPr>
            <a:spLocks noGrp="1"/>
          </p:cNvSpPr>
          <p:nvPr>
            <p:ph sz="quarter" idx="47"/>
          </p:nvPr>
        </p:nvSpPr>
        <p:spPr>
          <a:xfrm>
            <a:off x="5664612" y="1601788"/>
            <a:ext cx="1921257" cy="4376737"/>
          </a:xfrm>
          <a:custGeom>
            <a:avLst/>
            <a:gdLst>
              <a:gd name="connsiteX0" fmla="*/ 0 w 1921257"/>
              <a:gd name="connsiteY0" fmla="*/ 0 h 4376737"/>
              <a:gd name="connsiteX1" fmla="*/ 1921257 w 1921257"/>
              <a:gd name="connsiteY1" fmla="*/ 0 h 4376737"/>
              <a:gd name="connsiteX2" fmla="*/ 1921257 w 1921257"/>
              <a:gd name="connsiteY2" fmla="*/ 4376737 h 4376737"/>
              <a:gd name="connsiteX3" fmla="*/ 0 w 1921257"/>
              <a:gd name="connsiteY3" fmla="*/ 4376737 h 4376737"/>
            </a:gdLst>
            <a:ahLst/>
            <a:cxnLst>
              <a:cxn ang="0">
                <a:pos x="connsiteX0" y="connsiteY0"/>
              </a:cxn>
              <a:cxn ang="0">
                <a:pos x="connsiteX1" y="connsiteY1"/>
              </a:cxn>
              <a:cxn ang="0">
                <a:pos x="connsiteX2" y="connsiteY2"/>
              </a:cxn>
              <a:cxn ang="0">
                <a:pos x="connsiteX3" y="connsiteY3"/>
              </a:cxn>
            </a:cxnLst>
            <a:rect l="l" t="t" r="r" b="b"/>
            <a:pathLst>
              <a:path w="1921257" h="4376737">
                <a:moveTo>
                  <a:pt x="0" y="0"/>
                </a:moveTo>
                <a:lnTo>
                  <a:pt x="1921257" y="0"/>
                </a:lnTo>
                <a:lnTo>
                  <a:pt x="1921257" y="4376737"/>
                </a:lnTo>
                <a:lnTo>
                  <a:pt x="0" y="4376737"/>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22">
            <a:extLst>
              <a:ext uri="{FF2B5EF4-FFF2-40B4-BE49-F238E27FC236}">
                <a16:creationId xmlns:a16="http://schemas.microsoft.com/office/drawing/2014/main" id="{628C5231-34D0-4652-B982-40A4C84EBCC8}"/>
              </a:ext>
            </a:extLst>
          </p:cNvPr>
          <p:cNvSpPr>
            <a:spLocks noGrp="1"/>
          </p:cNvSpPr>
          <p:nvPr>
            <p:ph sz="quarter" idx="48"/>
          </p:nvPr>
        </p:nvSpPr>
        <p:spPr>
          <a:xfrm>
            <a:off x="7710102" y="1601788"/>
            <a:ext cx="1921258" cy="4376737"/>
          </a:xfrm>
          <a:custGeom>
            <a:avLst/>
            <a:gdLst>
              <a:gd name="connsiteX0" fmla="*/ 0 w 1921258"/>
              <a:gd name="connsiteY0" fmla="*/ 0 h 4376737"/>
              <a:gd name="connsiteX1" fmla="*/ 1921258 w 1921258"/>
              <a:gd name="connsiteY1" fmla="*/ 0 h 4376737"/>
              <a:gd name="connsiteX2" fmla="*/ 1921258 w 1921258"/>
              <a:gd name="connsiteY2" fmla="*/ 4376737 h 4376737"/>
              <a:gd name="connsiteX3" fmla="*/ 0 w 1921258"/>
              <a:gd name="connsiteY3" fmla="*/ 4376737 h 4376737"/>
            </a:gdLst>
            <a:ahLst/>
            <a:cxnLst>
              <a:cxn ang="0">
                <a:pos x="connsiteX0" y="connsiteY0"/>
              </a:cxn>
              <a:cxn ang="0">
                <a:pos x="connsiteX1" y="connsiteY1"/>
              </a:cxn>
              <a:cxn ang="0">
                <a:pos x="connsiteX2" y="connsiteY2"/>
              </a:cxn>
              <a:cxn ang="0">
                <a:pos x="connsiteX3" y="connsiteY3"/>
              </a:cxn>
            </a:cxnLst>
            <a:rect l="l" t="t" r="r" b="b"/>
            <a:pathLst>
              <a:path w="1921258" h="4376737">
                <a:moveTo>
                  <a:pt x="0" y="0"/>
                </a:moveTo>
                <a:lnTo>
                  <a:pt x="1921258" y="0"/>
                </a:lnTo>
                <a:lnTo>
                  <a:pt x="1921258" y="4376737"/>
                </a:lnTo>
                <a:lnTo>
                  <a:pt x="0" y="4376737"/>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23">
            <a:extLst>
              <a:ext uri="{FF2B5EF4-FFF2-40B4-BE49-F238E27FC236}">
                <a16:creationId xmlns:a16="http://schemas.microsoft.com/office/drawing/2014/main" id="{CFBC130C-E5E4-405A-9E7E-C6CC4C07AFB5}"/>
              </a:ext>
            </a:extLst>
          </p:cNvPr>
          <p:cNvSpPr>
            <a:spLocks noGrp="1"/>
          </p:cNvSpPr>
          <p:nvPr>
            <p:ph sz="quarter" idx="49"/>
          </p:nvPr>
        </p:nvSpPr>
        <p:spPr>
          <a:xfrm>
            <a:off x="9757978" y="1601788"/>
            <a:ext cx="1921258" cy="4376737"/>
          </a:xfrm>
          <a:custGeom>
            <a:avLst/>
            <a:gdLst>
              <a:gd name="connsiteX0" fmla="*/ 0 w 1921258"/>
              <a:gd name="connsiteY0" fmla="*/ 0 h 4376737"/>
              <a:gd name="connsiteX1" fmla="*/ 1921258 w 1921258"/>
              <a:gd name="connsiteY1" fmla="*/ 0 h 4376737"/>
              <a:gd name="connsiteX2" fmla="*/ 1921258 w 1921258"/>
              <a:gd name="connsiteY2" fmla="*/ 4376737 h 4376737"/>
              <a:gd name="connsiteX3" fmla="*/ 0 w 1921258"/>
              <a:gd name="connsiteY3" fmla="*/ 4376737 h 4376737"/>
            </a:gdLst>
            <a:ahLst/>
            <a:cxnLst>
              <a:cxn ang="0">
                <a:pos x="connsiteX0" y="connsiteY0"/>
              </a:cxn>
              <a:cxn ang="0">
                <a:pos x="connsiteX1" y="connsiteY1"/>
              </a:cxn>
              <a:cxn ang="0">
                <a:pos x="connsiteX2" y="connsiteY2"/>
              </a:cxn>
              <a:cxn ang="0">
                <a:pos x="connsiteX3" y="connsiteY3"/>
              </a:cxn>
            </a:cxnLst>
            <a:rect l="l" t="t" r="r" b="b"/>
            <a:pathLst>
              <a:path w="1921258" h="4376737">
                <a:moveTo>
                  <a:pt x="0" y="0"/>
                </a:moveTo>
                <a:lnTo>
                  <a:pt x="1921258" y="0"/>
                </a:lnTo>
                <a:lnTo>
                  <a:pt x="1921258" y="4376737"/>
                </a:lnTo>
                <a:lnTo>
                  <a:pt x="0" y="4376737"/>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 Placeholder 2">
            <a:extLst>
              <a:ext uri="{FF2B5EF4-FFF2-40B4-BE49-F238E27FC236}">
                <a16:creationId xmlns:a16="http://schemas.microsoft.com/office/drawing/2014/main" id="{5B06FC62-0D29-4AB4-A866-E5DF66540810}"/>
              </a:ext>
            </a:extLst>
          </p:cNvPr>
          <p:cNvSpPr>
            <a:spLocks noGrp="1"/>
          </p:cNvSpPr>
          <p:nvPr>
            <p:ph type="body" sz="quarter" idx="50"/>
          </p:nvPr>
        </p:nvSpPr>
        <p:spPr>
          <a:xfrm>
            <a:off x="511177" y="3492063"/>
            <a:ext cx="1947861" cy="2500313"/>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
        <p:nvSpPr>
          <p:cNvPr id="13" name="Text Placeholder 4">
            <a:extLst>
              <a:ext uri="{FF2B5EF4-FFF2-40B4-BE49-F238E27FC236}">
                <a16:creationId xmlns:a16="http://schemas.microsoft.com/office/drawing/2014/main" id="{DEA8446A-B0D9-47B3-9D07-FC91721D0366}"/>
              </a:ext>
            </a:extLst>
          </p:cNvPr>
          <p:cNvSpPr>
            <a:spLocks noGrp="1"/>
          </p:cNvSpPr>
          <p:nvPr>
            <p:ph type="body" sz="quarter" idx="12" hasCustomPrompt="1"/>
          </p:nvPr>
        </p:nvSpPr>
        <p:spPr>
          <a:xfrm>
            <a:off x="3584576" y="917539"/>
            <a:ext cx="3997324" cy="582649"/>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
        <p:nvSpPr>
          <p:cNvPr id="19" name="Text Placeholder 4">
            <a:extLst>
              <a:ext uri="{FF2B5EF4-FFF2-40B4-BE49-F238E27FC236}">
                <a16:creationId xmlns:a16="http://schemas.microsoft.com/office/drawing/2014/main" id="{E806D6EB-7E95-44EC-9C49-5C0DD97EC109}"/>
              </a:ext>
            </a:extLst>
          </p:cNvPr>
          <p:cNvSpPr>
            <a:spLocks noGrp="1"/>
          </p:cNvSpPr>
          <p:nvPr>
            <p:ph type="body" sz="quarter" idx="53" hasCustomPrompt="1"/>
          </p:nvPr>
        </p:nvSpPr>
        <p:spPr>
          <a:xfrm>
            <a:off x="7681911" y="917539"/>
            <a:ext cx="3997324" cy="582649"/>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Tree>
    <p:extLst>
      <p:ext uri="{BB962C8B-B14F-4D97-AF65-F5344CB8AC3E}">
        <p14:creationId xmlns:p14="http://schemas.microsoft.com/office/powerpoint/2010/main" val="352367890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1 Column Infographi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D824BA-6789-4656-BC8F-B17AECC0DACD}"/>
              </a:ext>
            </a:extLst>
          </p:cNvPr>
          <p:cNvSpPr/>
          <p:nvPr userDrawn="1"/>
        </p:nvSpPr>
        <p:spPr>
          <a:xfrm>
            <a:off x="511177" y="2852739"/>
            <a:ext cx="11168062" cy="3529012"/>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itle 8">
            <a:extLst>
              <a:ext uri="{FF2B5EF4-FFF2-40B4-BE49-F238E27FC236}">
                <a16:creationId xmlns:a16="http://schemas.microsoft.com/office/drawing/2014/main" id="{057B03FB-3DDD-43D5-937D-82E8E760CE61}"/>
              </a:ext>
            </a:extLst>
          </p:cNvPr>
          <p:cNvSpPr>
            <a:spLocks noGrp="1"/>
          </p:cNvSpPr>
          <p:nvPr>
            <p:ph type="title"/>
          </p:nvPr>
        </p:nvSpPr>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D9B1FDA1-BBD6-41FA-8D9D-315CC67A2EB1}"/>
              </a:ext>
            </a:extLst>
          </p:cNvPr>
          <p:cNvSpPr>
            <a:spLocks noGrp="1"/>
          </p:cNvSpPr>
          <p:nvPr>
            <p:ph sz="quarter" idx="53"/>
          </p:nvPr>
        </p:nvSpPr>
        <p:spPr>
          <a:xfrm>
            <a:off x="3584575" y="1617690"/>
            <a:ext cx="6911707" cy="1209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2" name="Straight Connector 11">
            <a:extLst>
              <a:ext uri="{FF2B5EF4-FFF2-40B4-BE49-F238E27FC236}">
                <a16:creationId xmlns:a16="http://schemas.microsoft.com/office/drawing/2014/main" id="{9D999275-F56B-4B15-B1EC-8C79C46FF37C}"/>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FFC12AC0-3BAB-4389-AD48-421F62F8F40C}"/>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Tree>
    <p:extLst>
      <p:ext uri="{BB962C8B-B14F-4D97-AF65-F5344CB8AC3E}">
        <p14:creationId xmlns:p14="http://schemas.microsoft.com/office/powerpoint/2010/main" val="4137041216"/>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lumn Infographi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D824BA-6789-4656-BC8F-B17AECC0DACD}"/>
              </a:ext>
            </a:extLst>
          </p:cNvPr>
          <p:cNvSpPr/>
          <p:nvPr userDrawn="1"/>
        </p:nvSpPr>
        <p:spPr>
          <a:xfrm>
            <a:off x="511177" y="2852739"/>
            <a:ext cx="11168062" cy="3529012"/>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itle 8">
            <a:extLst>
              <a:ext uri="{FF2B5EF4-FFF2-40B4-BE49-F238E27FC236}">
                <a16:creationId xmlns:a16="http://schemas.microsoft.com/office/drawing/2014/main" id="{057B03FB-3DDD-43D5-937D-82E8E760CE61}"/>
              </a:ext>
            </a:extLst>
          </p:cNvPr>
          <p:cNvSpPr>
            <a:spLocks noGrp="1"/>
          </p:cNvSpPr>
          <p:nvPr>
            <p:ph type="title"/>
          </p:nvPr>
        </p:nvSpPr>
        <p:spPr/>
        <p:txBody>
          <a:bodyPr/>
          <a:lstStyle/>
          <a:p>
            <a:r>
              <a:rPr lang="en-US"/>
              <a:t>Click to edit Master title style</a:t>
            </a:r>
            <a:endParaRPr lang="en-GB"/>
          </a:p>
        </p:txBody>
      </p:sp>
      <p:cxnSp>
        <p:nvCxnSpPr>
          <p:cNvPr id="12" name="Straight Connector 11">
            <a:extLst>
              <a:ext uri="{FF2B5EF4-FFF2-40B4-BE49-F238E27FC236}">
                <a16:creationId xmlns:a16="http://schemas.microsoft.com/office/drawing/2014/main" id="{9D999275-F56B-4B15-B1EC-8C79C46FF37C}"/>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FFC12AC0-3BAB-4389-AD48-421F62F8F40C}"/>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8" name="Content Placeholder 6">
            <a:extLst>
              <a:ext uri="{FF2B5EF4-FFF2-40B4-BE49-F238E27FC236}">
                <a16:creationId xmlns:a16="http://schemas.microsoft.com/office/drawing/2014/main" id="{A99B2442-5801-459F-9957-C8284E3056A3}"/>
              </a:ext>
            </a:extLst>
          </p:cNvPr>
          <p:cNvSpPr>
            <a:spLocks noGrp="1"/>
          </p:cNvSpPr>
          <p:nvPr>
            <p:ph sz="quarter" idx="11"/>
          </p:nvPr>
        </p:nvSpPr>
        <p:spPr>
          <a:xfrm>
            <a:off x="3584575" y="1617690"/>
            <a:ext cx="3484563" cy="120922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spcBef>
                <a:spcPts val="600"/>
              </a:spcBef>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6">
            <a:extLst>
              <a:ext uri="{FF2B5EF4-FFF2-40B4-BE49-F238E27FC236}">
                <a16:creationId xmlns:a16="http://schemas.microsoft.com/office/drawing/2014/main" id="{F6D4F889-9E9E-4C74-B59F-BB65D16C6352}"/>
              </a:ext>
            </a:extLst>
          </p:cNvPr>
          <p:cNvSpPr>
            <a:spLocks noGrp="1"/>
          </p:cNvSpPr>
          <p:nvPr>
            <p:ph sz="quarter" idx="59"/>
          </p:nvPr>
        </p:nvSpPr>
        <p:spPr>
          <a:xfrm>
            <a:off x="7170738" y="1601788"/>
            <a:ext cx="3484563" cy="120922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spcBef>
                <a:spcPts val="600"/>
              </a:spcBef>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389106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ext Section Opener 2 Ligh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8A9ECD61-ED7B-49FC-8FEC-E9337C05843A}"/>
              </a:ext>
            </a:extLst>
          </p:cNvPr>
          <p:cNvCxnSpPr/>
          <p:nvPr/>
        </p:nvCxnSpPr>
        <p:spPr>
          <a:xfrm flipH="1">
            <a:off x="5604413" y="3192463"/>
            <a:ext cx="1435100"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E9617AF-0744-4180-BB4B-3FEB62C97441}"/>
              </a:ext>
            </a:extLst>
          </p:cNvPr>
          <p:cNvSpPr/>
          <p:nvPr userDrawn="1"/>
        </p:nvSpPr>
        <p:spPr>
          <a:xfrm>
            <a:off x="0" y="0"/>
            <a:ext cx="717073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9236353" y="2852738"/>
            <a:ext cx="2442886" cy="1773237"/>
          </a:xfrm>
        </p:spPr>
        <p:txBody>
          <a:bodyPr anchor="t"/>
          <a:lstStyle>
            <a:lvl1pPr>
              <a:defRPr sz="3600" b="0">
                <a:solidFill>
                  <a:schemeClr val="tx1"/>
                </a:solidFill>
              </a:defRPr>
            </a:lvl1pPr>
          </a:lstStyle>
          <a:p>
            <a:r>
              <a:rPr lang="en-GB"/>
              <a:t>Click to edit Master title style</a:t>
            </a:r>
          </a:p>
        </p:txBody>
      </p:sp>
      <p:sp>
        <p:nvSpPr>
          <p:cNvPr id="7" name="Text Placeholder 2">
            <a:extLst>
              <a:ext uri="{FF2B5EF4-FFF2-40B4-BE49-F238E27FC236}">
                <a16:creationId xmlns:a16="http://schemas.microsoft.com/office/drawing/2014/main" id="{3CEE43AE-91A9-4FCE-B4E7-BF4A26C91C1F}"/>
              </a:ext>
            </a:extLst>
          </p:cNvPr>
          <p:cNvSpPr>
            <a:spLocks noGrp="1"/>
          </p:cNvSpPr>
          <p:nvPr>
            <p:ph type="body" sz="quarter" idx="10" hasCustomPrompt="1"/>
          </p:nvPr>
        </p:nvSpPr>
        <p:spPr>
          <a:xfrm>
            <a:off x="3515775" y="1262068"/>
            <a:ext cx="2121438" cy="3465507"/>
          </a:xfrm>
        </p:spPr>
        <p:txBody>
          <a:bodyPr anchor="b"/>
          <a:lstStyle>
            <a:lvl1pPr>
              <a:defRPr sz="28000">
                <a:solidFill>
                  <a:srgbClr val="003F2D"/>
                </a:solidFill>
              </a:defRPr>
            </a:lvl1pPr>
          </a:lstStyle>
          <a:p>
            <a:pPr lvl="0"/>
            <a:r>
              <a:rPr lang="en-GB"/>
              <a:t>2</a:t>
            </a:r>
          </a:p>
        </p:txBody>
      </p:sp>
      <p:sp>
        <p:nvSpPr>
          <p:cNvPr id="5" name="Text Placeholder 4">
            <a:extLst>
              <a:ext uri="{FF2B5EF4-FFF2-40B4-BE49-F238E27FC236}">
                <a16:creationId xmlns:a16="http://schemas.microsoft.com/office/drawing/2014/main" id="{59E5ACF3-95EE-4BB1-BD8C-4DCB6A668DBD}"/>
              </a:ext>
            </a:extLst>
          </p:cNvPr>
          <p:cNvSpPr>
            <a:spLocks noGrp="1"/>
          </p:cNvSpPr>
          <p:nvPr>
            <p:ph type="body" sz="quarter" idx="11" hasCustomPrompt="1"/>
          </p:nvPr>
        </p:nvSpPr>
        <p:spPr>
          <a:xfrm rot="16200000">
            <a:off x="-296069" y="3018631"/>
            <a:ext cx="1773237" cy="190500"/>
          </a:xfrm>
        </p:spPr>
        <p:txBody>
          <a:bodyPr/>
          <a:lstStyle>
            <a:lvl1pPr algn="ctr">
              <a:defRPr sz="1050" b="1">
                <a:solidFill>
                  <a:srgbClr val="17E891"/>
                </a:solidFill>
                <a:latin typeface="Space Mono" panose="02000509040000020004" pitchFamily="49" charset="0"/>
              </a:defRPr>
            </a:lvl1pPr>
          </a:lstStyle>
          <a:p>
            <a:pPr lvl="0"/>
            <a:r>
              <a:rPr lang="en-GB"/>
              <a:t>Date</a:t>
            </a:r>
          </a:p>
        </p:txBody>
      </p:sp>
      <p:sp>
        <p:nvSpPr>
          <p:cNvPr id="8" name="Rectangle 7">
            <a:extLst>
              <a:ext uri="{FF2B5EF4-FFF2-40B4-BE49-F238E27FC236}">
                <a16:creationId xmlns:a16="http://schemas.microsoft.com/office/drawing/2014/main" id="{8B45FAF0-946E-4FBC-8110-94C23000D11B}"/>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2811107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nodeType="afterEffect">
                                  <p:stCondLst>
                                    <p:cond delay="0"/>
                                  </p:stCondLst>
                                  <p:childTnLst>
                                    <p:animMotion origin="layout" path="M 4.16667E-7 7.40741E-7 L 0.12825 7.40741E-7 " pathEditMode="relative" rAng="0" ptsTypes="AA">
                                      <p:cBhvr>
                                        <p:cTn id="6" dur="2000" fill="hold"/>
                                        <p:tgtEl>
                                          <p:spTgt spid="12"/>
                                        </p:tgtEl>
                                        <p:attrNameLst>
                                          <p:attrName>ppt_x</p:attrName>
                                          <p:attrName>ppt_y</p:attrName>
                                        </p:attrNameLst>
                                      </p:cBhvr>
                                      <p:rCtr x="640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FD969-0998-492E-B4DA-2600AA8CC91B}"/>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28D9486A-B98E-4B57-8D8A-06E1859A7223}"/>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4" name="Text Placeholder 6">
            <a:extLst>
              <a:ext uri="{FF2B5EF4-FFF2-40B4-BE49-F238E27FC236}">
                <a16:creationId xmlns:a16="http://schemas.microsoft.com/office/drawing/2014/main" id="{3D8A3E1F-620B-4CA3-97C7-68562D78F51E}"/>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sp>
        <p:nvSpPr>
          <p:cNvPr id="5" name="Text Placeholder 4">
            <a:extLst>
              <a:ext uri="{FF2B5EF4-FFF2-40B4-BE49-F238E27FC236}">
                <a16:creationId xmlns:a16="http://schemas.microsoft.com/office/drawing/2014/main" id="{FFA9A521-98E2-43CC-85CA-3FEC60A7E683}"/>
              </a:ext>
            </a:extLst>
          </p:cNvPr>
          <p:cNvSpPr>
            <a:spLocks noGrp="1"/>
          </p:cNvSpPr>
          <p:nvPr>
            <p:ph type="body" sz="quarter" idx="47" hasCustomPrompt="1"/>
          </p:nvPr>
        </p:nvSpPr>
        <p:spPr>
          <a:xfrm>
            <a:off x="3593985" y="1601788"/>
            <a:ext cx="2455863" cy="3024187"/>
          </a:xfrm>
          <a:solidFill>
            <a:schemeClr val="bg2"/>
          </a:solidFill>
        </p:spPr>
        <p:txBody>
          <a:bodyPr lIns="182880" tIns="182880" rIns="182880" bIns="182880"/>
          <a:lstStyle>
            <a:lvl1pPr marL="0" indent="0">
              <a:spcAft>
                <a:spcPts val="0"/>
              </a:spcAft>
              <a:buFontTx/>
              <a:buNone/>
              <a:defRPr lang="en-US" sz="6000" b="0" dirty="0" smtClean="0">
                <a:solidFill>
                  <a:schemeClr val="tx1"/>
                </a:solidFill>
                <a:latin typeface="Calibre Light" panose="020B0303030202060203" pitchFamily="34" charset="0"/>
                <a:ea typeface="+mn-ea"/>
                <a:cs typeface="+mn-cs"/>
              </a:defRPr>
            </a:lvl1pPr>
            <a:lvl2pPr>
              <a:spcBef>
                <a:spcPts val="0"/>
              </a:spcBef>
              <a:spcAft>
                <a:spcPts val="600"/>
              </a:spcAft>
              <a:defRPr lang="en-US" sz="2200" dirty="0" smtClean="0">
                <a:solidFill>
                  <a:schemeClr val="tx1"/>
                </a:solidFill>
                <a:latin typeface="Calibre Light" panose="020B0303030202060203" pitchFamily="34" charset="0"/>
                <a:ea typeface="+mn-ea"/>
                <a:cs typeface="+mn-cs"/>
              </a:defRPr>
            </a:lvl2pPr>
            <a:lvl3pPr marL="0" indent="0">
              <a:spcBef>
                <a:spcPts val="3400"/>
              </a:spcBef>
              <a:spcAft>
                <a:spcPts val="600"/>
              </a:spcAft>
              <a:buFontTx/>
              <a:buNone/>
              <a:defRPr lang="en-US" sz="1600" dirty="0" smtClean="0">
                <a:solidFill>
                  <a:schemeClr val="tx1"/>
                </a:solidFill>
                <a:latin typeface="Calibre Semibold" panose="020B0703030202060203" pitchFamily="34" charset="0"/>
                <a:ea typeface="+mn-ea"/>
                <a:cs typeface="+mn-cs"/>
              </a:defRPr>
            </a:lvl3pPr>
            <a:lvl4pPr marL="173736">
              <a:spcBef>
                <a:spcPts val="300"/>
              </a:spcBef>
              <a:spcAft>
                <a:spcPts val="300"/>
              </a:spcAft>
              <a:defRPr lang="en-US" sz="1200" b="0" dirty="0">
                <a:solidFill>
                  <a:schemeClr val="tx1"/>
                </a:solidFill>
                <a:latin typeface="+mn-lt"/>
                <a:ea typeface="+mn-ea"/>
                <a:cs typeface="+mn-cs"/>
              </a:defRPr>
            </a:lvl4pPr>
            <a:lvl5pPr marL="356616" indent="-171450">
              <a:spcBef>
                <a:spcPts val="600"/>
              </a:spcBef>
              <a:spcAft>
                <a:spcPts val="0"/>
              </a:spcAft>
              <a:buFont typeface="Calibre" panose="020B0503030202060203" pitchFamily="34" charset="0"/>
              <a:buChar char="–"/>
              <a:defRPr lang="en-US" sz="1200" dirty="0" smtClean="0">
                <a:solidFill>
                  <a:schemeClr val="tx1"/>
                </a:solidFill>
                <a:latin typeface="Calibre" panose="020B05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value</a:t>
            </a:r>
          </a:p>
          <a:p>
            <a:pPr lvl="1"/>
            <a:r>
              <a:rPr lang="en-US"/>
              <a:t>unit</a:t>
            </a:r>
          </a:p>
          <a:p>
            <a:pPr lvl="2"/>
            <a:r>
              <a:rPr lang="en-US"/>
              <a:t>Description</a:t>
            </a:r>
          </a:p>
        </p:txBody>
      </p:sp>
      <p:sp>
        <p:nvSpPr>
          <p:cNvPr id="6" name="Text Placeholder 4">
            <a:extLst>
              <a:ext uri="{FF2B5EF4-FFF2-40B4-BE49-F238E27FC236}">
                <a16:creationId xmlns:a16="http://schemas.microsoft.com/office/drawing/2014/main" id="{64B3BC16-5A21-484A-8BE9-CBF682C7A0F7}"/>
              </a:ext>
            </a:extLst>
          </p:cNvPr>
          <p:cNvSpPr>
            <a:spLocks noGrp="1"/>
          </p:cNvSpPr>
          <p:nvPr>
            <p:ph type="body" sz="quarter" idx="48" hasCustomPrompt="1"/>
          </p:nvPr>
        </p:nvSpPr>
        <p:spPr>
          <a:xfrm>
            <a:off x="6160858" y="1601787"/>
            <a:ext cx="2455863" cy="3024187"/>
          </a:xfrm>
          <a:solidFill>
            <a:schemeClr val="tx1"/>
          </a:solidFill>
        </p:spPr>
        <p:txBody>
          <a:bodyPr lIns="182880" tIns="182880" rIns="182880" bIns="182880"/>
          <a:lstStyle>
            <a:lvl1pPr marL="0" indent="0">
              <a:spcAft>
                <a:spcPts val="0"/>
              </a:spcAft>
              <a:buFontTx/>
              <a:buNone/>
              <a:defRPr lang="en-US" sz="6000" b="0" dirty="0" smtClean="0">
                <a:solidFill>
                  <a:schemeClr val="bg1"/>
                </a:solidFill>
                <a:latin typeface="Calibre Light" panose="020B0303030202060203" pitchFamily="34" charset="0"/>
                <a:ea typeface="+mn-ea"/>
                <a:cs typeface="+mn-cs"/>
              </a:defRPr>
            </a:lvl1pPr>
            <a:lvl2pPr>
              <a:spcBef>
                <a:spcPts val="0"/>
              </a:spcBef>
              <a:spcAft>
                <a:spcPts val="600"/>
              </a:spcAft>
              <a:defRPr lang="en-US" sz="2200" dirty="0" smtClean="0">
                <a:solidFill>
                  <a:schemeClr val="bg1"/>
                </a:solidFill>
                <a:latin typeface="Calibre Light" panose="020B0303030202060203" pitchFamily="34" charset="0"/>
                <a:ea typeface="+mn-ea"/>
                <a:cs typeface="+mn-cs"/>
              </a:defRPr>
            </a:lvl2pPr>
            <a:lvl3pPr marL="0" indent="0">
              <a:spcBef>
                <a:spcPts val="3400"/>
              </a:spcBef>
              <a:spcAft>
                <a:spcPts val="600"/>
              </a:spcAft>
              <a:buFontTx/>
              <a:buNone/>
              <a:defRPr lang="en-US" sz="1600" dirty="0" smtClean="0">
                <a:solidFill>
                  <a:schemeClr val="bg1"/>
                </a:solidFill>
                <a:latin typeface="Calibre Semibold" panose="020B0703030202060203" pitchFamily="34" charset="0"/>
                <a:ea typeface="+mn-ea"/>
                <a:cs typeface="+mn-cs"/>
              </a:defRPr>
            </a:lvl3pPr>
            <a:lvl4pPr marL="173736">
              <a:spcBef>
                <a:spcPts val="300"/>
              </a:spcBef>
              <a:spcAft>
                <a:spcPts val="300"/>
              </a:spcAft>
              <a:buClr>
                <a:schemeClr val="bg1"/>
              </a:buClr>
              <a:defRPr lang="en-US" sz="1200" b="0" dirty="0">
                <a:solidFill>
                  <a:schemeClr val="bg1"/>
                </a:solidFill>
                <a:latin typeface="+mn-lt"/>
                <a:ea typeface="+mn-ea"/>
                <a:cs typeface="+mn-cs"/>
              </a:defRPr>
            </a:lvl4pPr>
            <a:lvl5pPr marL="356616" indent="-171450">
              <a:spcBef>
                <a:spcPts val="600"/>
              </a:spcBef>
              <a:spcAft>
                <a:spcPts val="0"/>
              </a:spcAft>
              <a:buFont typeface="Calibre" panose="020B0503030202060203" pitchFamily="34" charset="0"/>
              <a:buChar char="–"/>
              <a:defRPr lang="en-US" sz="1200" dirty="0" smtClean="0">
                <a:solidFill>
                  <a:schemeClr val="bg1"/>
                </a:solidFill>
                <a:latin typeface="Calibre" panose="020B05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US"/>
              <a:t>#value</a:t>
            </a:r>
          </a:p>
          <a:p>
            <a:pPr lvl="1"/>
            <a:r>
              <a:rPr lang="en-US"/>
              <a:t>unit</a:t>
            </a:r>
          </a:p>
          <a:p>
            <a:pPr lvl="2"/>
            <a:r>
              <a:rPr lang="en-US"/>
              <a:t>Description</a:t>
            </a:r>
          </a:p>
        </p:txBody>
      </p:sp>
      <p:sp>
        <p:nvSpPr>
          <p:cNvPr id="7" name="Text Placeholder 4">
            <a:extLst>
              <a:ext uri="{FF2B5EF4-FFF2-40B4-BE49-F238E27FC236}">
                <a16:creationId xmlns:a16="http://schemas.microsoft.com/office/drawing/2014/main" id="{4544D5E3-0BBB-4F91-BE66-4EFDE9562EE4}"/>
              </a:ext>
            </a:extLst>
          </p:cNvPr>
          <p:cNvSpPr>
            <a:spLocks noGrp="1"/>
          </p:cNvSpPr>
          <p:nvPr>
            <p:ph type="body" sz="quarter" idx="49" hasCustomPrompt="1"/>
          </p:nvPr>
        </p:nvSpPr>
        <p:spPr>
          <a:xfrm>
            <a:off x="8729021" y="1601787"/>
            <a:ext cx="2455863" cy="3024187"/>
          </a:xfrm>
          <a:solidFill>
            <a:schemeClr val="tx2"/>
          </a:solidFill>
        </p:spPr>
        <p:txBody>
          <a:bodyPr lIns="182880" tIns="182880" rIns="182880" bIns="182880"/>
          <a:lstStyle>
            <a:lvl1pPr marL="0" indent="0">
              <a:spcAft>
                <a:spcPts val="0"/>
              </a:spcAft>
              <a:buFontTx/>
              <a:buNone/>
              <a:defRPr lang="en-US" sz="6000" b="0" dirty="0" smtClean="0">
                <a:solidFill>
                  <a:schemeClr val="tx1"/>
                </a:solidFill>
                <a:latin typeface="Calibre Light" panose="020B0303030202060203" pitchFamily="34" charset="0"/>
                <a:ea typeface="+mn-ea"/>
                <a:cs typeface="+mn-cs"/>
              </a:defRPr>
            </a:lvl1pPr>
            <a:lvl2pPr>
              <a:spcBef>
                <a:spcPts val="0"/>
              </a:spcBef>
              <a:spcAft>
                <a:spcPts val="600"/>
              </a:spcAft>
              <a:defRPr lang="en-US" sz="2200" dirty="0" smtClean="0">
                <a:solidFill>
                  <a:schemeClr val="tx1"/>
                </a:solidFill>
                <a:latin typeface="Calibre Light" panose="020B0303030202060203" pitchFamily="34" charset="0"/>
                <a:ea typeface="+mn-ea"/>
                <a:cs typeface="+mn-cs"/>
              </a:defRPr>
            </a:lvl2pPr>
            <a:lvl3pPr marL="0" indent="0">
              <a:spcBef>
                <a:spcPts val="3400"/>
              </a:spcBef>
              <a:spcAft>
                <a:spcPts val="600"/>
              </a:spcAft>
              <a:buFontTx/>
              <a:buNone/>
              <a:defRPr lang="en-US" sz="1600" dirty="0" smtClean="0">
                <a:solidFill>
                  <a:schemeClr val="tx1"/>
                </a:solidFill>
                <a:latin typeface="Calibre Semibold" panose="020B0703030202060203" pitchFamily="34" charset="0"/>
                <a:ea typeface="+mn-ea"/>
                <a:cs typeface="+mn-cs"/>
              </a:defRPr>
            </a:lvl3pPr>
            <a:lvl4pPr marL="173736">
              <a:spcBef>
                <a:spcPts val="300"/>
              </a:spcBef>
              <a:spcAft>
                <a:spcPts val="300"/>
              </a:spcAft>
              <a:defRPr lang="en-US" sz="1200" b="0" dirty="0">
                <a:solidFill>
                  <a:schemeClr val="tx1"/>
                </a:solidFill>
                <a:latin typeface="+mn-lt"/>
                <a:ea typeface="+mn-ea"/>
                <a:cs typeface="+mn-cs"/>
              </a:defRPr>
            </a:lvl4pPr>
            <a:lvl5pPr marL="356616" indent="-171450">
              <a:spcBef>
                <a:spcPts val="600"/>
              </a:spcBef>
              <a:spcAft>
                <a:spcPts val="0"/>
              </a:spcAft>
              <a:buFont typeface="Calibre" panose="020B0503030202060203" pitchFamily="34" charset="0"/>
              <a:buChar char="–"/>
              <a:defRPr lang="en-US" sz="1200" dirty="0" smtClean="0">
                <a:solidFill>
                  <a:schemeClr val="tx1"/>
                </a:solidFill>
                <a:latin typeface="Calibre" panose="020B05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US"/>
              <a:t>#value</a:t>
            </a:r>
          </a:p>
          <a:p>
            <a:pPr lvl="1"/>
            <a:r>
              <a:rPr lang="en-US"/>
              <a:t>unit</a:t>
            </a:r>
          </a:p>
          <a:p>
            <a:pPr lvl="2"/>
            <a:r>
              <a:rPr lang="en-US"/>
              <a:t>Description</a:t>
            </a:r>
          </a:p>
        </p:txBody>
      </p:sp>
      <p:sp>
        <p:nvSpPr>
          <p:cNvPr id="8" name="Text Placeholder 4">
            <a:extLst>
              <a:ext uri="{FF2B5EF4-FFF2-40B4-BE49-F238E27FC236}">
                <a16:creationId xmlns:a16="http://schemas.microsoft.com/office/drawing/2014/main" id="{50610A3B-99C8-49E0-B612-213D17F205A6}"/>
              </a:ext>
            </a:extLst>
          </p:cNvPr>
          <p:cNvSpPr>
            <a:spLocks noGrp="1"/>
          </p:cNvSpPr>
          <p:nvPr>
            <p:ph type="body" sz="quarter" idx="10"/>
          </p:nvPr>
        </p:nvSpPr>
        <p:spPr>
          <a:xfrm>
            <a:off x="3612568" y="4983292"/>
            <a:ext cx="7135812" cy="530915"/>
          </a:xfrm>
        </p:spPr>
        <p:txBody>
          <a:bodyPr tIns="100584"/>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3283936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9" name="Content Placeholder 28">
            <a:extLst>
              <a:ext uri="{FF2B5EF4-FFF2-40B4-BE49-F238E27FC236}">
                <a16:creationId xmlns:a16="http://schemas.microsoft.com/office/drawing/2014/main" id="{4B6C5592-E75B-4F66-82B4-AE2E36476FDD}"/>
              </a:ext>
            </a:extLst>
          </p:cNvPr>
          <p:cNvSpPr>
            <a:spLocks noGrp="1"/>
          </p:cNvSpPr>
          <p:nvPr>
            <p:ph sz="quarter" idx="43" hasCustomPrompt="1"/>
          </p:nvPr>
        </p:nvSpPr>
        <p:spPr>
          <a:xfrm>
            <a:off x="512235" y="1981200"/>
            <a:ext cx="1575118" cy="187920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Content Placeholder 30">
            <a:extLst>
              <a:ext uri="{FF2B5EF4-FFF2-40B4-BE49-F238E27FC236}">
                <a16:creationId xmlns:a16="http://schemas.microsoft.com/office/drawing/2014/main" id="{5B7E7880-B55C-4D04-BAEB-85955CA98962}"/>
              </a:ext>
            </a:extLst>
          </p:cNvPr>
          <p:cNvSpPr>
            <a:spLocks noGrp="1"/>
          </p:cNvSpPr>
          <p:nvPr>
            <p:ph sz="quarter" idx="44" hasCustomPrompt="1"/>
          </p:nvPr>
        </p:nvSpPr>
        <p:spPr>
          <a:xfrm>
            <a:off x="2430141" y="1981200"/>
            <a:ext cx="1575118" cy="187920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Content Placeholder 31">
            <a:extLst>
              <a:ext uri="{FF2B5EF4-FFF2-40B4-BE49-F238E27FC236}">
                <a16:creationId xmlns:a16="http://schemas.microsoft.com/office/drawing/2014/main" id="{F2E1760B-9CF3-448D-86DD-6A7FB6C6379B}"/>
              </a:ext>
            </a:extLst>
          </p:cNvPr>
          <p:cNvSpPr>
            <a:spLocks noGrp="1"/>
          </p:cNvSpPr>
          <p:nvPr>
            <p:ph sz="quarter" idx="45" hasCustomPrompt="1"/>
          </p:nvPr>
        </p:nvSpPr>
        <p:spPr>
          <a:xfrm>
            <a:off x="4348047" y="1981200"/>
            <a:ext cx="1575118" cy="187920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Content Placeholder 32">
            <a:extLst>
              <a:ext uri="{FF2B5EF4-FFF2-40B4-BE49-F238E27FC236}">
                <a16:creationId xmlns:a16="http://schemas.microsoft.com/office/drawing/2014/main" id="{9D1C2352-316D-4B0F-BAC8-C9C4EAEAAC06}"/>
              </a:ext>
            </a:extLst>
          </p:cNvPr>
          <p:cNvSpPr>
            <a:spLocks noGrp="1"/>
          </p:cNvSpPr>
          <p:nvPr>
            <p:ph sz="quarter" idx="46" hasCustomPrompt="1"/>
          </p:nvPr>
        </p:nvSpPr>
        <p:spPr>
          <a:xfrm>
            <a:off x="6265953" y="1981200"/>
            <a:ext cx="1575118" cy="187920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Content Placeholder 33">
            <a:extLst>
              <a:ext uri="{FF2B5EF4-FFF2-40B4-BE49-F238E27FC236}">
                <a16:creationId xmlns:a16="http://schemas.microsoft.com/office/drawing/2014/main" id="{815FDFA6-6DF2-49E3-AA9F-CE687A266AD5}"/>
              </a:ext>
            </a:extLst>
          </p:cNvPr>
          <p:cNvSpPr>
            <a:spLocks noGrp="1"/>
          </p:cNvSpPr>
          <p:nvPr>
            <p:ph sz="quarter" idx="47" hasCustomPrompt="1"/>
          </p:nvPr>
        </p:nvSpPr>
        <p:spPr>
          <a:xfrm>
            <a:off x="8183859" y="1981200"/>
            <a:ext cx="1575118" cy="187920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Content Placeholder 34">
            <a:extLst>
              <a:ext uri="{FF2B5EF4-FFF2-40B4-BE49-F238E27FC236}">
                <a16:creationId xmlns:a16="http://schemas.microsoft.com/office/drawing/2014/main" id="{FBE5FE07-240C-4FF1-9454-BD534F816F56}"/>
              </a:ext>
            </a:extLst>
          </p:cNvPr>
          <p:cNvSpPr>
            <a:spLocks noGrp="1"/>
          </p:cNvSpPr>
          <p:nvPr>
            <p:ph sz="quarter" idx="48" hasCustomPrompt="1"/>
          </p:nvPr>
        </p:nvSpPr>
        <p:spPr>
          <a:xfrm>
            <a:off x="10101763" y="1981200"/>
            <a:ext cx="1575118" cy="187920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sp>
        <p:nvSpPr>
          <p:cNvPr id="43" name="Content Placeholder 42">
            <a:extLst>
              <a:ext uri="{FF2B5EF4-FFF2-40B4-BE49-F238E27FC236}">
                <a16:creationId xmlns:a16="http://schemas.microsoft.com/office/drawing/2014/main" id="{655220C0-89C2-4ABD-95E5-C4A7EEE5197D}"/>
              </a:ext>
            </a:extLst>
          </p:cNvPr>
          <p:cNvSpPr>
            <a:spLocks noGrp="1"/>
          </p:cNvSpPr>
          <p:nvPr>
            <p:ph sz="quarter" idx="49" hasCustomPrompt="1"/>
          </p:nvPr>
        </p:nvSpPr>
        <p:spPr>
          <a:xfrm>
            <a:off x="503224" y="4625070"/>
            <a:ext cx="1575118" cy="187733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sp>
        <p:nvSpPr>
          <p:cNvPr id="44" name="Content Placeholder 43">
            <a:extLst>
              <a:ext uri="{FF2B5EF4-FFF2-40B4-BE49-F238E27FC236}">
                <a16:creationId xmlns:a16="http://schemas.microsoft.com/office/drawing/2014/main" id="{F4E0410B-D78F-4EAB-8880-2649BFE3CD0A}"/>
              </a:ext>
            </a:extLst>
          </p:cNvPr>
          <p:cNvSpPr>
            <a:spLocks noGrp="1"/>
          </p:cNvSpPr>
          <p:nvPr>
            <p:ph sz="quarter" idx="50" hasCustomPrompt="1"/>
          </p:nvPr>
        </p:nvSpPr>
        <p:spPr>
          <a:xfrm>
            <a:off x="2421130" y="4625070"/>
            <a:ext cx="1575118" cy="187733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sp>
        <p:nvSpPr>
          <p:cNvPr id="45" name="Content Placeholder 44">
            <a:extLst>
              <a:ext uri="{FF2B5EF4-FFF2-40B4-BE49-F238E27FC236}">
                <a16:creationId xmlns:a16="http://schemas.microsoft.com/office/drawing/2014/main" id="{EDC8F29C-7560-4B79-8BB1-197EBB3626A8}"/>
              </a:ext>
            </a:extLst>
          </p:cNvPr>
          <p:cNvSpPr>
            <a:spLocks noGrp="1"/>
          </p:cNvSpPr>
          <p:nvPr>
            <p:ph sz="quarter" idx="51" hasCustomPrompt="1"/>
          </p:nvPr>
        </p:nvSpPr>
        <p:spPr>
          <a:xfrm>
            <a:off x="4339036" y="4625070"/>
            <a:ext cx="1575118" cy="187733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sp>
        <p:nvSpPr>
          <p:cNvPr id="46" name="Content Placeholder 45">
            <a:extLst>
              <a:ext uri="{FF2B5EF4-FFF2-40B4-BE49-F238E27FC236}">
                <a16:creationId xmlns:a16="http://schemas.microsoft.com/office/drawing/2014/main" id="{0A11A1C4-8D7C-4A6E-A90E-4A14FED7766A}"/>
              </a:ext>
            </a:extLst>
          </p:cNvPr>
          <p:cNvSpPr>
            <a:spLocks noGrp="1"/>
          </p:cNvSpPr>
          <p:nvPr>
            <p:ph sz="quarter" idx="52" hasCustomPrompt="1"/>
          </p:nvPr>
        </p:nvSpPr>
        <p:spPr>
          <a:xfrm>
            <a:off x="6256942" y="4625070"/>
            <a:ext cx="1575118" cy="187733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sp>
        <p:nvSpPr>
          <p:cNvPr id="47" name="Content Placeholder 46">
            <a:extLst>
              <a:ext uri="{FF2B5EF4-FFF2-40B4-BE49-F238E27FC236}">
                <a16:creationId xmlns:a16="http://schemas.microsoft.com/office/drawing/2014/main" id="{4D169E71-15A5-4A4A-B740-2B215BFA104D}"/>
              </a:ext>
            </a:extLst>
          </p:cNvPr>
          <p:cNvSpPr>
            <a:spLocks noGrp="1"/>
          </p:cNvSpPr>
          <p:nvPr>
            <p:ph sz="quarter" idx="53" hasCustomPrompt="1"/>
          </p:nvPr>
        </p:nvSpPr>
        <p:spPr>
          <a:xfrm>
            <a:off x="8174848" y="4625070"/>
            <a:ext cx="1575118" cy="187733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sp>
        <p:nvSpPr>
          <p:cNvPr id="48" name="Content Placeholder 47">
            <a:extLst>
              <a:ext uri="{FF2B5EF4-FFF2-40B4-BE49-F238E27FC236}">
                <a16:creationId xmlns:a16="http://schemas.microsoft.com/office/drawing/2014/main" id="{558C07C3-48E4-4592-B304-8FD05807473D}"/>
              </a:ext>
            </a:extLst>
          </p:cNvPr>
          <p:cNvSpPr>
            <a:spLocks noGrp="1"/>
          </p:cNvSpPr>
          <p:nvPr>
            <p:ph sz="quarter" idx="54" hasCustomPrompt="1"/>
          </p:nvPr>
        </p:nvSpPr>
        <p:spPr>
          <a:xfrm>
            <a:off x="10092752" y="4625070"/>
            <a:ext cx="1575118" cy="1877330"/>
          </a:xfrm>
          <a:custGeom>
            <a:avLst/>
            <a:gdLst>
              <a:gd name="connsiteX0" fmla="*/ 0 w 1575118"/>
              <a:gd name="connsiteY0" fmla="*/ 0 h 1752302"/>
              <a:gd name="connsiteX1" fmla="*/ 1575118 w 1575118"/>
              <a:gd name="connsiteY1" fmla="*/ 0 h 1752302"/>
              <a:gd name="connsiteX2" fmla="*/ 1575118 w 1575118"/>
              <a:gd name="connsiteY2" fmla="*/ 1752302 h 1752302"/>
              <a:gd name="connsiteX3" fmla="*/ 0 w 1575118"/>
              <a:gd name="connsiteY3" fmla="*/ 1752302 h 1752302"/>
            </a:gdLst>
            <a:ahLst/>
            <a:cxnLst>
              <a:cxn ang="0">
                <a:pos x="connsiteX0" y="connsiteY0"/>
              </a:cxn>
              <a:cxn ang="0">
                <a:pos x="connsiteX1" y="connsiteY1"/>
              </a:cxn>
              <a:cxn ang="0">
                <a:pos x="connsiteX2" y="connsiteY2"/>
              </a:cxn>
              <a:cxn ang="0">
                <a:pos x="connsiteX3" y="connsiteY3"/>
              </a:cxn>
            </a:cxnLst>
            <a:rect l="l" t="t" r="r" b="b"/>
            <a:pathLst>
              <a:path w="1575118" h="1752302">
                <a:moveTo>
                  <a:pt x="0" y="0"/>
                </a:moveTo>
                <a:lnTo>
                  <a:pt x="1575118" y="0"/>
                </a:lnTo>
                <a:lnTo>
                  <a:pt x="1575118" y="1752302"/>
                </a:lnTo>
                <a:lnTo>
                  <a:pt x="0" y="1752302"/>
                </a:lnTo>
                <a:close/>
              </a:path>
            </a:pathLst>
          </a:custGeom>
          <a:ln w="12700">
            <a:solidFill>
              <a:schemeClr val="tx1">
                <a:lumMod val="20000"/>
                <a:lumOff val="80000"/>
              </a:schemeClr>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US"/>
              <a:t>subtitle</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0" name="Straight Connector 19">
            <a:extLst>
              <a:ext uri="{FF2B5EF4-FFF2-40B4-BE49-F238E27FC236}">
                <a16:creationId xmlns:a16="http://schemas.microsoft.com/office/drawing/2014/main" id="{ED4F926D-EE6D-49B2-A725-E588891625EF}"/>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21" name="Text Placeholder 6">
            <a:extLst>
              <a:ext uri="{FF2B5EF4-FFF2-40B4-BE49-F238E27FC236}">
                <a16:creationId xmlns:a16="http://schemas.microsoft.com/office/drawing/2014/main" id="{051482CA-4921-47D7-96DE-2684BD1497E8}"/>
              </a:ext>
            </a:extLst>
          </p:cNvPr>
          <p:cNvSpPr>
            <a:spLocks noGrp="1"/>
          </p:cNvSpPr>
          <p:nvPr>
            <p:ph type="body" sz="quarter" idx="56"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cxnSp>
        <p:nvCxnSpPr>
          <p:cNvPr id="19" name="Straight Connector 18">
            <a:extLst>
              <a:ext uri="{FF2B5EF4-FFF2-40B4-BE49-F238E27FC236}">
                <a16:creationId xmlns:a16="http://schemas.microsoft.com/office/drawing/2014/main" id="{5639A247-1642-4106-84E6-7975F4FC49F1}"/>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F3308BA-CAEE-493C-B380-CDF28061AD23}"/>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24" name="Text Placeholder 4">
            <a:extLst>
              <a:ext uri="{FF2B5EF4-FFF2-40B4-BE49-F238E27FC236}">
                <a16:creationId xmlns:a16="http://schemas.microsoft.com/office/drawing/2014/main" id="{212C2254-204A-4258-9C41-3E7B5040E739}"/>
              </a:ext>
            </a:extLst>
          </p:cNvPr>
          <p:cNvSpPr>
            <a:spLocks noGrp="1"/>
          </p:cNvSpPr>
          <p:nvPr>
            <p:ph type="body" sz="quarter" idx="12" hasCustomPrompt="1"/>
          </p:nvPr>
        </p:nvSpPr>
        <p:spPr>
          <a:xfrm>
            <a:off x="4097340" y="920750"/>
            <a:ext cx="2459036" cy="575337"/>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US"/>
              <a:t>Sub heading</a:t>
            </a:r>
          </a:p>
        </p:txBody>
      </p:sp>
    </p:spTree>
    <p:extLst>
      <p:ext uri="{BB962C8B-B14F-4D97-AF65-F5344CB8AC3E}">
        <p14:creationId xmlns:p14="http://schemas.microsoft.com/office/powerpoint/2010/main" val="283060829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Only + Notes">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3B3A32D-AE24-47B3-9C46-EFB6635124F3}"/>
              </a:ext>
            </a:extLst>
          </p:cNvPr>
          <p:cNvSpPr>
            <a:spLocks noGrp="1"/>
          </p:cNvSpPr>
          <p:nvPr>
            <p:ph type="title"/>
          </p:nvPr>
        </p:nvSpPr>
        <p:spPr/>
        <p:txBody>
          <a:bodyPr/>
          <a:lstStyle/>
          <a:p>
            <a:r>
              <a:rPr lang="en-US"/>
              <a:t>Click to edit Master title style</a:t>
            </a:r>
            <a:endParaRPr lang="en-GB"/>
          </a:p>
        </p:txBody>
      </p:sp>
      <p:cxnSp>
        <p:nvCxnSpPr>
          <p:cNvPr id="13" name="Straight Connector 12">
            <a:extLst>
              <a:ext uri="{FF2B5EF4-FFF2-40B4-BE49-F238E27FC236}">
                <a16:creationId xmlns:a16="http://schemas.microsoft.com/office/drawing/2014/main" id="{9CBAF315-2652-4EA0-B884-B7477DB1C5C0}"/>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01E6898C-B419-4C3E-AC33-482DE44DE0C6}"/>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cxnSp>
        <p:nvCxnSpPr>
          <p:cNvPr id="8" name="Straight Connector 7">
            <a:extLst>
              <a:ext uri="{FF2B5EF4-FFF2-40B4-BE49-F238E27FC236}">
                <a16:creationId xmlns:a16="http://schemas.microsoft.com/office/drawing/2014/main" id="{D2E8C44E-54BC-4BA2-B015-BB756AD66286}"/>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389EC21-C749-48F0-8E76-C911DCFD4313}"/>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C668787-7C61-419D-9A62-46599494E3F8}"/>
              </a:ext>
            </a:extLst>
          </p:cNvPr>
          <p:cNvSpPr>
            <a:spLocks noGrp="1"/>
          </p:cNvSpPr>
          <p:nvPr>
            <p:ph type="body" sz="quarter" idx="44"/>
          </p:nvPr>
        </p:nvSpPr>
        <p:spPr>
          <a:xfrm>
            <a:off x="511177" y="3492064"/>
            <a:ext cx="1947861" cy="2500312"/>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458882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6F38191-F8DB-434F-8E40-C9B0A013F117}"/>
              </a:ext>
            </a:extLst>
          </p:cNvPr>
          <p:cNvSpPr>
            <a:spLocks noGrp="1"/>
          </p:cNvSpPr>
          <p:nvPr>
            <p:ph type="title"/>
          </p:nvPr>
        </p:nvSpPr>
        <p:spPr/>
        <p:txBody>
          <a:bodyPr/>
          <a:lstStyle/>
          <a:p>
            <a:r>
              <a:rPr lang="en-US"/>
              <a:t>Click to edit Master title style</a:t>
            </a:r>
            <a:endParaRPr lang="en-GB"/>
          </a:p>
        </p:txBody>
      </p:sp>
      <p:cxnSp>
        <p:nvCxnSpPr>
          <p:cNvPr id="6" name="Straight Connector 5">
            <a:extLst>
              <a:ext uri="{FF2B5EF4-FFF2-40B4-BE49-F238E27FC236}">
                <a16:creationId xmlns:a16="http://schemas.microsoft.com/office/drawing/2014/main" id="{22E17F13-D7F5-4088-A91F-EA365096CE0D}"/>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81894705-220F-47BA-82F8-92D2B8CE9B75}"/>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US"/>
              <a:t>NAVIGATION </a:t>
            </a:r>
            <a:r>
              <a:rPr lang="en-US" err="1"/>
              <a:t>HEADer</a:t>
            </a:r>
            <a:endParaRPr lang="en-GB"/>
          </a:p>
        </p:txBody>
      </p:sp>
      <p:cxnSp>
        <p:nvCxnSpPr>
          <p:cNvPr id="8" name="Straight Connector 7">
            <a:extLst>
              <a:ext uri="{FF2B5EF4-FFF2-40B4-BE49-F238E27FC236}">
                <a16:creationId xmlns:a16="http://schemas.microsoft.com/office/drawing/2014/main" id="{2650E227-8DDD-4953-ABFE-BABD2F417922}"/>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2F32A75-71FA-4422-A707-1A6BE60C032B}"/>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592335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17802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ext Section Opener 3 Ligh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8A9ECD61-ED7B-49FC-8FEC-E9337C05843A}"/>
              </a:ext>
            </a:extLst>
          </p:cNvPr>
          <p:cNvCxnSpPr>
            <a:cxnSpLocks/>
          </p:cNvCxnSpPr>
          <p:nvPr/>
        </p:nvCxnSpPr>
        <p:spPr>
          <a:xfrm flipH="1">
            <a:off x="0" y="857250"/>
            <a:ext cx="10142539"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E9617AF-0744-4180-BB4B-3FEB62C97441}"/>
              </a:ext>
            </a:extLst>
          </p:cNvPr>
          <p:cNvSpPr/>
          <p:nvPr/>
        </p:nvSpPr>
        <p:spPr>
          <a:xfrm>
            <a:off x="0" y="0"/>
            <a:ext cx="35845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511175" y="476250"/>
            <a:ext cx="2971800" cy="1844675"/>
          </a:xfrm>
        </p:spPr>
        <p:txBody>
          <a:bodyPr anchor="t"/>
          <a:lstStyle>
            <a:lvl1pPr>
              <a:defRPr sz="3600" b="0">
                <a:solidFill>
                  <a:schemeClr val="tx1"/>
                </a:solidFill>
              </a:defRPr>
            </a:lvl1pPr>
          </a:lstStyle>
          <a:p>
            <a:r>
              <a:rPr lang="en-GB"/>
              <a:t>Click to edit Master title style</a:t>
            </a:r>
          </a:p>
        </p:txBody>
      </p:sp>
      <p:sp>
        <p:nvSpPr>
          <p:cNvPr id="7" name="Text Placeholder 2">
            <a:extLst>
              <a:ext uri="{FF2B5EF4-FFF2-40B4-BE49-F238E27FC236}">
                <a16:creationId xmlns:a16="http://schemas.microsoft.com/office/drawing/2014/main" id="{3CEE43AE-91A9-4FCE-B4E7-BF4A26C91C1F}"/>
              </a:ext>
            </a:extLst>
          </p:cNvPr>
          <p:cNvSpPr>
            <a:spLocks noGrp="1"/>
          </p:cNvSpPr>
          <p:nvPr>
            <p:ph type="body" sz="quarter" idx="10" hasCustomPrompt="1"/>
          </p:nvPr>
        </p:nvSpPr>
        <p:spPr>
          <a:xfrm>
            <a:off x="10244138" y="352424"/>
            <a:ext cx="1436687" cy="1147763"/>
          </a:xfrm>
        </p:spPr>
        <p:txBody>
          <a:bodyPr anchor="b"/>
          <a:lstStyle>
            <a:lvl1pPr algn="r">
              <a:defRPr sz="9600">
                <a:solidFill>
                  <a:srgbClr val="003F2D"/>
                </a:solidFill>
              </a:defRPr>
            </a:lvl1pPr>
          </a:lstStyle>
          <a:p>
            <a:pPr lvl="0"/>
            <a:r>
              <a:rPr lang="en-GB"/>
              <a:t>3</a:t>
            </a:r>
          </a:p>
        </p:txBody>
      </p:sp>
      <p:sp>
        <p:nvSpPr>
          <p:cNvPr id="6" name="Rectangle 5">
            <a:extLst>
              <a:ext uri="{FF2B5EF4-FFF2-40B4-BE49-F238E27FC236}">
                <a16:creationId xmlns:a16="http://schemas.microsoft.com/office/drawing/2014/main" id="{9AA6860F-720A-4E83-A05F-7649D9F6F838}"/>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861016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000" fill="hold"/>
                                        <p:tgtEl>
                                          <p:spTgt spid="12"/>
                                        </p:tgtEl>
                                        <p:attrNameLst>
                                          <p:attrName>ppt_x</p:attrName>
                                        </p:attrNameLst>
                                      </p:cBhvr>
                                      <p:tavLst>
                                        <p:tav tm="0">
                                          <p:val>
                                            <p:strVal val="0-#ppt_w/2"/>
                                          </p:val>
                                        </p:tav>
                                        <p:tav tm="100000">
                                          <p:val>
                                            <p:strVal val="#ppt_x"/>
                                          </p:val>
                                        </p:tav>
                                      </p:tavLst>
                                    </p:anim>
                                    <p:anim calcmode="lin" valueType="num">
                                      <p:cBhvr additive="base">
                                        <p:cTn id="8" dur="2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Image Section Opener 1 Dark">
    <p:bg>
      <p:bgPr>
        <a:solidFill>
          <a:srgbClr val="012A2C"/>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505061" y="3376613"/>
            <a:ext cx="2466739" cy="726893"/>
          </a:xfrm>
        </p:spPr>
        <p:txBody>
          <a:bodyPr anchor="t"/>
          <a:lstStyle>
            <a:lvl1pPr>
              <a:defRPr sz="4400" b="0">
                <a:solidFill>
                  <a:schemeClr val="bg1">
                    <a:alpha val="80000"/>
                  </a:schemeClr>
                </a:solidFill>
              </a:defRPr>
            </a:lvl1pPr>
          </a:lstStyle>
          <a:p>
            <a:r>
              <a:rPr lang="en-GB"/>
              <a:t>Click to edit Master title style</a:t>
            </a:r>
          </a:p>
        </p:txBody>
      </p:sp>
      <p:sp>
        <p:nvSpPr>
          <p:cNvPr id="9" name="Text Placeholder 2">
            <a:extLst>
              <a:ext uri="{FF2B5EF4-FFF2-40B4-BE49-F238E27FC236}">
                <a16:creationId xmlns:a16="http://schemas.microsoft.com/office/drawing/2014/main" id="{0B80AEDB-7934-4503-BD6D-314ACBAD791D}"/>
              </a:ext>
            </a:extLst>
          </p:cNvPr>
          <p:cNvSpPr>
            <a:spLocks noGrp="1"/>
          </p:cNvSpPr>
          <p:nvPr>
            <p:ph type="body" sz="quarter" idx="10" hasCustomPrompt="1"/>
          </p:nvPr>
        </p:nvSpPr>
        <p:spPr>
          <a:xfrm>
            <a:off x="439200" y="1560786"/>
            <a:ext cx="2121438" cy="1815827"/>
          </a:xfrm>
        </p:spPr>
        <p:txBody>
          <a:bodyPr anchor="t"/>
          <a:lstStyle>
            <a:lvl1pPr>
              <a:lnSpc>
                <a:spcPct val="70000"/>
              </a:lnSpc>
              <a:defRPr sz="18500">
                <a:solidFill>
                  <a:schemeClr val="bg1">
                    <a:alpha val="80000"/>
                  </a:schemeClr>
                </a:solidFill>
              </a:defRPr>
            </a:lvl1pPr>
          </a:lstStyle>
          <a:p>
            <a:pPr lvl="0"/>
            <a:r>
              <a:rPr lang="en-GB"/>
              <a:t>1</a:t>
            </a:r>
          </a:p>
        </p:txBody>
      </p:sp>
      <p:sp>
        <p:nvSpPr>
          <p:cNvPr id="6" name="Picture Placeholder 5">
            <a:extLst>
              <a:ext uri="{FF2B5EF4-FFF2-40B4-BE49-F238E27FC236}">
                <a16:creationId xmlns:a16="http://schemas.microsoft.com/office/drawing/2014/main" id="{B819427E-9467-4012-BAE9-3224FF25637E}"/>
              </a:ext>
            </a:extLst>
          </p:cNvPr>
          <p:cNvSpPr>
            <a:spLocks noGrp="1"/>
          </p:cNvSpPr>
          <p:nvPr>
            <p:ph type="pic" sz="quarter" idx="11"/>
          </p:nvPr>
        </p:nvSpPr>
        <p:spPr>
          <a:xfrm>
            <a:off x="6657975" y="2852738"/>
            <a:ext cx="5021263" cy="3529012"/>
          </a:xfrm>
        </p:spPr>
        <p:txBody>
          <a:bodyPr/>
          <a:lstStyle>
            <a:lvl1pPr>
              <a:defRPr>
                <a:solidFill>
                  <a:schemeClr val="bg1"/>
                </a:solidFill>
              </a:defRPr>
            </a:lvl1pPr>
          </a:lstStyle>
          <a:p>
            <a:r>
              <a:rPr lang="en-GB" dirty="0"/>
              <a:t>Click icon to add picture</a:t>
            </a:r>
          </a:p>
        </p:txBody>
      </p:sp>
      <p:sp>
        <p:nvSpPr>
          <p:cNvPr id="5" name="Rectangle 4">
            <a:extLst>
              <a:ext uri="{FF2B5EF4-FFF2-40B4-BE49-F238E27FC236}">
                <a16:creationId xmlns:a16="http://schemas.microsoft.com/office/drawing/2014/main" id="{F4CF045F-0765-4AAF-BBC9-79D2EBF954E7}"/>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37112353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Image Section Opener 2 Dark">
    <p:bg>
      <p:bgPr>
        <a:solidFill>
          <a:srgbClr val="012A2C"/>
        </a:solidFill>
        <a:effectLst/>
      </p:bgPr>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8A9ECD61-ED7B-49FC-8FEC-E9337C05843A}"/>
              </a:ext>
            </a:extLst>
          </p:cNvPr>
          <p:cNvCxnSpPr>
            <a:cxnSpLocks/>
          </p:cNvCxnSpPr>
          <p:nvPr userDrawn="1"/>
        </p:nvCxnSpPr>
        <p:spPr>
          <a:xfrm flipH="1">
            <a:off x="0" y="857250"/>
            <a:ext cx="10142539"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E9617AF-0744-4180-BB4B-3FEB62C97441}"/>
              </a:ext>
            </a:extLst>
          </p:cNvPr>
          <p:cNvSpPr/>
          <p:nvPr/>
        </p:nvSpPr>
        <p:spPr>
          <a:xfrm>
            <a:off x="0" y="0"/>
            <a:ext cx="3584575" cy="6858000"/>
          </a:xfrm>
          <a:prstGeom prst="rect">
            <a:avLst/>
          </a:prstGeom>
          <a:solidFill>
            <a:srgbClr val="012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511175" y="476250"/>
            <a:ext cx="2971800" cy="1844675"/>
          </a:xfrm>
        </p:spPr>
        <p:txBody>
          <a:bodyPr anchor="t"/>
          <a:lstStyle>
            <a:lvl1pPr>
              <a:defRPr sz="3600" b="0">
                <a:solidFill>
                  <a:schemeClr val="bg1">
                    <a:alpha val="80000"/>
                  </a:schemeClr>
                </a:solidFill>
              </a:defRPr>
            </a:lvl1pPr>
          </a:lstStyle>
          <a:p>
            <a:r>
              <a:rPr lang="en-GB"/>
              <a:t>Click to edit Master title style</a:t>
            </a:r>
          </a:p>
        </p:txBody>
      </p:sp>
      <p:sp>
        <p:nvSpPr>
          <p:cNvPr id="7" name="Text Placeholder 2">
            <a:extLst>
              <a:ext uri="{FF2B5EF4-FFF2-40B4-BE49-F238E27FC236}">
                <a16:creationId xmlns:a16="http://schemas.microsoft.com/office/drawing/2014/main" id="{3CEE43AE-91A9-4FCE-B4E7-BF4A26C91C1F}"/>
              </a:ext>
            </a:extLst>
          </p:cNvPr>
          <p:cNvSpPr>
            <a:spLocks noGrp="1"/>
          </p:cNvSpPr>
          <p:nvPr>
            <p:ph type="body" sz="quarter" idx="10" hasCustomPrompt="1"/>
          </p:nvPr>
        </p:nvSpPr>
        <p:spPr>
          <a:xfrm>
            <a:off x="10244138" y="352424"/>
            <a:ext cx="1436687" cy="1147763"/>
          </a:xfrm>
        </p:spPr>
        <p:txBody>
          <a:bodyPr anchor="b"/>
          <a:lstStyle>
            <a:lvl1pPr algn="r">
              <a:defRPr sz="9600">
                <a:solidFill>
                  <a:schemeClr val="bg1">
                    <a:alpha val="80000"/>
                  </a:schemeClr>
                </a:solidFill>
              </a:defRPr>
            </a:lvl1pPr>
          </a:lstStyle>
          <a:p>
            <a:pPr lvl="0"/>
            <a:r>
              <a:rPr lang="en-GB"/>
              <a:t>2</a:t>
            </a:r>
          </a:p>
        </p:txBody>
      </p:sp>
      <p:sp>
        <p:nvSpPr>
          <p:cNvPr id="5" name="Picture Placeholder 4">
            <a:extLst>
              <a:ext uri="{FF2B5EF4-FFF2-40B4-BE49-F238E27FC236}">
                <a16:creationId xmlns:a16="http://schemas.microsoft.com/office/drawing/2014/main" id="{1DA8FB3F-A95B-47BA-A641-1852818CC43D}"/>
              </a:ext>
            </a:extLst>
          </p:cNvPr>
          <p:cNvSpPr>
            <a:spLocks noGrp="1"/>
          </p:cNvSpPr>
          <p:nvPr>
            <p:ph type="pic" sz="quarter" idx="11"/>
          </p:nvPr>
        </p:nvSpPr>
        <p:spPr>
          <a:xfrm>
            <a:off x="3584575" y="2227263"/>
            <a:ext cx="8094663" cy="4154487"/>
          </a:xfrm>
        </p:spPr>
        <p:txBody>
          <a:bodyPr/>
          <a:lstStyle>
            <a:lvl1pPr>
              <a:defRPr>
                <a:solidFill>
                  <a:schemeClr val="bg1"/>
                </a:solidFill>
              </a:defRPr>
            </a:lvl1pPr>
          </a:lstStyle>
          <a:p>
            <a:r>
              <a:rPr lang="en-GB" dirty="0"/>
              <a:t>Click icon to add picture</a:t>
            </a:r>
          </a:p>
        </p:txBody>
      </p:sp>
      <p:sp>
        <p:nvSpPr>
          <p:cNvPr id="8" name="Rectangle 7">
            <a:extLst>
              <a:ext uri="{FF2B5EF4-FFF2-40B4-BE49-F238E27FC236}">
                <a16:creationId xmlns:a16="http://schemas.microsoft.com/office/drawing/2014/main" id="{5501A760-336A-4A81-AB0B-DB2557C3CE19}"/>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2391616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000" fill="hold"/>
                                        <p:tgtEl>
                                          <p:spTgt spid="12"/>
                                        </p:tgtEl>
                                        <p:attrNameLst>
                                          <p:attrName>ppt_x</p:attrName>
                                        </p:attrNameLst>
                                      </p:cBhvr>
                                      <p:tavLst>
                                        <p:tav tm="0">
                                          <p:val>
                                            <p:strVal val="0-#ppt_w/2"/>
                                          </p:val>
                                        </p:tav>
                                        <p:tav tm="100000">
                                          <p:val>
                                            <p:strVal val="#ppt_x"/>
                                          </p:val>
                                        </p:tav>
                                      </p:tavLst>
                                    </p:anim>
                                    <p:anim calcmode="lin" valueType="num">
                                      <p:cBhvr additive="base">
                                        <p:cTn id="8" dur="2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Image Section Opener 3 Dark">
    <p:bg>
      <p:bgPr>
        <a:solidFill>
          <a:srgbClr val="012A2C"/>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511175" y="1601788"/>
            <a:ext cx="2971800" cy="2398712"/>
          </a:xfrm>
        </p:spPr>
        <p:txBody>
          <a:bodyPr anchor="t"/>
          <a:lstStyle>
            <a:lvl1pPr>
              <a:defRPr sz="4400" b="0">
                <a:solidFill>
                  <a:schemeClr val="bg1">
                    <a:alpha val="80000"/>
                  </a:schemeClr>
                </a:solidFill>
              </a:defRPr>
            </a:lvl1pPr>
          </a:lstStyle>
          <a:p>
            <a:r>
              <a:rPr lang="en-GB"/>
              <a:t>Click to edit Master title style</a:t>
            </a:r>
          </a:p>
        </p:txBody>
      </p:sp>
      <p:sp>
        <p:nvSpPr>
          <p:cNvPr id="7" name="Text Placeholder 2">
            <a:extLst>
              <a:ext uri="{FF2B5EF4-FFF2-40B4-BE49-F238E27FC236}">
                <a16:creationId xmlns:a16="http://schemas.microsoft.com/office/drawing/2014/main" id="{3CEE43AE-91A9-4FCE-B4E7-BF4A26C91C1F}"/>
              </a:ext>
            </a:extLst>
          </p:cNvPr>
          <p:cNvSpPr>
            <a:spLocks noGrp="1"/>
          </p:cNvSpPr>
          <p:nvPr>
            <p:ph type="body" sz="quarter" idx="10" hasCustomPrompt="1"/>
          </p:nvPr>
        </p:nvSpPr>
        <p:spPr>
          <a:xfrm>
            <a:off x="511175" y="352424"/>
            <a:ext cx="1436687" cy="1147763"/>
          </a:xfrm>
        </p:spPr>
        <p:txBody>
          <a:bodyPr anchor="b"/>
          <a:lstStyle>
            <a:lvl1pPr algn="l">
              <a:defRPr sz="9600">
                <a:solidFill>
                  <a:schemeClr val="bg1">
                    <a:alpha val="80000"/>
                  </a:schemeClr>
                </a:solidFill>
              </a:defRPr>
            </a:lvl1pPr>
          </a:lstStyle>
          <a:p>
            <a:pPr lvl="0"/>
            <a:r>
              <a:rPr lang="en-GB"/>
              <a:t>2</a:t>
            </a:r>
          </a:p>
        </p:txBody>
      </p:sp>
      <p:sp>
        <p:nvSpPr>
          <p:cNvPr id="5" name="Picture Placeholder 4">
            <a:extLst>
              <a:ext uri="{FF2B5EF4-FFF2-40B4-BE49-F238E27FC236}">
                <a16:creationId xmlns:a16="http://schemas.microsoft.com/office/drawing/2014/main" id="{1DA8FB3F-A95B-47BA-A641-1852818CC43D}"/>
              </a:ext>
            </a:extLst>
          </p:cNvPr>
          <p:cNvSpPr>
            <a:spLocks noGrp="1"/>
          </p:cNvSpPr>
          <p:nvPr>
            <p:ph type="pic" sz="quarter" idx="11"/>
          </p:nvPr>
        </p:nvSpPr>
        <p:spPr>
          <a:xfrm>
            <a:off x="7683500" y="476251"/>
            <a:ext cx="3995738" cy="5905500"/>
          </a:xfrm>
        </p:spPr>
        <p:txBody>
          <a:bodyPr/>
          <a:lstStyle>
            <a:lvl1pPr>
              <a:defRPr>
                <a:solidFill>
                  <a:schemeClr val="bg1"/>
                </a:solidFill>
              </a:defRPr>
            </a:lvl1pPr>
          </a:lstStyle>
          <a:p>
            <a:r>
              <a:rPr lang="en-GB" dirty="0"/>
              <a:t>Click icon to add picture</a:t>
            </a:r>
          </a:p>
        </p:txBody>
      </p:sp>
      <p:sp>
        <p:nvSpPr>
          <p:cNvPr id="6" name="Rectangle 5">
            <a:extLst>
              <a:ext uri="{FF2B5EF4-FFF2-40B4-BE49-F238E27FC236}">
                <a16:creationId xmlns:a16="http://schemas.microsoft.com/office/drawing/2014/main" id="{E96FE05C-2705-4CC8-87B6-00D65600CEBE}"/>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26111792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Image Section Opener 1 Light">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505061" y="3376613"/>
            <a:ext cx="2466739" cy="726893"/>
          </a:xfrm>
        </p:spPr>
        <p:txBody>
          <a:bodyPr anchor="t"/>
          <a:lstStyle>
            <a:lvl1pPr>
              <a:defRPr sz="4400" b="0">
                <a:solidFill>
                  <a:schemeClr val="tx1"/>
                </a:solidFill>
              </a:defRPr>
            </a:lvl1pPr>
          </a:lstStyle>
          <a:p>
            <a:r>
              <a:rPr lang="en-GB"/>
              <a:t>Click to edit Master title style</a:t>
            </a:r>
          </a:p>
        </p:txBody>
      </p:sp>
      <p:sp>
        <p:nvSpPr>
          <p:cNvPr id="9" name="Text Placeholder 2">
            <a:extLst>
              <a:ext uri="{FF2B5EF4-FFF2-40B4-BE49-F238E27FC236}">
                <a16:creationId xmlns:a16="http://schemas.microsoft.com/office/drawing/2014/main" id="{0B80AEDB-7934-4503-BD6D-314ACBAD791D}"/>
              </a:ext>
            </a:extLst>
          </p:cNvPr>
          <p:cNvSpPr>
            <a:spLocks noGrp="1"/>
          </p:cNvSpPr>
          <p:nvPr>
            <p:ph type="body" sz="quarter" idx="10" hasCustomPrompt="1"/>
          </p:nvPr>
        </p:nvSpPr>
        <p:spPr>
          <a:xfrm>
            <a:off x="439200" y="1560786"/>
            <a:ext cx="2121438" cy="1815827"/>
          </a:xfrm>
        </p:spPr>
        <p:txBody>
          <a:bodyPr anchor="t"/>
          <a:lstStyle>
            <a:lvl1pPr>
              <a:lnSpc>
                <a:spcPct val="70000"/>
              </a:lnSpc>
              <a:defRPr sz="18500">
                <a:solidFill>
                  <a:srgbClr val="003F2D"/>
                </a:solidFill>
              </a:defRPr>
            </a:lvl1pPr>
          </a:lstStyle>
          <a:p>
            <a:pPr lvl="0"/>
            <a:r>
              <a:rPr lang="en-GB"/>
              <a:t>1</a:t>
            </a:r>
          </a:p>
        </p:txBody>
      </p:sp>
      <p:sp>
        <p:nvSpPr>
          <p:cNvPr id="6" name="Picture Placeholder 5">
            <a:extLst>
              <a:ext uri="{FF2B5EF4-FFF2-40B4-BE49-F238E27FC236}">
                <a16:creationId xmlns:a16="http://schemas.microsoft.com/office/drawing/2014/main" id="{B819427E-9467-4012-BAE9-3224FF25637E}"/>
              </a:ext>
            </a:extLst>
          </p:cNvPr>
          <p:cNvSpPr>
            <a:spLocks noGrp="1"/>
          </p:cNvSpPr>
          <p:nvPr>
            <p:ph type="pic" sz="quarter" idx="11"/>
          </p:nvPr>
        </p:nvSpPr>
        <p:spPr>
          <a:xfrm>
            <a:off x="6657975" y="2852738"/>
            <a:ext cx="5021263" cy="3529012"/>
          </a:xfrm>
        </p:spPr>
        <p:txBody>
          <a:bodyPr/>
          <a:lstStyle>
            <a:lvl1pPr>
              <a:defRPr>
                <a:solidFill>
                  <a:schemeClr val="accent5"/>
                </a:solidFill>
              </a:defRPr>
            </a:lvl1pPr>
          </a:lstStyle>
          <a:p>
            <a:r>
              <a:rPr lang="en-GB" dirty="0"/>
              <a:t>Click icon to add picture</a:t>
            </a:r>
          </a:p>
        </p:txBody>
      </p:sp>
      <p:sp>
        <p:nvSpPr>
          <p:cNvPr id="7" name="Rectangle 6">
            <a:extLst>
              <a:ext uri="{FF2B5EF4-FFF2-40B4-BE49-F238E27FC236}">
                <a16:creationId xmlns:a16="http://schemas.microsoft.com/office/drawing/2014/main" id="{0D6FD764-CC11-4A86-8614-81290847D96E}"/>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22356972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Image Section Opener 2 Light">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8A9ECD61-ED7B-49FC-8FEC-E9337C05843A}"/>
              </a:ext>
            </a:extLst>
          </p:cNvPr>
          <p:cNvCxnSpPr>
            <a:cxnSpLocks/>
          </p:cNvCxnSpPr>
          <p:nvPr userDrawn="1"/>
        </p:nvCxnSpPr>
        <p:spPr>
          <a:xfrm flipH="1">
            <a:off x="0" y="857250"/>
            <a:ext cx="10142539"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E9617AF-0744-4180-BB4B-3FEB62C97441}"/>
              </a:ext>
            </a:extLst>
          </p:cNvPr>
          <p:cNvSpPr/>
          <p:nvPr/>
        </p:nvSpPr>
        <p:spPr>
          <a:xfrm>
            <a:off x="0" y="0"/>
            <a:ext cx="35845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511175" y="476250"/>
            <a:ext cx="2971800" cy="1844675"/>
          </a:xfrm>
        </p:spPr>
        <p:txBody>
          <a:bodyPr anchor="t"/>
          <a:lstStyle>
            <a:lvl1pPr>
              <a:defRPr sz="3600" b="0">
                <a:solidFill>
                  <a:schemeClr val="tx1"/>
                </a:solidFill>
              </a:defRPr>
            </a:lvl1pPr>
          </a:lstStyle>
          <a:p>
            <a:r>
              <a:rPr lang="en-GB"/>
              <a:t>Click to edit Master title style</a:t>
            </a:r>
          </a:p>
        </p:txBody>
      </p:sp>
      <p:sp>
        <p:nvSpPr>
          <p:cNvPr id="7" name="Text Placeholder 2">
            <a:extLst>
              <a:ext uri="{FF2B5EF4-FFF2-40B4-BE49-F238E27FC236}">
                <a16:creationId xmlns:a16="http://schemas.microsoft.com/office/drawing/2014/main" id="{3CEE43AE-91A9-4FCE-B4E7-BF4A26C91C1F}"/>
              </a:ext>
            </a:extLst>
          </p:cNvPr>
          <p:cNvSpPr>
            <a:spLocks noGrp="1"/>
          </p:cNvSpPr>
          <p:nvPr>
            <p:ph type="body" sz="quarter" idx="10" hasCustomPrompt="1"/>
          </p:nvPr>
        </p:nvSpPr>
        <p:spPr>
          <a:xfrm>
            <a:off x="10244138" y="352424"/>
            <a:ext cx="1436687" cy="1147763"/>
          </a:xfrm>
        </p:spPr>
        <p:txBody>
          <a:bodyPr anchor="b"/>
          <a:lstStyle>
            <a:lvl1pPr algn="r">
              <a:defRPr sz="9600">
                <a:solidFill>
                  <a:srgbClr val="003F2D"/>
                </a:solidFill>
              </a:defRPr>
            </a:lvl1pPr>
          </a:lstStyle>
          <a:p>
            <a:pPr lvl="0"/>
            <a:r>
              <a:rPr lang="en-GB"/>
              <a:t>2</a:t>
            </a:r>
          </a:p>
        </p:txBody>
      </p:sp>
      <p:sp>
        <p:nvSpPr>
          <p:cNvPr id="5" name="Picture Placeholder 4">
            <a:extLst>
              <a:ext uri="{FF2B5EF4-FFF2-40B4-BE49-F238E27FC236}">
                <a16:creationId xmlns:a16="http://schemas.microsoft.com/office/drawing/2014/main" id="{1DA8FB3F-A95B-47BA-A641-1852818CC43D}"/>
              </a:ext>
            </a:extLst>
          </p:cNvPr>
          <p:cNvSpPr>
            <a:spLocks noGrp="1"/>
          </p:cNvSpPr>
          <p:nvPr>
            <p:ph type="pic" sz="quarter" idx="11"/>
          </p:nvPr>
        </p:nvSpPr>
        <p:spPr>
          <a:xfrm>
            <a:off x="3584575" y="2227263"/>
            <a:ext cx="8094663" cy="4154487"/>
          </a:xfrm>
        </p:spPr>
        <p:txBody>
          <a:bodyPr/>
          <a:lstStyle>
            <a:lvl1pPr>
              <a:defRPr>
                <a:solidFill>
                  <a:schemeClr val="accent5"/>
                </a:solidFill>
              </a:defRPr>
            </a:lvl1pPr>
          </a:lstStyle>
          <a:p>
            <a:r>
              <a:rPr lang="en-GB" dirty="0"/>
              <a:t>Click icon to add picture</a:t>
            </a:r>
          </a:p>
        </p:txBody>
      </p:sp>
      <p:sp>
        <p:nvSpPr>
          <p:cNvPr id="8" name="Rectangle 7">
            <a:extLst>
              <a:ext uri="{FF2B5EF4-FFF2-40B4-BE49-F238E27FC236}">
                <a16:creationId xmlns:a16="http://schemas.microsoft.com/office/drawing/2014/main" id="{67115F19-7EBC-428B-BB66-1CCC4F0FAD33}"/>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2716567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000" fill="hold"/>
                                        <p:tgtEl>
                                          <p:spTgt spid="12"/>
                                        </p:tgtEl>
                                        <p:attrNameLst>
                                          <p:attrName>ppt_x</p:attrName>
                                        </p:attrNameLst>
                                      </p:cBhvr>
                                      <p:tavLst>
                                        <p:tav tm="0">
                                          <p:val>
                                            <p:strVal val="0-#ppt_w/2"/>
                                          </p:val>
                                        </p:tav>
                                        <p:tav tm="100000">
                                          <p:val>
                                            <p:strVal val="#ppt_x"/>
                                          </p:val>
                                        </p:tav>
                                      </p:tavLst>
                                    </p:anim>
                                    <p:anim calcmode="lin" valueType="num">
                                      <p:cBhvr additive="base">
                                        <p:cTn id="8" dur="2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ext Cover 3">
    <p:bg>
      <p:bgPr>
        <a:solidFill>
          <a:schemeClr val="bg1"/>
        </a:solidFill>
        <a:effectLst/>
      </p:bgPr>
    </p:bg>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887340F4-9434-47C2-9CB2-6C0ACFBEFAB5}"/>
              </a:ext>
            </a:extLst>
          </p:cNvPr>
          <p:cNvCxnSpPr>
            <a:cxnSpLocks/>
          </p:cNvCxnSpPr>
          <p:nvPr/>
        </p:nvCxnSpPr>
        <p:spPr>
          <a:xfrm>
            <a:off x="3584575" y="571774"/>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5" y="1554448"/>
            <a:ext cx="1328469"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US" sz="1050" b="1" kern="1200" spc="-3" dirty="0" err="1" smtClean="0">
                <a:solidFill>
                  <a:schemeClr val="accent6"/>
                </a:solidFill>
                <a:latin typeface="Space Mono" panose="02000509040000020004" pitchFamily="49" charset="0"/>
                <a:ea typeface="+mn-ea"/>
                <a:cs typeface="Space Mono" panose="02000509040000020004" pitchFamily="49" charset="0"/>
              </a:defRPr>
            </a:lvl1pPr>
          </a:lstStyle>
          <a:p>
            <a:r>
              <a:rPr lang="en-GB"/>
              <a:t>DATE</a:t>
            </a: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3584575" y="1457151"/>
            <a:ext cx="7070725" cy="3168821"/>
          </a:xfrm>
        </p:spPr>
        <p:txBody>
          <a:bodyPr/>
          <a:lstStyle>
            <a:lvl1pPr>
              <a:defRPr sz="6600">
                <a:solidFill>
                  <a:schemeClr val="accent6"/>
                </a:solidFill>
              </a:defRPr>
            </a:lvl1pPr>
          </a:lstStyle>
          <a:p>
            <a:r>
              <a:rPr lang="en-GB"/>
              <a:t>Click to edit Master title style</a:t>
            </a:r>
          </a:p>
        </p:txBody>
      </p:sp>
      <p:sp>
        <p:nvSpPr>
          <p:cNvPr id="10" name="Content Placeholder 9">
            <a:extLst>
              <a:ext uri="{FF2B5EF4-FFF2-40B4-BE49-F238E27FC236}">
                <a16:creationId xmlns:a16="http://schemas.microsoft.com/office/drawing/2014/main" id="{7D9956ED-0AB6-478A-B82C-B67610F4E3D0}"/>
              </a:ext>
            </a:extLst>
          </p:cNvPr>
          <p:cNvSpPr>
            <a:spLocks noGrp="1"/>
          </p:cNvSpPr>
          <p:nvPr>
            <p:ph sz="quarter" idx="11" hasCustomPrompt="1"/>
          </p:nvPr>
        </p:nvSpPr>
        <p:spPr>
          <a:xfrm>
            <a:off x="3593749" y="4727575"/>
            <a:ext cx="5522912" cy="1250951"/>
          </a:xfrm>
        </p:spPr>
        <p:txBody>
          <a:bodyPr tIns="0">
            <a:noAutofit/>
          </a:bodyPr>
          <a:lstStyle>
            <a:lvl1pPr>
              <a:spcBef>
                <a:spcPts val="0"/>
              </a:spcBef>
              <a:spcAft>
                <a:spcPts val="0"/>
              </a:spcAft>
              <a:defRPr sz="1700">
                <a:solidFill>
                  <a:schemeClr val="tx1"/>
                </a:solidFill>
                <a:latin typeface="+mn-lt"/>
              </a:defRPr>
            </a:lvl1pPr>
            <a:lvl2pPr>
              <a:spcBef>
                <a:spcPts val="0"/>
              </a:spcBef>
              <a:spcAft>
                <a:spcPts val="0"/>
              </a:spcAft>
              <a:defRPr sz="1700">
                <a:solidFill>
                  <a:schemeClr val="tx1"/>
                </a:solidFill>
              </a:defRPr>
            </a:lvl2pPr>
            <a:lvl3pPr>
              <a:defRPr>
                <a:solidFill>
                  <a:schemeClr val="bg1"/>
                </a:solidFill>
              </a:defRPr>
            </a:lvl3pPr>
            <a:lvl4pPr>
              <a:defRPr>
                <a:solidFill>
                  <a:schemeClr val="bg1"/>
                </a:solidFill>
              </a:defRPr>
            </a:lvl4pPr>
            <a:lvl5pPr>
              <a:defRPr sz="1700" b="0">
                <a:solidFill>
                  <a:schemeClr val="accent6"/>
                </a:solidFill>
                <a:latin typeface="+mn-lt"/>
              </a:defRPr>
            </a:lvl5pPr>
          </a:lstStyle>
          <a:p>
            <a:pPr lvl="0"/>
            <a:r>
              <a:rPr lang="en-GB"/>
              <a:t>Subheading</a:t>
            </a:r>
          </a:p>
          <a:p>
            <a:pPr lvl="1"/>
            <a:r>
              <a:rPr lang="en-GB"/>
              <a:t>Subheading 2</a:t>
            </a:r>
          </a:p>
        </p:txBody>
      </p:sp>
      <p:sp>
        <p:nvSpPr>
          <p:cNvPr id="22" name="Rectangle 21">
            <a:extLst>
              <a:ext uri="{FF2B5EF4-FFF2-40B4-BE49-F238E27FC236}">
                <a16:creationId xmlns:a16="http://schemas.microsoft.com/office/drawing/2014/main" id="{51402F92-C298-4C9D-B165-225CA6300EEC}"/>
              </a:ext>
            </a:extLst>
          </p:cNvPr>
          <p:cNvSpPr/>
          <p:nvPr/>
        </p:nvSpPr>
        <p:spPr>
          <a:xfrm>
            <a:off x="0" y="0"/>
            <a:ext cx="3584575" cy="1091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BRE Vector Logo">
            <a:extLst>
              <a:ext uri="{FF2B5EF4-FFF2-40B4-BE49-F238E27FC236}">
                <a16:creationId xmlns:a16="http://schemas.microsoft.com/office/drawing/2014/main" id="{DD23A135-161C-46FC-B786-381F0472101C}"/>
              </a:ext>
            </a:extLst>
          </p:cNvPr>
          <p:cNvSpPr>
            <a:spLocks noChangeAspect="1"/>
          </p:cNvSpPr>
          <p:nvPr userDrawn="1"/>
        </p:nvSpPr>
        <p:spPr>
          <a:xfrm>
            <a:off x="10755020" y="452438"/>
            <a:ext cx="924217" cy="229615"/>
          </a:xfrm>
          <a:custGeom>
            <a:avLst/>
            <a:gdLst>
              <a:gd name="connsiteX0" fmla="*/ 306851 w 924217"/>
              <a:gd name="connsiteY0" fmla="*/ 137455 h 229615"/>
              <a:gd name="connsiteX1" fmla="*/ 306851 w 924217"/>
              <a:gd name="connsiteY1" fmla="*/ 175680 h 229615"/>
              <a:gd name="connsiteX2" fmla="*/ 383040 w 924217"/>
              <a:gd name="connsiteY2" fmla="*/ 175680 h 229615"/>
              <a:gd name="connsiteX3" fmla="*/ 402153 w 924217"/>
              <a:gd name="connsiteY3" fmla="*/ 156305 h 229615"/>
              <a:gd name="connsiteX4" fmla="*/ 385134 w 924217"/>
              <a:gd name="connsiteY4" fmla="*/ 137455 h 229615"/>
              <a:gd name="connsiteX5" fmla="*/ 384873 w 924217"/>
              <a:gd name="connsiteY5" fmla="*/ 137455 h 229615"/>
              <a:gd name="connsiteX6" fmla="*/ 384611 w 924217"/>
              <a:gd name="connsiteY6" fmla="*/ 137455 h 229615"/>
              <a:gd name="connsiteX7" fmla="*/ 539868 w 924217"/>
              <a:gd name="connsiteY7" fmla="*/ 50530 h 229615"/>
              <a:gd name="connsiteX8" fmla="*/ 539868 w 924217"/>
              <a:gd name="connsiteY8" fmla="*/ 87185 h 229615"/>
              <a:gd name="connsiteX9" fmla="*/ 618414 w 924217"/>
              <a:gd name="connsiteY9" fmla="*/ 87185 h 229615"/>
              <a:gd name="connsiteX10" fmla="*/ 636479 w 924217"/>
              <a:gd name="connsiteY10" fmla="*/ 71476 h 229615"/>
              <a:gd name="connsiteX11" fmla="*/ 636218 w 924217"/>
              <a:gd name="connsiteY11" fmla="*/ 71476 h 229615"/>
              <a:gd name="connsiteX12" fmla="*/ 636218 w 924217"/>
              <a:gd name="connsiteY12" fmla="*/ 66501 h 229615"/>
              <a:gd name="connsiteX13" fmla="*/ 618414 w 924217"/>
              <a:gd name="connsiteY13" fmla="*/ 50530 h 229615"/>
              <a:gd name="connsiteX14" fmla="*/ 306589 w 924217"/>
              <a:gd name="connsiteY14" fmla="*/ 49745 h 229615"/>
              <a:gd name="connsiteX15" fmla="*/ 306851 w 924217"/>
              <a:gd name="connsiteY15" fmla="*/ 87447 h 229615"/>
              <a:gd name="connsiteX16" fmla="*/ 386443 w 924217"/>
              <a:gd name="connsiteY16" fmla="*/ 87185 h 229615"/>
              <a:gd name="connsiteX17" fmla="*/ 402676 w 924217"/>
              <a:gd name="connsiteY17" fmla="*/ 68073 h 229615"/>
              <a:gd name="connsiteX18" fmla="*/ 386967 w 924217"/>
              <a:gd name="connsiteY18" fmla="*/ 49745 h 229615"/>
              <a:gd name="connsiteX19" fmla="*/ 386705 w 924217"/>
              <a:gd name="connsiteY19" fmla="*/ 49745 h 229615"/>
              <a:gd name="connsiteX20" fmla="*/ 386443 w 924217"/>
              <a:gd name="connsiteY20" fmla="*/ 49745 h 229615"/>
              <a:gd name="connsiteX21" fmla="*/ 484363 w 924217"/>
              <a:gd name="connsiteY21" fmla="*/ 261 h 229615"/>
              <a:gd name="connsiteX22" fmla="*/ 606108 w 924217"/>
              <a:gd name="connsiteY22" fmla="*/ 261 h 229615"/>
              <a:gd name="connsiteX23" fmla="*/ 688581 w 924217"/>
              <a:gd name="connsiteY23" fmla="*/ 60479 h 229615"/>
              <a:gd name="connsiteX24" fmla="*/ 654807 w 924217"/>
              <a:gd name="connsiteY24" fmla="*/ 111010 h 229615"/>
              <a:gd name="connsiteX25" fmla="*/ 687796 w 924217"/>
              <a:gd name="connsiteY25" fmla="*/ 155519 h 229615"/>
              <a:gd name="connsiteX26" fmla="*/ 687796 w 924217"/>
              <a:gd name="connsiteY26" fmla="*/ 229614 h 229615"/>
              <a:gd name="connsiteX27" fmla="*/ 633076 w 924217"/>
              <a:gd name="connsiteY27" fmla="*/ 229614 h 229615"/>
              <a:gd name="connsiteX28" fmla="*/ 633076 w 924217"/>
              <a:gd name="connsiteY28" fmla="*/ 169396 h 229615"/>
              <a:gd name="connsiteX29" fmla="*/ 601658 w 924217"/>
              <a:gd name="connsiteY29" fmla="*/ 136930 h 229615"/>
              <a:gd name="connsiteX30" fmla="*/ 540130 w 924217"/>
              <a:gd name="connsiteY30" fmla="*/ 136930 h 229615"/>
              <a:gd name="connsiteX31" fmla="*/ 540130 w 924217"/>
              <a:gd name="connsiteY31" fmla="*/ 229614 h 229615"/>
              <a:gd name="connsiteX32" fmla="*/ 484363 w 924217"/>
              <a:gd name="connsiteY32" fmla="*/ 229614 h 229615"/>
              <a:gd name="connsiteX33" fmla="*/ 722879 w 924217"/>
              <a:gd name="connsiteY33" fmla="*/ 0 h 229615"/>
              <a:gd name="connsiteX34" fmla="*/ 923955 w 924217"/>
              <a:gd name="connsiteY34" fmla="*/ 0 h 229615"/>
              <a:gd name="connsiteX35" fmla="*/ 923955 w 924217"/>
              <a:gd name="connsiteY35" fmla="*/ 50007 h 229615"/>
              <a:gd name="connsiteX36" fmla="*/ 778908 w 924217"/>
              <a:gd name="connsiteY36" fmla="*/ 50007 h 229615"/>
              <a:gd name="connsiteX37" fmla="*/ 779170 w 924217"/>
              <a:gd name="connsiteY37" fmla="*/ 86924 h 229615"/>
              <a:gd name="connsiteX38" fmla="*/ 909817 w 924217"/>
              <a:gd name="connsiteY38" fmla="*/ 86924 h 229615"/>
              <a:gd name="connsiteX39" fmla="*/ 909817 w 924217"/>
              <a:gd name="connsiteY39" fmla="*/ 137193 h 229615"/>
              <a:gd name="connsiteX40" fmla="*/ 779170 w 924217"/>
              <a:gd name="connsiteY40" fmla="*/ 137193 h 229615"/>
              <a:gd name="connsiteX41" fmla="*/ 779170 w 924217"/>
              <a:gd name="connsiteY41" fmla="*/ 177251 h 229615"/>
              <a:gd name="connsiteX42" fmla="*/ 924217 w 924217"/>
              <a:gd name="connsiteY42" fmla="*/ 177251 h 229615"/>
              <a:gd name="connsiteX43" fmla="*/ 924217 w 924217"/>
              <a:gd name="connsiteY43" fmla="*/ 229615 h 229615"/>
              <a:gd name="connsiteX44" fmla="*/ 723141 w 924217"/>
              <a:gd name="connsiteY44" fmla="*/ 229615 h 229615"/>
              <a:gd name="connsiteX45" fmla="*/ 722879 w 924217"/>
              <a:gd name="connsiteY45" fmla="*/ 0 h 229615"/>
              <a:gd name="connsiteX46" fmla="*/ 250298 w 924217"/>
              <a:gd name="connsiteY46" fmla="*/ 0 h 229615"/>
              <a:gd name="connsiteX47" fmla="*/ 369163 w 924217"/>
              <a:gd name="connsiteY47" fmla="*/ 0 h 229615"/>
              <a:gd name="connsiteX48" fmla="*/ 454254 w 924217"/>
              <a:gd name="connsiteY48" fmla="*/ 56815 h 229615"/>
              <a:gd name="connsiteX49" fmla="*/ 419956 w 924217"/>
              <a:gd name="connsiteY49" fmla="*/ 111011 h 229615"/>
              <a:gd name="connsiteX50" fmla="*/ 456611 w 924217"/>
              <a:gd name="connsiteY50" fmla="*/ 163113 h 229615"/>
              <a:gd name="connsiteX51" fmla="*/ 368902 w 924217"/>
              <a:gd name="connsiteY51" fmla="*/ 229091 h 229615"/>
              <a:gd name="connsiteX52" fmla="*/ 250298 w 924217"/>
              <a:gd name="connsiteY52" fmla="*/ 229091 h 229615"/>
              <a:gd name="connsiteX53" fmla="*/ 250298 w 924217"/>
              <a:gd name="connsiteY53" fmla="*/ 0 h 229615"/>
              <a:gd name="connsiteX54" fmla="*/ 213644 w 924217"/>
              <a:gd name="connsiteY54" fmla="*/ 0 h 229615"/>
              <a:gd name="connsiteX55" fmla="*/ 215476 w 924217"/>
              <a:gd name="connsiteY55" fmla="*/ 0 h 229615"/>
              <a:gd name="connsiteX56" fmla="*/ 215215 w 924217"/>
              <a:gd name="connsiteY56" fmla="*/ 52102 h 229615"/>
              <a:gd name="connsiteX57" fmla="*/ 213382 w 924217"/>
              <a:gd name="connsiteY57" fmla="*/ 52102 h 229615"/>
              <a:gd name="connsiteX58" fmla="*/ 109702 w 924217"/>
              <a:gd name="connsiteY58" fmla="*/ 53149 h 229615"/>
              <a:gd name="connsiteX59" fmla="*/ 54720 w 924217"/>
              <a:gd name="connsiteY59" fmla="*/ 112582 h 229615"/>
              <a:gd name="connsiteX60" fmla="*/ 111535 w 924217"/>
              <a:gd name="connsiteY60" fmla="*/ 173062 h 229615"/>
              <a:gd name="connsiteX61" fmla="*/ 213905 w 924217"/>
              <a:gd name="connsiteY61" fmla="*/ 174109 h 229615"/>
              <a:gd name="connsiteX62" fmla="*/ 216000 w 924217"/>
              <a:gd name="connsiteY62" fmla="*/ 174109 h 229615"/>
              <a:gd name="connsiteX63" fmla="*/ 215738 w 924217"/>
              <a:gd name="connsiteY63" fmla="*/ 229353 h 229615"/>
              <a:gd name="connsiteX64" fmla="*/ 213905 w 924217"/>
              <a:gd name="connsiteY64" fmla="*/ 229353 h 229615"/>
              <a:gd name="connsiteX65" fmla="*/ 145309 w 924217"/>
              <a:gd name="connsiteY65" fmla="*/ 229353 h 229615"/>
              <a:gd name="connsiteX66" fmla="*/ 126720 w 924217"/>
              <a:gd name="connsiteY66" fmla="*/ 229091 h 229615"/>
              <a:gd name="connsiteX67" fmla="*/ 64407 w 924217"/>
              <a:gd name="connsiteY67" fmla="*/ 216524 h 229615"/>
              <a:gd name="connsiteX68" fmla="*/ 1833 w 924217"/>
              <a:gd name="connsiteY68" fmla="*/ 137455 h 229615"/>
              <a:gd name="connsiteX69" fmla="*/ 0 w 924217"/>
              <a:gd name="connsiteY69" fmla="*/ 114415 h 229615"/>
              <a:gd name="connsiteX70" fmla="*/ 22516 w 924217"/>
              <a:gd name="connsiteY70" fmla="*/ 46080 h 229615"/>
              <a:gd name="connsiteX71" fmla="*/ 67811 w 924217"/>
              <a:gd name="connsiteY71" fmla="*/ 9687 h 229615"/>
              <a:gd name="connsiteX72" fmla="*/ 115462 w 924217"/>
              <a:gd name="connsiteY72" fmla="*/ 262 h 22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24217" h="229615">
                <a:moveTo>
                  <a:pt x="306851" y="137455"/>
                </a:moveTo>
                <a:lnTo>
                  <a:pt x="306851" y="175680"/>
                </a:lnTo>
                <a:lnTo>
                  <a:pt x="383040" y="175680"/>
                </a:lnTo>
                <a:cubicBezTo>
                  <a:pt x="393251" y="175680"/>
                  <a:pt x="402153" y="166778"/>
                  <a:pt x="402153" y="156305"/>
                </a:cubicBezTo>
                <a:cubicBezTo>
                  <a:pt x="402153" y="146618"/>
                  <a:pt x="394822" y="138502"/>
                  <a:pt x="385134" y="137455"/>
                </a:cubicBezTo>
                <a:lnTo>
                  <a:pt x="384873" y="137455"/>
                </a:lnTo>
                <a:lnTo>
                  <a:pt x="384611" y="137455"/>
                </a:lnTo>
                <a:close/>
                <a:moveTo>
                  <a:pt x="539868" y="50530"/>
                </a:moveTo>
                <a:lnTo>
                  <a:pt x="539868" y="87185"/>
                </a:lnTo>
                <a:lnTo>
                  <a:pt x="618414" y="87185"/>
                </a:lnTo>
                <a:cubicBezTo>
                  <a:pt x="627839" y="87185"/>
                  <a:pt x="635432" y="79068"/>
                  <a:pt x="636479" y="71476"/>
                </a:cubicBezTo>
                <a:lnTo>
                  <a:pt x="636218" y="71476"/>
                </a:lnTo>
                <a:lnTo>
                  <a:pt x="636218" y="66501"/>
                </a:lnTo>
                <a:cubicBezTo>
                  <a:pt x="635170" y="57337"/>
                  <a:pt x="627839" y="50530"/>
                  <a:pt x="618414" y="50530"/>
                </a:cubicBezTo>
                <a:close/>
                <a:moveTo>
                  <a:pt x="306589" y="49745"/>
                </a:moveTo>
                <a:lnTo>
                  <a:pt x="306851" y="87447"/>
                </a:lnTo>
                <a:lnTo>
                  <a:pt x="386443" y="87185"/>
                </a:lnTo>
                <a:cubicBezTo>
                  <a:pt x="395607" y="85876"/>
                  <a:pt x="402676" y="77236"/>
                  <a:pt x="402676" y="68073"/>
                </a:cubicBezTo>
                <a:cubicBezTo>
                  <a:pt x="402676" y="58909"/>
                  <a:pt x="396131" y="51316"/>
                  <a:pt x="386967" y="49745"/>
                </a:cubicBezTo>
                <a:lnTo>
                  <a:pt x="386705" y="49745"/>
                </a:lnTo>
                <a:lnTo>
                  <a:pt x="386443" y="49745"/>
                </a:lnTo>
                <a:close/>
                <a:moveTo>
                  <a:pt x="484363" y="261"/>
                </a:moveTo>
                <a:lnTo>
                  <a:pt x="606108" y="261"/>
                </a:lnTo>
                <a:cubicBezTo>
                  <a:pt x="645643" y="261"/>
                  <a:pt x="688319" y="10734"/>
                  <a:pt x="688581" y="60479"/>
                </a:cubicBezTo>
                <a:cubicBezTo>
                  <a:pt x="688581" y="100799"/>
                  <a:pt x="654807" y="111010"/>
                  <a:pt x="654807" y="111010"/>
                </a:cubicBezTo>
                <a:cubicBezTo>
                  <a:pt x="654807" y="111010"/>
                  <a:pt x="687796" y="121221"/>
                  <a:pt x="687796" y="155519"/>
                </a:cubicBezTo>
                <a:lnTo>
                  <a:pt x="687796" y="229614"/>
                </a:lnTo>
                <a:lnTo>
                  <a:pt x="633076" y="229614"/>
                </a:lnTo>
                <a:lnTo>
                  <a:pt x="633076" y="169396"/>
                </a:lnTo>
                <a:cubicBezTo>
                  <a:pt x="633076" y="151592"/>
                  <a:pt x="619199" y="137192"/>
                  <a:pt x="601658" y="136930"/>
                </a:cubicBezTo>
                <a:cubicBezTo>
                  <a:pt x="601658" y="136930"/>
                  <a:pt x="540130" y="136930"/>
                  <a:pt x="540130" y="136930"/>
                </a:cubicBezTo>
                <a:cubicBezTo>
                  <a:pt x="540130" y="136930"/>
                  <a:pt x="540130" y="223068"/>
                  <a:pt x="540130" y="229614"/>
                </a:cubicBezTo>
                <a:cubicBezTo>
                  <a:pt x="534370" y="229614"/>
                  <a:pt x="484363" y="229614"/>
                  <a:pt x="484363" y="229614"/>
                </a:cubicBezTo>
                <a:close/>
                <a:moveTo>
                  <a:pt x="722879" y="0"/>
                </a:moveTo>
                <a:lnTo>
                  <a:pt x="923955" y="0"/>
                </a:lnTo>
                <a:lnTo>
                  <a:pt x="923955" y="50007"/>
                </a:lnTo>
                <a:lnTo>
                  <a:pt x="778908" y="50007"/>
                </a:lnTo>
                <a:lnTo>
                  <a:pt x="779170" y="86924"/>
                </a:lnTo>
                <a:lnTo>
                  <a:pt x="909817" y="86924"/>
                </a:lnTo>
                <a:lnTo>
                  <a:pt x="909817" y="137193"/>
                </a:lnTo>
                <a:lnTo>
                  <a:pt x="779170" y="137193"/>
                </a:lnTo>
                <a:lnTo>
                  <a:pt x="779170" y="177251"/>
                </a:lnTo>
                <a:lnTo>
                  <a:pt x="924217" y="177251"/>
                </a:lnTo>
                <a:lnTo>
                  <a:pt x="924217" y="229615"/>
                </a:lnTo>
                <a:cubicBezTo>
                  <a:pt x="924217" y="229615"/>
                  <a:pt x="729948" y="229615"/>
                  <a:pt x="723141" y="229615"/>
                </a:cubicBezTo>
                <a:cubicBezTo>
                  <a:pt x="722879" y="223069"/>
                  <a:pt x="722879" y="0"/>
                  <a:pt x="722879" y="0"/>
                </a:cubicBezTo>
                <a:close/>
                <a:moveTo>
                  <a:pt x="250298" y="0"/>
                </a:moveTo>
                <a:lnTo>
                  <a:pt x="369163" y="0"/>
                </a:lnTo>
                <a:cubicBezTo>
                  <a:pt x="432785" y="0"/>
                  <a:pt x="454516" y="26444"/>
                  <a:pt x="454254" y="56815"/>
                </a:cubicBezTo>
                <a:cubicBezTo>
                  <a:pt x="454516" y="76713"/>
                  <a:pt x="449280" y="101324"/>
                  <a:pt x="419956" y="111011"/>
                </a:cubicBezTo>
                <a:cubicBezTo>
                  <a:pt x="419956" y="111011"/>
                  <a:pt x="456611" y="123316"/>
                  <a:pt x="456611" y="163113"/>
                </a:cubicBezTo>
                <a:cubicBezTo>
                  <a:pt x="456611" y="196102"/>
                  <a:pt x="433047" y="229091"/>
                  <a:pt x="368902" y="229091"/>
                </a:cubicBezTo>
                <a:cubicBezTo>
                  <a:pt x="368902" y="229091"/>
                  <a:pt x="256843" y="229091"/>
                  <a:pt x="250298" y="229091"/>
                </a:cubicBezTo>
                <a:cubicBezTo>
                  <a:pt x="250298" y="222545"/>
                  <a:pt x="250298" y="0"/>
                  <a:pt x="250298" y="0"/>
                </a:cubicBezTo>
                <a:close/>
                <a:moveTo>
                  <a:pt x="213644" y="0"/>
                </a:moveTo>
                <a:lnTo>
                  <a:pt x="215476" y="0"/>
                </a:lnTo>
                <a:lnTo>
                  <a:pt x="215215" y="52102"/>
                </a:lnTo>
                <a:lnTo>
                  <a:pt x="213382" y="52102"/>
                </a:lnTo>
                <a:cubicBezTo>
                  <a:pt x="212596" y="52102"/>
                  <a:pt x="125673" y="51055"/>
                  <a:pt x="109702" y="53149"/>
                </a:cubicBezTo>
                <a:cubicBezTo>
                  <a:pt x="76189" y="57600"/>
                  <a:pt x="54720" y="80902"/>
                  <a:pt x="54720" y="112582"/>
                </a:cubicBezTo>
                <a:cubicBezTo>
                  <a:pt x="54720" y="137978"/>
                  <a:pt x="69644" y="168873"/>
                  <a:pt x="111535" y="173062"/>
                </a:cubicBezTo>
                <a:cubicBezTo>
                  <a:pt x="137716" y="175680"/>
                  <a:pt x="213120" y="174109"/>
                  <a:pt x="213905" y="174109"/>
                </a:cubicBezTo>
                <a:lnTo>
                  <a:pt x="216000" y="174109"/>
                </a:lnTo>
                <a:lnTo>
                  <a:pt x="215738" y="229353"/>
                </a:lnTo>
                <a:lnTo>
                  <a:pt x="213905" y="229353"/>
                </a:lnTo>
                <a:cubicBezTo>
                  <a:pt x="213905" y="229353"/>
                  <a:pt x="145309" y="229353"/>
                  <a:pt x="145309" y="229353"/>
                </a:cubicBezTo>
                <a:cubicBezTo>
                  <a:pt x="145309" y="229353"/>
                  <a:pt x="126720" y="229091"/>
                  <a:pt x="126720" y="229091"/>
                </a:cubicBezTo>
                <a:cubicBezTo>
                  <a:pt x="92422" y="227258"/>
                  <a:pt x="75404" y="221498"/>
                  <a:pt x="64407" y="216524"/>
                </a:cubicBezTo>
                <a:cubicBezTo>
                  <a:pt x="31680" y="201076"/>
                  <a:pt x="8902" y="172276"/>
                  <a:pt x="1833" y="137455"/>
                </a:cubicBezTo>
                <a:cubicBezTo>
                  <a:pt x="524" y="129862"/>
                  <a:pt x="0" y="122269"/>
                  <a:pt x="0" y="114415"/>
                </a:cubicBezTo>
                <a:cubicBezTo>
                  <a:pt x="0" y="89542"/>
                  <a:pt x="7855" y="65978"/>
                  <a:pt x="22516" y="46080"/>
                </a:cubicBezTo>
                <a:cubicBezTo>
                  <a:pt x="34298" y="30371"/>
                  <a:pt x="49745" y="17804"/>
                  <a:pt x="67811" y="9687"/>
                </a:cubicBezTo>
                <a:cubicBezTo>
                  <a:pt x="86400" y="2095"/>
                  <a:pt x="104465" y="1047"/>
                  <a:pt x="115462" y="262"/>
                </a:cubicBezTo>
                <a:close/>
              </a:path>
            </a:pathLst>
          </a:custGeom>
          <a:solidFill>
            <a:srgbClr val="003F2D"/>
          </a:solidFill>
          <a:ln w="2617" cap="flat">
            <a:noFill/>
            <a:prstDash val="solid"/>
            <a:miter/>
          </a:ln>
        </p:spPr>
        <p:txBody>
          <a:bodyPr wrap="square" rtlCol="0" anchor="ctr">
            <a:noAutofit/>
          </a:bodyPr>
          <a:lstStyle/>
          <a:p>
            <a:endParaRPr lang="en-GB" dirty="0"/>
          </a:p>
        </p:txBody>
      </p:sp>
    </p:spTree>
    <p:extLst>
      <p:ext uri="{BB962C8B-B14F-4D97-AF65-F5344CB8AC3E}">
        <p14:creationId xmlns:p14="http://schemas.microsoft.com/office/powerpoint/2010/main" val="553319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2250" fill="hold"/>
                                        <p:tgtEl>
                                          <p:spTgt spid="25"/>
                                        </p:tgtEl>
                                        <p:attrNameLst>
                                          <p:attrName>ppt_x</p:attrName>
                                        </p:attrNameLst>
                                      </p:cBhvr>
                                      <p:tavLst>
                                        <p:tav tm="0">
                                          <p:val>
                                            <p:strVal val="0-#ppt_w/2"/>
                                          </p:val>
                                        </p:tav>
                                        <p:tav tm="100000">
                                          <p:val>
                                            <p:strVal val="#ppt_x"/>
                                          </p:val>
                                        </p:tav>
                                      </p:tavLst>
                                    </p:anim>
                                    <p:anim calcmode="lin" valueType="num">
                                      <p:cBhvr additive="base">
                                        <p:cTn id="8" dur="225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Image Section Opener 3 Light">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FB38A9F-8015-4521-AE4E-20BA353E6D7F}"/>
              </a:ext>
            </a:extLst>
          </p:cNvPr>
          <p:cNvSpPr>
            <a:spLocks noGrp="1"/>
          </p:cNvSpPr>
          <p:nvPr>
            <p:ph type="title"/>
          </p:nvPr>
        </p:nvSpPr>
        <p:spPr>
          <a:xfrm>
            <a:off x="511175" y="1601788"/>
            <a:ext cx="2971800" cy="2398712"/>
          </a:xfrm>
        </p:spPr>
        <p:txBody>
          <a:bodyPr anchor="t"/>
          <a:lstStyle>
            <a:lvl1pPr>
              <a:defRPr sz="4400" b="0">
                <a:solidFill>
                  <a:schemeClr val="tx1"/>
                </a:solidFill>
              </a:defRPr>
            </a:lvl1pPr>
          </a:lstStyle>
          <a:p>
            <a:r>
              <a:rPr lang="en-GB"/>
              <a:t>Click to edit Master title style</a:t>
            </a:r>
          </a:p>
        </p:txBody>
      </p:sp>
      <p:sp>
        <p:nvSpPr>
          <p:cNvPr id="7" name="Text Placeholder 2">
            <a:extLst>
              <a:ext uri="{FF2B5EF4-FFF2-40B4-BE49-F238E27FC236}">
                <a16:creationId xmlns:a16="http://schemas.microsoft.com/office/drawing/2014/main" id="{3CEE43AE-91A9-4FCE-B4E7-BF4A26C91C1F}"/>
              </a:ext>
            </a:extLst>
          </p:cNvPr>
          <p:cNvSpPr>
            <a:spLocks noGrp="1"/>
          </p:cNvSpPr>
          <p:nvPr>
            <p:ph type="body" sz="quarter" idx="10" hasCustomPrompt="1"/>
          </p:nvPr>
        </p:nvSpPr>
        <p:spPr>
          <a:xfrm>
            <a:off x="511175" y="352424"/>
            <a:ext cx="1436687" cy="1147763"/>
          </a:xfrm>
        </p:spPr>
        <p:txBody>
          <a:bodyPr anchor="b"/>
          <a:lstStyle>
            <a:lvl1pPr algn="l">
              <a:defRPr sz="9600">
                <a:solidFill>
                  <a:srgbClr val="003F2D"/>
                </a:solidFill>
              </a:defRPr>
            </a:lvl1pPr>
          </a:lstStyle>
          <a:p>
            <a:pPr lvl="0"/>
            <a:r>
              <a:rPr lang="en-GB"/>
              <a:t>2</a:t>
            </a:r>
          </a:p>
        </p:txBody>
      </p:sp>
      <p:sp>
        <p:nvSpPr>
          <p:cNvPr id="5" name="Picture Placeholder 4">
            <a:extLst>
              <a:ext uri="{FF2B5EF4-FFF2-40B4-BE49-F238E27FC236}">
                <a16:creationId xmlns:a16="http://schemas.microsoft.com/office/drawing/2014/main" id="{1DA8FB3F-A95B-47BA-A641-1852818CC43D}"/>
              </a:ext>
            </a:extLst>
          </p:cNvPr>
          <p:cNvSpPr>
            <a:spLocks noGrp="1"/>
          </p:cNvSpPr>
          <p:nvPr>
            <p:ph type="pic" sz="quarter" idx="11"/>
          </p:nvPr>
        </p:nvSpPr>
        <p:spPr>
          <a:xfrm>
            <a:off x="7683500" y="476251"/>
            <a:ext cx="3995738" cy="5905500"/>
          </a:xfrm>
        </p:spPr>
        <p:txBody>
          <a:bodyPr/>
          <a:lstStyle>
            <a:lvl1pPr>
              <a:defRPr>
                <a:solidFill>
                  <a:schemeClr val="accent5"/>
                </a:solidFill>
              </a:defRPr>
            </a:lvl1pPr>
          </a:lstStyle>
          <a:p>
            <a:r>
              <a:rPr lang="en-GB" dirty="0"/>
              <a:t>Click icon to add picture</a:t>
            </a:r>
          </a:p>
        </p:txBody>
      </p:sp>
      <p:sp>
        <p:nvSpPr>
          <p:cNvPr id="6" name="Rectangle 5">
            <a:extLst>
              <a:ext uri="{FF2B5EF4-FFF2-40B4-BE49-F238E27FC236}">
                <a16:creationId xmlns:a16="http://schemas.microsoft.com/office/drawing/2014/main" id="{80F33480-D468-4702-ADB1-1092F24E9066}"/>
              </a:ext>
            </a:extLst>
          </p:cNvPr>
          <p:cNvSpPr/>
          <p:nvPr userDrawn="1"/>
        </p:nvSpPr>
        <p:spPr>
          <a:xfrm>
            <a:off x="-1670070" y="-1"/>
            <a:ext cx="1377929" cy="973139"/>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o not add speakers to section break! </a:t>
            </a:r>
            <a:br>
              <a:rPr lang="en-GB" sz="1200" dirty="0">
                <a:solidFill>
                  <a:schemeClr val="bg1"/>
                </a:solidFill>
                <a:latin typeface="Calibre-Semibold" panose="020B0703030202060203" pitchFamily="34" charset="0"/>
              </a:rPr>
            </a:br>
            <a:r>
              <a:rPr lang="en-GB" sz="1200" dirty="0">
                <a:solidFill>
                  <a:schemeClr val="bg1"/>
                </a:solidFill>
              </a:rPr>
              <a:t>Use a separate </a:t>
            </a:r>
            <a:br>
              <a:rPr lang="en-GB" sz="1200" dirty="0">
                <a:solidFill>
                  <a:schemeClr val="bg1"/>
                </a:solidFill>
              </a:rPr>
            </a:br>
            <a:r>
              <a:rPr lang="en-GB" sz="1200" dirty="0">
                <a:solidFill>
                  <a:schemeClr val="bg1"/>
                </a:solidFill>
              </a:rPr>
              <a:t>slide following section break.</a:t>
            </a:r>
          </a:p>
        </p:txBody>
      </p:sp>
    </p:spTree>
    <p:extLst>
      <p:ext uri="{BB962C8B-B14F-4D97-AF65-F5344CB8AC3E}">
        <p14:creationId xmlns:p14="http://schemas.microsoft.com/office/powerpoint/2010/main" val="35597344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ext Quote 1">
    <p:bg>
      <p:bgPr>
        <a:solidFill>
          <a:schemeClr val="tx1"/>
        </a:solidFill>
        <a:effectLst/>
      </p:bgPr>
    </p:bg>
    <p:spTree>
      <p:nvGrpSpPr>
        <p:cNvPr id="1" name=""/>
        <p:cNvGrpSpPr/>
        <p:nvPr/>
      </p:nvGrpSpPr>
      <p:grpSpPr>
        <a:xfrm>
          <a:off x="0" y="0"/>
          <a:ext cx="0" cy="0"/>
          <a:chOff x="0" y="0"/>
          <a:chExt cx="0" cy="0"/>
        </a:xfrm>
      </p:grpSpPr>
      <p:sp>
        <p:nvSpPr>
          <p:cNvPr id="19" name="Text Placeholder 10">
            <a:extLst>
              <a:ext uri="{FF2B5EF4-FFF2-40B4-BE49-F238E27FC236}">
                <a16:creationId xmlns:a16="http://schemas.microsoft.com/office/drawing/2014/main" id="{86713B7F-2214-EC45-B16D-691521DFD097}"/>
              </a:ext>
            </a:extLst>
          </p:cNvPr>
          <p:cNvSpPr>
            <a:spLocks noGrp="1"/>
          </p:cNvSpPr>
          <p:nvPr>
            <p:ph type="body" sz="quarter" idx="15"/>
          </p:nvPr>
        </p:nvSpPr>
        <p:spPr>
          <a:xfrm>
            <a:off x="2047875" y="5978525"/>
            <a:ext cx="3484563" cy="377825"/>
          </a:xfrm>
          <a:prstGeom prst="rect">
            <a:avLst/>
          </a:prstGeom>
        </p:spPr>
        <p:txBody>
          <a:bodyPr anchor="b"/>
          <a:lstStyle>
            <a:lvl1pPr marL="7701" algn="l" defTabSz="554492" rtl="0" eaLnBrk="1" latinLnBrk="0" hangingPunct="1">
              <a:lnSpc>
                <a:spcPct val="100000"/>
              </a:lnSpc>
              <a:spcBef>
                <a:spcPts val="61"/>
              </a:spcBef>
              <a:defRPr lang="en-US" sz="1698" b="1" i="0" kern="0" dirty="0">
                <a:solidFill>
                  <a:srgbClr val="CAD1D2"/>
                </a:solidFill>
                <a:latin typeface="Calibre-Semibold"/>
                <a:ea typeface="+mj-ea"/>
                <a:cs typeface="Calibre-Semibold"/>
              </a:defRPr>
            </a:lvl1pPr>
          </a:lstStyle>
          <a:p>
            <a:pPr lvl="0"/>
            <a:r>
              <a:rPr lang="en-GB"/>
              <a:t>Click to edit Master text styles</a:t>
            </a:r>
          </a:p>
        </p:txBody>
      </p:sp>
      <p:sp>
        <p:nvSpPr>
          <p:cNvPr id="17" name="Title 16">
            <a:extLst>
              <a:ext uri="{FF2B5EF4-FFF2-40B4-BE49-F238E27FC236}">
                <a16:creationId xmlns:a16="http://schemas.microsoft.com/office/drawing/2014/main" id="{84F3302C-956C-4D92-A7AC-A2576257DE4C}"/>
              </a:ext>
            </a:extLst>
          </p:cNvPr>
          <p:cNvSpPr>
            <a:spLocks noGrp="1"/>
          </p:cNvSpPr>
          <p:nvPr>
            <p:ph type="title"/>
          </p:nvPr>
        </p:nvSpPr>
        <p:spPr>
          <a:xfrm>
            <a:off x="2048404" y="452438"/>
            <a:ext cx="8094134" cy="5430837"/>
          </a:xfrm>
        </p:spPr>
        <p:txBody>
          <a:bodyPr tIns="0" anchor="ctr"/>
          <a:lstStyle>
            <a:lvl1pPr>
              <a:defRPr sz="7600">
                <a:solidFill>
                  <a:schemeClr val="accent3"/>
                </a:solidFill>
              </a:defRPr>
            </a:lvl1pPr>
          </a:lstStyle>
          <a:p>
            <a:r>
              <a:rPr lang="en-GB"/>
              <a:t>Click to edit Master title style</a:t>
            </a:r>
          </a:p>
        </p:txBody>
      </p:sp>
      <p:sp>
        <p:nvSpPr>
          <p:cNvPr id="14" name="TextBox 13">
            <a:extLst>
              <a:ext uri="{FF2B5EF4-FFF2-40B4-BE49-F238E27FC236}">
                <a16:creationId xmlns:a16="http://schemas.microsoft.com/office/drawing/2014/main" id="{35D231BF-12DF-4AA6-8A1D-225A3C833697}"/>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12" name="TextBox 11">
            <a:extLst>
              <a:ext uri="{FF2B5EF4-FFF2-40B4-BE49-F238E27FC236}">
                <a16:creationId xmlns:a16="http://schemas.microsoft.com/office/drawing/2014/main" id="{E78127E9-DB37-431B-B7CA-4D1DA013E6F9}"/>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15" name="Opening Quote">
            <a:extLst>
              <a:ext uri="{FF2B5EF4-FFF2-40B4-BE49-F238E27FC236}">
                <a16:creationId xmlns:a16="http://schemas.microsoft.com/office/drawing/2014/main" id="{82769C9B-5FF1-4657-8617-4C106AC7AC3B}"/>
              </a:ext>
            </a:extLst>
          </p:cNvPr>
          <p:cNvSpPr>
            <a:spLocks noChangeAspect="1"/>
          </p:cNvSpPr>
          <p:nvPr userDrawn="1"/>
        </p:nvSpPr>
        <p:spPr>
          <a:xfrm>
            <a:off x="504470" y="2664569"/>
            <a:ext cx="923544" cy="712044"/>
          </a:xfrm>
          <a:custGeom>
            <a:avLst/>
            <a:gdLst>
              <a:gd name="connsiteX0" fmla="*/ 1710404 w 3999618"/>
              <a:gd name="connsiteY0" fmla="*/ 2274623 h 3083671"/>
              <a:gd name="connsiteX1" fmla="*/ 916567 w 3999618"/>
              <a:gd name="connsiteY1" fmla="*/ 3083700 h 3083671"/>
              <a:gd name="connsiteX2" fmla="*/ 619 w 3999618"/>
              <a:gd name="connsiteY2" fmla="*/ 1999827 h 3083671"/>
              <a:gd name="connsiteX3" fmla="*/ 1847850 w 3999618"/>
              <a:gd name="connsiteY3" fmla="*/ 29 h 3083671"/>
              <a:gd name="connsiteX4" fmla="*/ 1908905 w 3999618"/>
              <a:gd name="connsiteY4" fmla="*/ 259585 h 3083671"/>
              <a:gd name="connsiteX5" fmla="*/ 687586 w 3999618"/>
              <a:gd name="connsiteY5" fmla="*/ 1465546 h 3083671"/>
              <a:gd name="connsiteX6" fmla="*/ 1710404 w 3999618"/>
              <a:gd name="connsiteY6" fmla="*/ 2274623 h 3083671"/>
              <a:gd name="connsiteX7" fmla="*/ 3801785 w 3999618"/>
              <a:gd name="connsiteY7" fmla="*/ 2274623 h 3083671"/>
              <a:gd name="connsiteX8" fmla="*/ 3007971 w 3999618"/>
              <a:gd name="connsiteY8" fmla="*/ 3083700 h 3083671"/>
              <a:gd name="connsiteX9" fmla="*/ 2091999 w 3999618"/>
              <a:gd name="connsiteY9" fmla="*/ 1999827 h 3083671"/>
              <a:gd name="connsiteX10" fmla="*/ 3939159 w 3999618"/>
              <a:gd name="connsiteY10" fmla="*/ 29 h 3083671"/>
              <a:gd name="connsiteX11" fmla="*/ 4000238 w 3999618"/>
              <a:gd name="connsiteY11" fmla="*/ 259585 h 3083671"/>
              <a:gd name="connsiteX12" fmla="*/ 2778918 w 3999618"/>
              <a:gd name="connsiteY12" fmla="*/ 1465546 h 3083671"/>
              <a:gd name="connsiteX13" fmla="*/ 3801785 w 3999618"/>
              <a:gd name="connsiteY13" fmla="*/ 2274623 h 3083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99618" h="3083671">
                <a:moveTo>
                  <a:pt x="1710404" y="2274623"/>
                </a:moveTo>
                <a:cubicBezTo>
                  <a:pt x="1710404" y="2732585"/>
                  <a:pt x="1328761" y="3083700"/>
                  <a:pt x="916567" y="3083700"/>
                </a:cubicBezTo>
                <a:cubicBezTo>
                  <a:pt x="397454" y="3083700"/>
                  <a:pt x="619" y="2732585"/>
                  <a:pt x="619" y="1999827"/>
                </a:cubicBezTo>
                <a:cubicBezTo>
                  <a:pt x="619" y="1053375"/>
                  <a:pt x="733425" y="167955"/>
                  <a:pt x="1847850" y="29"/>
                </a:cubicBezTo>
                <a:lnTo>
                  <a:pt x="1908905" y="259585"/>
                </a:lnTo>
                <a:cubicBezTo>
                  <a:pt x="1023437" y="473255"/>
                  <a:pt x="687586" y="1068639"/>
                  <a:pt x="687586" y="1465546"/>
                </a:cubicBezTo>
                <a:cubicBezTo>
                  <a:pt x="1176099" y="1358675"/>
                  <a:pt x="1710404" y="1679239"/>
                  <a:pt x="1710404" y="2274623"/>
                </a:cubicBezTo>
                <a:close/>
                <a:moveTo>
                  <a:pt x="3801785" y="2274623"/>
                </a:moveTo>
                <a:cubicBezTo>
                  <a:pt x="3801785" y="2732585"/>
                  <a:pt x="3420142" y="3083700"/>
                  <a:pt x="3007971" y="3083700"/>
                </a:cubicBezTo>
                <a:cubicBezTo>
                  <a:pt x="2488858" y="3083700"/>
                  <a:pt x="2091999" y="2732585"/>
                  <a:pt x="2091999" y="1999827"/>
                </a:cubicBezTo>
                <a:cubicBezTo>
                  <a:pt x="2091999" y="1053375"/>
                  <a:pt x="2824781" y="167955"/>
                  <a:pt x="3939159" y="29"/>
                </a:cubicBezTo>
                <a:lnTo>
                  <a:pt x="4000238" y="259585"/>
                </a:lnTo>
                <a:cubicBezTo>
                  <a:pt x="3114818" y="473255"/>
                  <a:pt x="2778918" y="1068639"/>
                  <a:pt x="2778918" y="1465546"/>
                </a:cubicBezTo>
                <a:cubicBezTo>
                  <a:pt x="3267480" y="1358675"/>
                  <a:pt x="3801785" y="1679239"/>
                  <a:pt x="3801785" y="2274623"/>
                </a:cubicBezTo>
                <a:close/>
              </a:path>
            </a:pathLst>
          </a:custGeom>
          <a:solidFill>
            <a:schemeClr val="accent3"/>
          </a:solidFill>
          <a:ln w="2381" cap="flat">
            <a:noFill/>
            <a:prstDash val="solid"/>
            <a:miter/>
          </a:ln>
        </p:spPr>
        <p:txBody>
          <a:bodyPr rtlCol="0" anchor="ctr"/>
          <a:lstStyle/>
          <a:p>
            <a:endParaRPr lang="en-GB" dirty="0"/>
          </a:p>
        </p:txBody>
      </p:sp>
      <p:sp>
        <p:nvSpPr>
          <p:cNvPr id="20" name="Closing Quote">
            <a:extLst>
              <a:ext uri="{FF2B5EF4-FFF2-40B4-BE49-F238E27FC236}">
                <a16:creationId xmlns:a16="http://schemas.microsoft.com/office/drawing/2014/main" id="{76DE9EC9-E3B5-4208-8CB4-F198CB66496D}"/>
              </a:ext>
            </a:extLst>
          </p:cNvPr>
          <p:cNvSpPr>
            <a:spLocks noChangeAspect="1"/>
          </p:cNvSpPr>
          <p:nvPr userDrawn="1"/>
        </p:nvSpPr>
        <p:spPr>
          <a:xfrm>
            <a:off x="10755694" y="2664569"/>
            <a:ext cx="923544" cy="712044"/>
          </a:xfrm>
          <a:custGeom>
            <a:avLst/>
            <a:gdLst>
              <a:gd name="connsiteX0" fmla="*/ 712045 w 923544"/>
              <a:gd name="connsiteY0" fmla="*/ 0 h 712044"/>
              <a:gd name="connsiteX1" fmla="*/ 923544 w 923544"/>
              <a:gd name="connsiteY1" fmla="*/ 250275 h 712044"/>
              <a:gd name="connsiteX2" fmla="*/ 497004 w 923544"/>
              <a:gd name="connsiteY2" fmla="*/ 712044 h 712044"/>
              <a:gd name="connsiteX3" fmla="*/ 482906 w 923544"/>
              <a:gd name="connsiteY3" fmla="*/ 652111 h 712044"/>
              <a:gd name="connsiteX4" fmla="*/ 764918 w 923544"/>
              <a:gd name="connsiteY4" fmla="*/ 373645 h 712044"/>
              <a:gd name="connsiteX5" fmla="*/ 528741 w 923544"/>
              <a:gd name="connsiteY5" fmla="*/ 186823 h 712044"/>
              <a:gd name="connsiteX6" fmla="*/ 712045 w 923544"/>
              <a:gd name="connsiteY6" fmla="*/ 0 h 712044"/>
              <a:gd name="connsiteX7" fmla="*/ 229122 w 923544"/>
              <a:gd name="connsiteY7" fmla="*/ 0 h 712044"/>
              <a:gd name="connsiteX8" fmla="*/ 440628 w 923544"/>
              <a:gd name="connsiteY8" fmla="*/ 250275 h 712044"/>
              <a:gd name="connsiteX9" fmla="*/ 14103 w 923544"/>
              <a:gd name="connsiteY9" fmla="*/ 712044 h 712044"/>
              <a:gd name="connsiteX10" fmla="*/ 0 w 923544"/>
              <a:gd name="connsiteY10" fmla="*/ 652111 h 712044"/>
              <a:gd name="connsiteX11" fmla="*/ 282013 w 923544"/>
              <a:gd name="connsiteY11" fmla="*/ 373645 h 712044"/>
              <a:gd name="connsiteX12" fmla="*/ 45824 w 923544"/>
              <a:gd name="connsiteY12" fmla="*/ 186823 h 712044"/>
              <a:gd name="connsiteX13" fmla="*/ 229122 w 923544"/>
              <a:gd name="connsiteY13" fmla="*/ 0 h 71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3544" h="712044">
                <a:moveTo>
                  <a:pt x="712045" y="0"/>
                </a:moveTo>
                <a:cubicBezTo>
                  <a:pt x="831912" y="0"/>
                  <a:pt x="923544" y="81076"/>
                  <a:pt x="923544" y="250275"/>
                </a:cubicBezTo>
                <a:cubicBezTo>
                  <a:pt x="923544" y="468818"/>
                  <a:pt x="754334" y="673269"/>
                  <a:pt x="497004" y="712044"/>
                </a:cubicBezTo>
                <a:lnTo>
                  <a:pt x="482906" y="652111"/>
                </a:lnTo>
                <a:cubicBezTo>
                  <a:pt x="687367" y="602773"/>
                  <a:pt x="764918" y="465294"/>
                  <a:pt x="764918" y="373645"/>
                </a:cubicBezTo>
                <a:cubicBezTo>
                  <a:pt x="652117" y="398322"/>
                  <a:pt x="528741" y="324301"/>
                  <a:pt x="528741" y="186823"/>
                </a:cubicBezTo>
                <a:cubicBezTo>
                  <a:pt x="528741" y="81076"/>
                  <a:pt x="616866" y="0"/>
                  <a:pt x="712045" y="0"/>
                </a:cubicBezTo>
                <a:close/>
                <a:moveTo>
                  <a:pt x="229122" y="0"/>
                </a:moveTo>
                <a:cubicBezTo>
                  <a:pt x="348990" y="0"/>
                  <a:pt x="440628" y="81076"/>
                  <a:pt x="440628" y="250275"/>
                </a:cubicBezTo>
                <a:cubicBezTo>
                  <a:pt x="440628" y="468818"/>
                  <a:pt x="271423" y="673269"/>
                  <a:pt x="14103" y="712044"/>
                </a:cubicBezTo>
                <a:lnTo>
                  <a:pt x="0" y="652111"/>
                </a:lnTo>
                <a:cubicBezTo>
                  <a:pt x="204450" y="602773"/>
                  <a:pt x="282013" y="465294"/>
                  <a:pt x="282013" y="373645"/>
                </a:cubicBezTo>
                <a:cubicBezTo>
                  <a:pt x="169199" y="398322"/>
                  <a:pt x="45824" y="324301"/>
                  <a:pt x="45824" y="186823"/>
                </a:cubicBezTo>
                <a:cubicBezTo>
                  <a:pt x="45824" y="81076"/>
                  <a:pt x="133948" y="0"/>
                  <a:pt x="229122"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0" rIns="45720" bIns="0" rtlCol="0" anchor="ctr">
            <a:noAutofit/>
          </a:bodyPr>
          <a:lstStyle/>
          <a:p>
            <a:pPr algn="ctr">
              <a:spcAft>
                <a:spcPts val="300"/>
              </a:spcAft>
            </a:pPr>
            <a:endParaRPr lang="en-GB" dirty="0">
              <a:solidFill>
                <a:schemeClr val="bg1"/>
              </a:solidFill>
            </a:endParaRPr>
          </a:p>
        </p:txBody>
      </p:sp>
    </p:spTree>
    <p:extLst>
      <p:ext uri="{BB962C8B-B14F-4D97-AF65-F5344CB8AC3E}">
        <p14:creationId xmlns:p14="http://schemas.microsoft.com/office/powerpoint/2010/main" val="152106568"/>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ext Quote 2">
    <p:bg>
      <p:bgPr>
        <a:solidFill>
          <a:schemeClr val="tx1"/>
        </a:solidFill>
        <a:effectLst/>
      </p:bgPr>
    </p:bg>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75403291-4461-41FB-9C05-5D224A319BFE}"/>
              </a:ext>
            </a:extLst>
          </p:cNvPr>
          <p:cNvSpPr>
            <a:spLocks noGrp="1"/>
          </p:cNvSpPr>
          <p:nvPr>
            <p:ph type="body" sz="quarter" idx="46"/>
          </p:nvPr>
        </p:nvSpPr>
        <p:spPr>
          <a:xfrm>
            <a:off x="504470" y="1556659"/>
            <a:ext cx="1687299" cy="243656"/>
          </a:xfrm>
          <a:prstGeom prst="rect">
            <a:avLst/>
          </a:prstGeom>
        </p:spPr>
        <p:txBody>
          <a:bodyPr anchor="b"/>
          <a:lstStyle>
            <a:lvl1pPr marL="7701" algn="l" defTabSz="554492" rtl="0" eaLnBrk="1" latinLnBrk="0" hangingPunct="1">
              <a:lnSpc>
                <a:spcPct val="100000"/>
              </a:lnSpc>
              <a:spcBef>
                <a:spcPts val="61"/>
              </a:spcBef>
              <a:defRPr lang="en-US" sz="1698" b="1" i="0" kern="0" dirty="0">
                <a:solidFill>
                  <a:srgbClr val="CAD1D2"/>
                </a:solidFill>
                <a:latin typeface="Calibre-Semibold"/>
                <a:ea typeface="+mj-ea"/>
                <a:cs typeface="Calibre-Semibold"/>
              </a:defRPr>
            </a:lvl1pPr>
          </a:lstStyle>
          <a:p>
            <a:pPr lvl="0"/>
            <a:r>
              <a:rPr lang="en-GB"/>
              <a:t>Click to edit Master text styles</a:t>
            </a:r>
          </a:p>
        </p:txBody>
      </p:sp>
      <p:sp>
        <p:nvSpPr>
          <p:cNvPr id="9" name="Text Placeholder 10">
            <a:extLst>
              <a:ext uri="{FF2B5EF4-FFF2-40B4-BE49-F238E27FC236}">
                <a16:creationId xmlns:a16="http://schemas.microsoft.com/office/drawing/2014/main" id="{F20A762D-6EE7-4EA9-A463-536C42903C04}"/>
              </a:ext>
            </a:extLst>
          </p:cNvPr>
          <p:cNvSpPr>
            <a:spLocks noGrp="1"/>
          </p:cNvSpPr>
          <p:nvPr>
            <p:ph type="body" sz="quarter" idx="16"/>
          </p:nvPr>
        </p:nvSpPr>
        <p:spPr>
          <a:xfrm>
            <a:off x="504470" y="1811550"/>
            <a:ext cx="1687299" cy="243656"/>
          </a:xfrm>
          <a:prstGeom prst="rect">
            <a:avLst/>
          </a:prstGeom>
        </p:spPr>
        <p:txBody>
          <a:bodyPr tIns="0"/>
          <a:lstStyle>
            <a:lvl1pPr marL="7701" algn="l" defTabSz="554492" rtl="0" eaLnBrk="1" latinLnBrk="0" hangingPunct="1">
              <a:lnSpc>
                <a:spcPts val="1868"/>
              </a:lnSpc>
              <a:defRPr lang="en-US" sz="1698" b="0" i="0" kern="0" dirty="0">
                <a:solidFill>
                  <a:srgbClr val="CAD1D2"/>
                </a:solidFill>
                <a:latin typeface="Calibre"/>
                <a:ea typeface="+mj-ea"/>
                <a:cs typeface="Calibre"/>
              </a:defRPr>
            </a:lvl1pPr>
          </a:lstStyle>
          <a:p>
            <a:pPr lvl="0"/>
            <a:r>
              <a:rPr lang="en-GB"/>
              <a:t>Click to edit Master text styles</a:t>
            </a:r>
          </a:p>
        </p:txBody>
      </p:sp>
      <p:sp>
        <p:nvSpPr>
          <p:cNvPr id="10" name="Title 16">
            <a:extLst>
              <a:ext uri="{FF2B5EF4-FFF2-40B4-BE49-F238E27FC236}">
                <a16:creationId xmlns:a16="http://schemas.microsoft.com/office/drawing/2014/main" id="{9FAFE378-6B41-4CCA-BF34-5E1D9ACE1F13}"/>
              </a:ext>
            </a:extLst>
          </p:cNvPr>
          <p:cNvSpPr>
            <a:spLocks noGrp="1"/>
          </p:cNvSpPr>
          <p:nvPr>
            <p:ph type="title"/>
          </p:nvPr>
        </p:nvSpPr>
        <p:spPr>
          <a:xfrm>
            <a:off x="4097866" y="1318057"/>
            <a:ext cx="6557434" cy="4034991"/>
          </a:xfrm>
        </p:spPr>
        <p:txBody>
          <a:bodyPr tIns="0"/>
          <a:lstStyle>
            <a:lvl1pPr>
              <a:defRPr sz="7600">
                <a:solidFill>
                  <a:srgbClr val="CAD1D2"/>
                </a:solidFill>
              </a:defRPr>
            </a:lvl1pPr>
          </a:lstStyle>
          <a:p>
            <a:r>
              <a:rPr lang="en-GB"/>
              <a:t>Click to edit Master title style</a:t>
            </a:r>
          </a:p>
        </p:txBody>
      </p:sp>
      <p:sp>
        <p:nvSpPr>
          <p:cNvPr id="17" name="TextBox 16">
            <a:extLst>
              <a:ext uri="{FF2B5EF4-FFF2-40B4-BE49-F238E27FC236}">
                <a16:creationId xmlns:a16="http://schemas.microsoft.com/office/drawing/2014/main" id="{A6AD595E-9438-4AA7-AE3E-7A280FAB771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18" name="TextBox 17">
            <a:extLst>
              <a:ext uri="{FF2B5EF4-FFF2-40B4-BE49-F238E27FC236}">
                <a16:creationId xmlns:a16="http://schemas.microsoft.com/office/drawing/2014/main" id="{176FE298-427E-4552-BF1F-AEEAA2F48BA5}"/>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20" name="Opening Quote">
            <a:extLst>
              <a:ext uri="{FF2B5EF4-FFF2-40B4-BE49-F238E27FC236}">
                <a16:creationId xmlns:a16="http://schemas.microsoft.com/office/drawing/2014/main" id="{58D3F7D6-A2FF-45F1-88DD-CDA086CC8602}"/>
              </a:ext>
            </a:extLst>
          </p:cNvPr>
          <p:cNvSpPr>
            <a:spLocks noChangeAspect="1"/>
          </p:cNvSpPr>
          <p:nvPr userDrawn="1"/>
        </p:nvSpPr>
        <p:spPr>
          <a:xfrm>
            <a:off x="4100610" y="353034"/>
            <a:ext cx="685800" cy="528746"/>
          </a:xfrm>
          <a:custGeom>
            <a:avLst/>
            <a:gdLst>
              <a:gd name="connsiteX0" fmla="*/ 1710404 w 3999618"/>
              <a:gd name="connsiteY0" fmla="*/ 2274623 h 3083671"/>
              <a:gd name="connsiteX1" fmla="*/ 916567 w 3999618"/>
              <a:gd name="connsiteY1" fmla="*/ 3083700 h 3083671"/>
              <a:gd name="connsiteX2" fmla="*/ 619 w 3999618"/>
              <a:gd name="connsiteY2" fmla="*/ 1999827 h 3083671"/>
              <a:gd name="connsiteX3" fmla="*/ 1847850 w 3999618"/>
              <a:gd name="connsiteY3" fmla="*/ 29 h 3083671"/>
              <a:gd name="connsiteX4" fmla="*/ 1908905 w 3999618"/>
              <a:gd name="connsiteY4" fmla="*/ 259585 h 3083671"/>
              <a:gd name="connsiteX5" fmla="*/ 687586 w 3999618"/>
              <a:gd name="connsiteY5" fmla="*/ 1465546 h 3083671"/>
              <a:gd name="connsiteX6" fmla="*/ 1710404 w 3999618"/>
              <a:gd name="connsiteY6" fmla="*/ 2274623 h 3083671"/>
              <a:gd name="connsiteX7" fmla="*/ 3801785 w 3999618"/>
              <a:gd name="connsiteY7" fmla="*/ 2274623 h 3083671"/>
              <a:gd name="connsiteX8" fmla="*/ 3007971 w 3999618"/>
              <a:gd name="connsiteY8" fmla="*/ 3083700 h 3083671"/>
              <a:gd name="connsiteX9" fmla="*/ 2091999 w 3999618"/>
              <a:gd name="connsiteY9" fmla="*/ 1999827 h 3083671"/>
              <a:gd name="connsiteX10" fmla="*/ 3939159 w 3999618"/>
              <a:gd name="connsiteY10" fmla="*/ 29 h 3083671"/>
              <a:gd name="connsiteX11" fmla="*/ 4000238 w 3999618"/>
              <a:gd name="connsiteY11" fmla="*/ 259585 h 3083671"/>
              <a:gd name="connsiteX12" fmla="*/ 2778918 w 3999618"/>
              <a:gd name="connsiteY12" fmla="*/ 1465546 h 3083671"/>
              <a:gd name="connsiteX13" fmla="*/ 3801785 w 3999618"/>
              <a:gd name="connsiteY13" fmla="*/ 2274623 h 3083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99618" h="3083671">
                <a:moveTo>
                  <a:pt x="1710404" y="2274623"/>
                </a:moveTo>
                <a:cubicBezTo>
                  <a:pt x="1710404" y="2732585"/>
                  <a:pt x="1328761" y="3083700"/>
                  <a:pt x="916567" y="3083700"/>
                </a:cubicBezTo>
                <a:cubicBezTo>
                  <a:pt x="397454" y="3083700"/>
                  <a:pt x="619" y="2732585"/>
                  <a:pt x="619" y="1999827"/>
                </a:cubicBezTo>
                <a:cubicBezTo>
                  <a:pt x="619" y="1053375"/>
                  <a:pt x="733425" y="167955"/>
                  <a:pt x="1847850" y="29"/>
                </a:cubicBezTo>
                <a:lnTo>
                  <a:pt x="1908905" y="259585"/>
                </a:lnTo>
                <a:cubicBezTo>
                  <a:pt x="1023437" y="473255"/>
                  <a:pt x="687586" y="1068639"/>
                  <a:pt x="687586" y="1465546"/>
                </a:cubicBezTo>
                <a:cubicBezTo>
                  <a:pt x="1176099" y="1358675"/>
                  <a:pt x="1710404" y="1679239"/>
                  <a:pt x="1710404" y="2274623"/>
                </a:cubicBezTo>
                <a:close/>
                <a:moveTo>
                  <a:pt x="3801785" y="2274623"/>
                </a:moveTo>
                <a:cubicBezTo>
                  <a:pt x="3801785" y="2732585"/>
                  <a:pt x="3420142" y="3083700"/>
                  <a:pt x="3007971" y="3083700"/>
                </a:cubicBezTo>
                <a:cubicBezTo>
                  <a:pt x="2488858" y="3083700"/>
                  <a:pt x="2091999" y="2732585"/>
                  <a:pt x="2091999" y="1999827"/>
                </a:cubicBezTo>
                <a:cubicBezTo>
                  <a:pt x="2091999" y="1053375"/>
                  <a:pt x="2824781" y="167955"/>
                  <a:pt x="3939159" y="29"/>
                </a:cubicBezTo>
                <a:lnTo>
                  <a:pt x="4000238" y="259585"/>
                </a:lnTo>
                <a:cubicBezTo>
                  <a:pt x="3114818" y="473255"/>
                  <a:pt x="2778918" y="1068639"/>
                  <a:pt x="2778918" y="1465546"/>
                </a:cubicBezTo>
                <a:cubicBezTo>
                  <a:pt x="3267480" y="1358675"/>
                  <a:pt x="3801785" y="1679239"/>
                  <a:pt x="3801785" y="2274623"/>
                </a:cubicBezTo>
                <a:close/>
              </a:path>
            </a:pathLst>
          </a:custGeom>
          <a:solidFill>
            <a:schemeClr val="accent3"/>
          </a:solidFill>
          <a:ln w="2381" cap="flat">
            <a:noFill/>
            <a:prstDash val="solid"/>
            <a:miter/>
          </a:ln>
        </p:spPr>
        <p:txBody>
          <a:bodyPr rtlCol="0" anchor="ctr"/>
          <a:lstStyle/>
          <a:p>
            <a:endParaRPr lang="en-GB" dirty="0"/>
          </a:p>
        </p:txBody>
      </p:sp>
      <p:sp>
        <p:nvSpPr>
          <p:cNvPr id="21" name="Closing Quote">
            <a:extLst>
              <a:ext uri="{FF2B5EF4-FFF2-40B4-BE49-F238E27FC236}">
                <a16:creationId xmlns:a16="http://schemas.microsoft.com/office/drawing/2014/main" id="{110AA37A-696F-461E-9566-F396BE874D7F}"/>
              </a:ext>
            </a:extLst>
          </p:cNvPr>
          <p:cNvSpPr>
            <a:spLocks noChangeAspect="1"/>
          </p:cNvSpPr>
          <p:nvPr userDrawn="1"/>
        </p:nvSpPr>
        <p:spPr>
          <a:xfrm>
            <a:off x="4097866" y="5843674"/>
            <a:ext cx="685800" cy="528746"/>
          </a:xfrm>
          <a:custGeom>
            <a:avLst/>
            <a:gdLst>
              <a:gd name="connsiteX0" fmla="*/ 712045 w 923544"/>
              <a:gd name="connsiteY0" fmla="*/ 0 h 712044"/>
              <a:gd name="connsiteX1" fmla="*/ 923544 w 923544"/>
              <a:gd name="connsiteY1" fmla="*/ 250275 h 712044"/>
              <a:gd name="connsiteX2" fmla="*/ 497004 w 923544"/>
              <a:gd name="connsiteY2" fmla="*/ 712044 h 712044"/>
              <a:gd name="connsiteX3" fmla="*/ 482906 w 923544"/>
              <a:gd name="connsiteY3" fmla="*/ 652111 h 712044"/>
              <a:gd name="connsiteX4" fmla="*/ 764918 w 923544"/>
              <a:gd name="connsiteY4" fmla="*/ 373645 h 712044"/>
              <a:gd name="connsiteX5" fmla="*/ 528741 w 923544"/>
              <a:gd name="connsiteY5" fmla="*/ 186823 h 712044"/>
              <a:gd name="connsiteX6" fmla="*/ 712045 w 923544"/>
              <a:gd name="connsiteY6" fmla="*/ 0 h 712044"/>
              <a:gd name="connsiteX7" fmla="*/ 229122 w 923544"/>
              <a:gd name="connsiteY7" fmla="*/ 0 h 712044"/>
              <a:gd name="connsiteX8" fmla="*/ 440628 w 923544"/>
              <a:gd name="connsiteY8" fmla="*/ 250275 h 712044"/>
              <a:gd name="connsiteX9" fmla="*/ 14103 w 923544"/>
              <a:gd name="connsiteY9" fmla="*/ 712044 h 712044"/>
              <a:gd name="connsiteX10" fmla="*/ 0 w 923544"/>
              <a:gd name="connsiteY10" fmla="*/ 652111 h 712044"/>
              <a:gd name="connsiteX11" fmla="*/ 282013 w 923544"/>
              <a:gd name="connsiteY11" fmla="*/ 373645 h 712044"/>
              <a:gd name="connsiteX12" fmla="*/ 45824 w 923544"/>
              <a:gd name="connsiteY12" fmla="*/ 186823 h 712044"/>
              <a:gd name="connsiteX13" fmla="*/ 229122 w 923544"/>
              <a:gd name="connsiteY13" fmla="*/ 0 h 71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3544" h="712044">
                <a:moveTo>
                  <a:pt x="712045" y="0"/>
                </a:moveTo>
                <a:cubicBezTo>
                  <a:pt x="831912" y="0"/>
                  <a:pt x="923544" y="81076"/>
                  <a:pt x="923544" y="250275"/>
                </a:cubicBezTo>
                <a:cubicBezTo>
                  <a:pt x="923544" y="468818"/>
                  <a:pt x="754334" y="673269"/>
                  <a:pt x="497004" y="712044"/>
                </a:cubicBezTo>
                <a:lnTo>
                  <a:pt x="482906" y="652111"/>
                </a:lnTo>
                <a:cubicBezTo>
                  <a:pt x="687367" y="602773"/>
                  <a:pt x="764918" y="465294"/>
                  <a:pt x="764918" y="373645"/>
                </a:cubicBezTo>
                <a:cubicBezTo>
                  <a:pt x="652117" y="398322"/>
                  <a:pt x="528741" y="324301"/>
                  <a:pt x="528741" y="186823"/>
                </a:cubicBezTo>
                <a:cubicBezTo>
                  <a:pt x="528741" y="81076"/>
                  <a:pt x="616866" y="0"/>
                  <a:pt x="712045" y="0"/>
                </a:cubicBezTo>
                <a:close/>
                <a:moveTo>
                  <a:pt x="229122" y="0"/>
                </a:moveTo>
                <a:cubicBezTo>
                  <a:pt x="348990" y="0"/>
                  <a:pt x="440628" y="81076"/>
                  <a:pt x="440628" y="250275"/>
                </a:cubicBezTo>
                <a:cubicBezTo>
                  <a:pt x="440628" y="468818"/>
                  <a:pt x="271423" y="673269"/>
                  <a:pt x="14103" y="712044"/>
                </a:cubicBezTo>
                <a:lnTo>
                  <a:pt x="0" y="652111"/>
                </a:lnTo>
                <a:cubicBezTo>
                  <a:pt x="204450" y="602773"/>
                  <a:pt x="282013" y="465294"/>
                  <a:pt x="282013" y="373645"/>
                </a:cubicBezTo>
                <a:cubicBezTo>
                  <a:pt x="169199" y="398322"/>
                  <a:pt x="45824" y="324301"/>
                  <a:pt x="45824" y="186823"/>
                </a:cubicBezTo>
                <a:cubicBezTo>
                  <a:pt x="45824" y="81076"/>
                  <a:pt x="133948" y="0"/>
                  <a:pt x="229122"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0" rIns="45720" bIns="0" rtlCol="0" anchor="ctr">
            <a:noAutofit/>
          </a:bodyPr>
          <a:lstStyle/>
          <a:p>
            <a:pPr algn="ctr">
              <a:spcAft>
                <a:spcPts val="300"/>
              </a:spcAft>
            </a:pPr>
            <a:endParaRPr lang="en-GB" dirty="0">
              <a:solidFill>
                <a:schemeClr val="bg1"/>
              </a:solidFill>
            </a:endParaRPr>
          </a:p>
        </p:txBody>
      </p:sp>
    </p:spTree>
    <p:extLst>
      <p:ext uri="{BB962C8B-B14F-4D97-AF65-F5344CB8AC3E}">
        <p14:creationId xmlns:p14="http://schemas.microsoft.com/office/powerpoint/2010/main" val="2187835031"/>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ext Quote 3">
    <p:bg>
      <p:bgPr>
        <a:solidFill>
          <a:schemeClr val="tx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536700" y="3092809"/>
            <a:ext cx="9118600" cy="637097"/>
          </a:xfrm>
          <a:prstGeom prst="rect">
            <a:avLst/>
          </a:prstGeom>
        </p:spPr>
        <p:txBody>
          <a:bodyPr wrap="square" lIns="0" tIns="0" rIns="0" bIns="0" anchor="b">
            <a:spAutoFit/>
          </a:bodyPr>
          <a:lstStyle>
            <a:lvl1pPr algn="ctr">
              <a:lnSpc>
                <a:spcPct val="90000"/>
              </a:lnSpc>
              <a:defRPr sz="4600" b="0" i="0">
                <a:solidFill>
                  <a:srgbClr val="CAD1D2"/>
                </a:solidFill>
                <a:latin typeface="Financier Display"/>
                <a:cs typeface="Financier Display"/>
              </a:defRPr>
            </a:lvl1pPr>
          </a:lstStyle>
          <a:p>
            <a:r>
              <a:rPr lang="en-GB"/>
              <a:t>Click to edit Master title style</a:t>
            </a:r>
          </a:p>
        </p:txBody>
      </p:sp>
      <p:sp>
        <p:nvSpPr>
          <p:cNvPr id="16" name="Text Placeholder 10">
            <a:extLst>
              <a:ext uri="{FF2B5EF4-FFF2-40B4-BE49-F238E27FC236}">
                <a16:creationId xmlns:a16="http://schemas.microsoft.com/office/drawing/2014/main" id="{5750BA3A-52DC-41A4-A658-8078E25D0140}"/>
              </a:ext>
            </a:extLst>
          </p:cNvPr>
          <p:cNvSpPr>
            <a:spLocks noGrp="1"/>
          </p:cNvSpPr>
          <p:nvPr>
            <p:ph type="body" sz="quarter" idx="46" hasCustomPrompt="1"/>
          </p:nvPr>
        </p:nvSpPr>
        <p:spPr>
          <a:xfrm>
            <a:off x="8707438" y="4102100"/>
            <a:ext cx="1946276" cy="1590928"/>
          </a:xfrm>
          <a:prstGeom prst="rect">
            <a:avLst/>
          </a:prstGeom>
        </p:spPr>
        <p:txBody>
          <a:bodyPr anchor="t"/>
          <a:lstStyle>
            <a:lvl1pPr marL="7701" algn="r" defTabSz="554492" rtl="0" eaLnBrk="1" latinLnBrk="0" hangingPunct="1">
              <a:lnSpc>
                <a:spcPct val="90000"/>
              </a:lnSpc>
              <a:spcBef>
                <a:spcPts val="0"/>
              </a:spcBef>
              <a:spcAft>
                <a:spcPts val="0"/>
              </a:spcAft>
              <a:defRPr lang="en-US" sz="1700" b="0" i="0" kern="0" dirty="0">
                <a:solidFill>
                  <a:srgbClr val="CAD1D2"/>
                </a:solidFill>
                <a:latin typeface="Calibre-Semibold"/>
                <a:ea typeface="+mj-ea"/>
                <a:cs typeface="Calibre-Semibold"/>
              </a:defRPr>
            </a:lvl1pPr>
            <a:lvl2pPr algn="r">
              <a:lnSpc>
                <a:spcPct val="90000"/>
              </a:lnSpc>
              <a:spcAft>
                <a:spcPts val="0"/>
              </a:spcAft>
              <a:defRPr sz="1700">
                <a:solidFill>
                  <a:srgbClr val="CAD0D2"/>
                </a:solidFill>
                <a:latin typeface="+mn-lt"/>
              </a:defRPr>
            </a:lvl2pPr>
          </a:lstStyle>
          <a:p>
            <a:pPr lvl="0"/>
            <a:r>
              <a:rPr lang="en-GB"/>
              <a:t>Name</a:t>
            </a:r>
          </a:p>
          <a:p>
            <a:pPr lvl="1"/>
            <a:r>
              <a:rPr lang="en-GB"/>
              <a:t>Title</a:t>
            </a:r>
          </a:p>
        </p:txBody>
      </p:sp>
      <p:sp>
        <p:nvSpPr>
          <p:cNvPr id="14" name="TextBox 13">
            <a:extLst>
              <a:ext uri="{FF2B5EF4-FFF2-40B4-BE49-F238E27FC236}">
                <a16:creationId xmlns:a16="http://schemas.microsoft.com/office/drawing/2014/main" id="{1A4E8BEF-6622-4062-86F9-CE4DE20D0529}"/>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15" name="TextBox 14">
            <a:extLst>
              <a:ext uri="{FF2B5EF4-FFF2-40B4-BE49-F238E27FC236}">
                <a16:creationId xmlns:a16="http://schemas.microsoft.com/office/drawing/2014/main" id="{68AB1674-9492-4197-834A-32CF410DC24A}"/>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18" name="Opening Quote">
            <a:extLst>
              <a:ext uri="{FF2B5EF4-FFF2-40B4-BE49-F238E27FC236}">
                <a16:creationId xmlns:a16="http://schemas.microsoft.com/office/drawing/2014/main" id="{D6269C3F-E0E2-4BBC-9F9B-F8999172E0EF}"/>
              </a:ext>
            </a:extLst>
          </p:cNvPr>
          <p:cNvSpPr>
            <a:spLocks noChangeAspect="1"/>
          </p:cNvSpPr>
          <p:nvPr userDrawn="1"/>
        </p:nvSpPr>
        <p:spPr>
          <a:xfrm>
            <a:off x="578066" y="2229136"/>
            <a:ext cx="685800" cy="528746"/>
          </a:xfrm>
          <a:custGeom>
            <a:avLst/>
            <a:gdLst>
              <a:gd name="connsiteX0" fmla="*/ 1710404 w 3999618"/>
              <a:gd name="connsiteY0" fmla="*/ 2274623 h 3083671"/>
              <a:gd name="connsiteX1" fmla="*/ 916567 w 3999618"/>
              <a:gd name="connsiteY1" fmla="*/ 3083700 h 3083671"/>
              <a:gd name="connsiteX2" fmla="*/ 619 w 3999618"/>
              <a:gd name="connsiteY2" fmla="*/ 1999827 h 3083671"/>
              <a:gd name="connsiteX3" fmla="*/ 1847850 w 3999618"/>
              <a:gd name="connsiteY3" fmla="*/ 29 h 3083671"/>
              <a:gd name="connsiteX4" fmla="*/ 1908905 w 3999618"/>
              <a:gd name="connsiteY4" fmla="*/ 259585 h 3083671"/>
              <a:gd name="connsiteX5" fmla="*/ 687586 w 3999618"/>
              <a:gd name="connsiteY5" fmla="*/ 1465546 h 3083671"/>
              <a:gd name="connsiteX6" fmla="*/ 1710404 w 3999618"/>
              <a:gd name="connsiteY6" fmla="*/ 2274623 h 3083671"/>
              <a:gd name="connsiteX7" fmla="*/ 3801785 w 3999618"/>
              <a:gd name="connsiteY7" fmla="*/ 2274623 h 3083671"/>
              <a:gd name="connsiteX8" fmla="*/ 3007971 w 3999618"/>
              <a:gd name="connsiteY8" fmla="*/ 3083700 h 3083671"/>
              <a:gd name="connsiteX9" fmla="*/ 2091999 w 3999618"/>
              <a:gd name="connsiteY9" fmla="*/ 1999827 h 3083671"/>
              <a:gd name="connsiteX10" fmla="*/ 3939159 w 3999618"/>
              <a:gd name="connsiteY10" fmla="*/ 29 h 3083671"/>
              <a:gd name="connsiteX11" fmla="*/ 4000238 w 3999618"/>
              <a:gd name="connsiteY11" fmla="*/ 259585 h 3083671"/>
              <a:gd name="connsiteX12" fmla="*/ 2778918 w 3999618"/>
              <a:gd name="connsiteY12" fmla="*/ 1465546 h 3083671"/>
              <a:gd name="connsiteX13" fmla="*/ 3801785 w 3999618"/>
              <a:gd name="connsiteY13" fmla="*/ 2274623 h 3083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99618" h="3083671">
                <a:moveTo>
                  <a:pt x="1710404" y="2274623"/>
                </a:moveTo>
                <a:cubicBezTo>
                  <a:pt x="1710404" y="2732585"/>
                  <a:pt x="1328761" y="3083700"/>
                  <a:pt x="916567" y="3083700"/>
                </a:cubicBezTo>
                <a:cubicBezTo>
                  <a:pt x="397454" y="3083700"/>
                  <a:pt x="619" y="2732585"/>
                  <a:pt x="619" y="1999827"/>
                </a:cubicBezTo>
                <a:cubicBezTo>
                  <a:pt x="619" y="1053375"/>
                  <a:pt x="733425" y="167955"/>
                  <a:pt x="1847850" y="29"/>
                </a:cubicBezTo>
                <a:lnTo>
                  <a:pt x="1908905" y="259585"/>
                </a:lnTo>
                <a:cubicBezTo>
                  <a:pt x="1023437" y="473255"/>
                  <a:pt x="687586" y="1068639"/>
                  <a:pt x="687586" y="1465546"/>
                </a:cubicBezTo>
                <a:cubicBezTo>
                  <a:pt x="1176099" y="1358675"/>
                  <a:pt x="1710404" y="1679239"/>
                  <a:pt x="1710404" y="2274623"/>
                </a:cubicBezTo>
                <a:close/>
                <a:moveTo>
                  <a:pt x="3801785" y="2274623"/>
                </a:moveTo>
                <a:cubicBezTo>
                  <a:pt x="3801785" y="2732585"/>
                  <a:pt x="3420142" y="3083700"/>
                  <a:pt x="3007971" y="3083700"/>
                </a:cubicBezTo>
                <a:cubicBezTo>
                  <a:pt x="2488858" y="3083700"/>
                  <a:pt x="2091999" y="2732585"/>
                  <a:pt x="2091999" y="1999827"/>
                </a:cubicBezTo>
                <a:cubicBezTo>
                  <a:pt x="2091999" y="1053375"/>
                  <a:pt x="2824781" y="167955"/>
                  <a:pt x="3939159" y="29"/>
                </a:cubicBezTo>
                <a:lnTo>
                  <a:pt x="4000238" y="259585"/>
                </a:lnTo>
                <a:cubicBezTo>
                  <a:pt x="3114818" y="473255"/>
                  <a:pt x="2778918" y="1068639"/>
                  <a:pt x="2778918" y="1465546"/>
                </a:cubicBezTo>
                <a:cubicBezTo>
                  <a:pt x="3267480" y="1358675"/>
                  <a:pt x="3801785" y="1679239"/>
                  <a:pt x="3801785" y="2274623"/>
                </a:cubicBezTo>
                <a:close/>
              </a:path>
            </a:pathLst>
          </a:custGeom>
          <a:solidFill>
            <a:schemeClr val="accent3"/>
          </a:solidFill>
          <a:ln w="2381" cap="flat">
            <a:noFill/>
            <a:prstDash val="solid"/>
            <a:miter/>
          </a:ln>
        </p:spPr>
        <p:txBody>
          <a:bodyPr rtlCol="0" anchor="ctr"/>
          <a:lstStyle/>
          <a:p>
            <a:endParaRPr lang="en-GB" dirty="0"/>
          </a:p>
        </p:txBody>
      </p:sp>
      <p:sp>
        <p:nvSpPr>
          <p:cNvPr id="19" name="Closing Quote">
            <a:extLst>
              <a:ext uri="{FF2B5EF4-FFF2-40B4-BE49-F238E27FC236}">
                <a16:creationId xmlns:a16="http://schemas.microsoft.com/office/drawing/2014/main" id="{9B9B38E5-0096-413E-902E-55D8FAE3C3D7}"/>
              </a:ext>
            </a:extLst>
          </p:cNvPr>
          <p:cNvSpPr>
            <a:spLocks noChangeAspect="1"/>
          </p:cNvSpPr>
          <p:nvPr userDrawn="1"/>
        </p:nvSpPr>
        <p:spPr>
          <a:xfrm>
            <a:off x="11007081" y="4088580"/>
            <a:ext cx="685800" cy="528746"/>
          </a:xfrm>
          <a:custGeom>
            <a:avLst/>
            <a:gdLst>
              <a:gd name="connsiteX0" fmla="*/ 712045 w 923544"/>
              <a:gd name="connsiteY0" fmla="*/ 0 h 712044"/>
              <a:gd name="connsiteX1" fmla="*/ 923544 w 923544"/>
              <a:gd name="connsiteY1" fmla="*/ 250275 h 712044"/>
              <a:gd name="connsiteX2" fmla="*/ 497004 w 923544"/>
              <a:gd name="connsiteY2" fmla="*/ 712044 h 712044"/>
              <a:gd name="connsiteX3" fmla="*/ 482906 w 923544"/>
              <a:gd name="connsiteY3" fmla="*/ 652111 h 712044"/>
              <a:gd name="connsiteX4" fmla="*/ 764918 w 923544"/>
              <a:gd name="connsiteY4" fmla="*/ 373645 h 712044"/>
              <a:gd name="connsiteX5" fmla="*/ 528741 w 923544"/>
              <a:gd name="connsiteY5" fmla="*/ 186823 h 712044"/>
              <a:gd name="connsiteX6" fmla="*/ 712045 w 923544"/>
              <a:gd name="connsiteY6" fmla="*/ 0 h 712044"/>
              <a:gd name="connsiteX7" fmla="*/ 229122 w 923544"/>
              <a:gd name="connsiteY7" fmla="*/ 0 h 712044"/>
              <a:gd name="connsiteX8" fmla="*/ 440628 w 923544"/>
              <a:gd name="connsiteY8" fmla="*/ 250275 h 712044"/>
              <a:gd name="connsiteX9" fmla="*/ 14103 w 923544"/>
              <a:gd name="connsiteY9" fmla="*/ 712044 h 712044"/>
              <a:gd name="connsiteX10" fmla="*/ 0 w 923544"/>
              <a:gd name="connsiteY10" fmla="*/ 652111 h 712044"/>
              <a:gd name="connsiteX11" fmla="*/ 282013 w 923544"/>
              <a:gd name="connsiteY11" fmla="*/ 373645 h 712044"/>
              <a:gd name="connsiteX12" fmla="*/ 45824 w 923544"/>
              <a:gd name="connsiteY12" fmla="*/ 186823 h 712044"/>
              <a:gd name="connsiteX13" fmla="*/ 229122 w 923544"/>
              <a:gd name="connsiteY13" fmla="*/ 0 h 71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3544" h="712044">
                <a:moveTo>
                  <a:pt x="712045" y="0"/>
                </a:moveTo>
                <a:cubicBezTo>
                  <a:pt x="831912" y="0"/>
                  <a:pt x="923544" y="81076"/>
                  <a:pt x="923544" y="250275"/>
                </a:cubicBezTo>
                <a:cubicBezTo>
                  <a:pt x="923544" y="468818"/>
                  <a:pt x="754334" y="673269"/>
                  <a:pt x="497004" y="712044"/>
                </a:cubicBezTo>
                <a:lnTo>
                  <a:pt x="482906" y="652111"/>
                </a:lnTo>
                <a:cubicBezTo>
                  <a:pt x="687367" y="602773"/>
                  <a:pt x="764918" y="465294"/>
                  <a:pt x="764918" y="373645"/>
                </a:cubicBezTo>
                <a:cubicBezTo>
                  <a:pt x="652117" y="398322"/>
                  <a:pt x="528741" y="324301"/>
                  <a:pt x="528741" y="186823"/>
                </a:cubicBezTo>
                <a:cubicBezTo>
                  <a:pt x="528741" y="81076"/>
                  <a:pt x="616866" y="0"/>
                  <a:pt x="712045" y="0"/>
                </a:cubicBezTo>
                <a:close/>
                <a:moveTo>
                  <a:pt x="229122" y="0"/>
                </a:moveTo>
                <a:cubicBezTo>
                  <a:pt x="348990" y="0"/>
                  <a:pt x="440628" y="81076"/>
                  <a:pt x="440628" y="250275"/>
                </a:cubicBezTo>
                <a:cubicBezTo>
                  <a:pt x="440628" y="468818"/>
                  <a:pt x="271423" y="673269"/>
                  <a:pt x="14103" y="712044"/>
                </a:cubicBezTo>
                <a:lnTo>
                  <a:pt x="0" y="652111"/>
                </a:lnTo>
                <a:cubicBezTo>
                  <a:pt x="204450" y="602773"/>
                  <a:pt x="282013" y="465294"/>
                  <a:pt x="282013" y="373645"/>
                </a:cubicBezTo>
                <a:cubicBezTo>
                  <a:pt x="169199" y="398322"/>
                  <a:pt x="45824" y="324301"/>
                  <a:pt x="45824" y="186823"/>
                </a:cubicBezTo>
                <a:cubicBezTo>
                  <a:pt x="45824" y="81076"/>
                  <a:pt x="133948" y="0"/>
                  <a:pt x="229122"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45720" tIns="0" rIns="45720" bIns="0" rtlCol="0" anchor="ctr">
            <a:noAutofit/>
          </a:bodyPr>
          <a:lstStyle/>
          <a:p>
            <a:pPr algn="ctr">
              <a:spcAft>
                <a:spcPts val="300"/>
              </a:spcAft>
            </a:pPr>
            <a:endParaRPr lang="en-GB" dirty="0">
              <a:solidFill>
                <a:schemeClr val="bg1"/>
              </a:solidFill>
            </a:endParaRPr>
          </a:p>
        </p:txBody>
      </p:sp>
    </p:spTree>
    <p:extLst>
      <p:ext uri="{BB962C8B-B14F-4D97-AF65-F5344CB8AC3E}">
        <p14:creationId xmlns:p14="http://schemas.microsoft.com/office/powerpoint/2010/main" val="25206690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mage Quote 1">
    <p:bg>
      <p:bgPr>
        <a:solidFill>
          <a:schemeClr val="tx1"/>
        </a:solidFill>
        <a:effectLst/>
      </p:bgPr>
    </p:bg>
    <p:spTree>
      <p:nvGrpSpPr>
        <p:cNvPr id="1" name=""/>
        <p:cNvGrpSpPr/>
        <p:nvPr/>
      </p:nvGrpSpPr>
      <p:grpSpPr>
        <a:xfrm>
          <a:off x="0" y="0"/>
          <a:ext cx="0" cy="0"/>
          <a:chOff x="0" y="0"/>
          <a:chExt cx="0" cy="0"/>
        </a:xfrm>
      </p:grpSpPr>
      <p:sp>
        <p:nvSpPr>
          <p:cNvPr id="19" name="Picture Placeholder 17">
            <a:extLst>
              <a:ext uri="{FF2B5EF4-FFF2-40B4-BE49-F238E27FC236}">
                <a16:creationId xmlns:a16="http://schemas.microsoft.com/office/drawing/2014/main" id="{0AE1B65D-6907-E54F-BB4B-C41AFAAE8186}"/>
              </a:ext>
            </a:extLst>
          </p:cNvPr>
          <p:cNvSpPr>
            <a:spLocks noGrp="1"/>
          </p:cNvSpPr>
          <p:nvPr>
            <p:ph type="pic" sz="quarter" idx="12"/>
          </p:nvPr>
        </p:nvSpPr>
        <p:spPr>
          <a:xfrm>
            <a:off x="511175" y="457200"/>
            <a:ext cx="9118600" cy="5943600"/>
          </a:xfrm>
          <a:prstGeom prst="rect">
            <a:avLst/>
          </a:prstGeom>
          <a:noFill/>
        </p:spPr>
        <p:txBody>
          <a:bodyPr/>
          <a:lstStyle>
            <a:lvl1pPr>
              <a:defRPr>
                <a:solidFill>
                  <a:schemeClr val="bg1"/>
                </a:solidFill>
              </a:defRPr>
            </a:lvl1pPr>
          </a:lstStyle>
          <a:p>
            <a:r>
              <a:rPr lang="en-GB" dirty="0"/>
              <a:t>Click icon to add picture</a:t>
            </a:r>
          </a:p>
        </p:txBody>
      </p:sp>
      <p:sp>
        <p:nvSpPr>
          <p:cNvPr id="3" name="Text Placeholder 2">
            <a:extLst>
              <a:ext uri="{FF2B5EF4-FFF2-40B4-BE49-F238E27FC236}">
                <a16:creationId xmlns:a16="http://schemas.microsoft.com/office/drawing/2014/main" id="{B0E5166B-DE21-4C78-873E-E08181E53E4F}"/>
              </a:ext>
            </a:extLst>
          </p:cNvPr>
          <p:cNvSpPr>
            <a:spLocks noGrp="1"/>
          </p:cNvSpPr>
          <p:nvPr>
            <p:ph type="body" sz="quarter" idx="13"/>
          </p:nvPr>
        </p:nvSpPr>
        <p:spPr>
          <a:xfrm>
            <a:off x="9731375" y="1596707"/>
            <a:ext cx="1947863" cy="3024188"/>
          </a:xfrm>
        </p:spPr>
        <p:txBody>
          <a:bodyPr tIns="0"/>
          <a:lstStyle>
            <a:lvl1pPr>
              <a:defRPr sz="1800">
                <a:solidFill>
                  <a:srgbClr val="CAD1D2"/>
                </a:solidFill>
              </a:defRPr>
            </a:lvl1pPr>
            <a:lvl2pPr>
              <a:defRPr>
                <a:solidFill>
                  <a:srgbClr val="CAD1D2"/>
                </a:solidFill>
              </a:defRPr>
            </a:lvl2pPr>
            <a:lvl3pPr>
              <a:defRPr>
                <a:solidFill>
                  <a:srgbClr val="CAD1D2"/>
                </a:solidFill>
              </a:defRPr>
            </a:lvl3pPr>
            <a:lvl4pPr>
              <a:buClr>
                <a:schemeClr val="bg1"/>
              </a:buClr>
              <a:defRPr>
                <a:solidFill>
                  <a:srgbClr val="CAD1D2"/>
                </a:solidFill>
              </a:defRPr>
            </a:lvl4pPr>
            <a:lvl5pPr>
              <a:defRPr>
                <a:solidFill>
                  <a:srgbClr val="CAD1D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10">
            <a:extLst>
              <a:ext uri="{FF2B5EF4-FFF2-40B4-BE49-F238E27FC236}">
                <a16:creationId xmlns:a16="http://schemas.microsoft.com/office/drawing/2014/main" id="{276E0B12-C8A6-47ED-AC2C-173E6E8D0380}"/>
              </a:ext>
            </a:extLst>
          </p:cNvPr>
          <p:cNvSpPr>
            <a:spLocks noGrp="1"/>
          </p:cNvSpPr>
          <p:nvPr>
            <p:ph type="body" sz="quarter" idx="46" hasCustomPrompt="1"/>
          </p:nvPr>
        </p:nvSpPr>
        <p:spPr>
          <a:xfrm>
            <a:off x="9731375" y="4727575"/>
            <a:ext cx="1687299" cy="1590928"/>
          </a:xfrm>
          <a:prstGeom prst="rect">
            <a:avLst/>
          </a:prstGeom>
        </p:spPr>
        <p:txBody>
          <a:bodyPr anchor="t"/>
          <a:lstStyle>
            <a:lvl1pPr marL="7701" algn="l" defTabSz="554492" rtl="0" eaLnBrk="1" latinLnBrk="0" hangingPunct="1">
              <a:lnSpc>
                <a:spcPct val="90000"/>
              </a:lnSpc>
              <a:spcBef>
                <a:spcPts val="0"/>
              </a:spcBef>
              <a:spcAft>
                <a:spcPts val="0"/>
              </a:spcAft>
              <a:defRPr lang="en-US" sz="1600" b="0" i="0" kern="0" dirty="0">
                <a:solidFill>
                  <a:srgbClr val="CAD1D2"/>
                </a:solidFill>
                <a:latin typeface="Calibre-Semibold"/>
                <a:ea typeface="+mj-ea"/>
                <a:cs typeface="Calibre-Semibold"/>
              </a:defRPr>
            </a:lvl1pPr>
            <a:lvl2pPr>
              <a:lnSpc>
                <a:spcPct val="90000"/>
              </a:lnSpc>
              <a:spcAft>
                <a:spcPts val="0"/>
              </a:spcAft>
              <a:defRPr sz="1600">
                <a:solidFill>
                  <a:srgbClr val="CAD0D2"/>
                </a:solidFill>
                <a:latin typeface="+mn-lt"/>
              </a:defRPr>
            </a:lvl2pPr>
          </a:lstStyle>
          <a:p>
            <a:pPr lvl="0"/>
            <a:r>
              <a:rPr lang="en-GB"/>
              <a:t>Name</a:t>
            </a:r>
          </a:p>
          <a:p>
            <a:pPr lvl="1"/>
            <a:r>
              <a:rPr lang="en-GB"/>
              <a:t>Title</a:t>
            </a:r>
          </a:p>
        </p:txBody>
      </p:sp>
      <p:sp>
        <p:nvSpPr>
          <p:cNvPr id="7" name="TextBox 6">
            <a:extLst>
              <a:ext uri="{FF2B5EF4-FFF2-40B4-BE49-F238E27FC236}">
                <a16:creationId xmlns:a16="http://schemas.microsoft.com/office/drawing/2014/main" id="{EB320D00-2ED6-4A6C-A2ED-CAFB5F812F66}"/>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8" name="TextBox 7">
            <a:extLst>
              <a:ext uri="{FF2B5EF4-FFF2-40B4-BE49-F238E27FC236}">
                <a16:creationId xmlns:a16="http://schemas.microsoft.com/office/drawing/2014/main" id="{0C2A81BA-DBC2-4E69-AE9E-2D54F2C02D04}"/>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Tree>
    <p:extLst>
      <p:ext uri="{BB962C8B-B14F-4D97-AF65-F5344CB8AC3E}">
        <p14:creationId xmlns:p14="http://schemas.microsoft.com/office/powerpoint/2010/main" val="20545383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Image Quote 2">
    <p:bg>
      <p:bgPr>
        <a:solidFill>
          <a:schemeClr val="tx1"/>
        </a:solidFill>
        <a:effectLst/>
      </p:bgPr>
    </p:bg>
    <p:spTree>
      <p:nvGrpSpPr>
        <p:cNvPr id="1" name=""/>
        <p:cNvGrpSpPr/>
        <p:nvPr/>
      </p:nvGrpSpPr>
      <p:grpSpPr>
        <a:xfrm>
          <a:off x="0" y="0"/>
          <a:ext cx="0" cy="0"/>
          <a:chOff x="0" y="0"/>
          <a:chExt cx="0" cy="0"/>
        </a:xfrm>
      </p:grpSpPr>
      <p:sp>
        <p:nvSpPr>
          <p:cNvPr id="19" name="Picture Placeholder 17">
            <a:extLst>
              <a:ext uri="{FF2B5EF4-FFF2-40B4-BE49-F238E27FC236}">
                <a16:creationId xmlns:a16="http://schemas.microsoft.com/office/drawing/2014/main" id="{0AE1B65D-6907-E54F-BB4B-C41AFAAE8186}"/>
              </a:ext>
            </a:extLst>
          </p:cNvPr>
          <p:cNvSpPr>
            <a:spLocks noGrp="1"/>
          </p:cNvSpPr>
          <p:nvPr>
            <p:ph type="pic" sz="quarter" idx="12"/>
          </p:nvPr>
        </p:nvSpPr>
        <p:spPr>
          <a:xfrm>
            <a:off x="3584575" y="1596706"/>
            <a:ext cx="3997325" cy="4785043"/>
          </a:xfrm>
          <a:prstGeom prst="rect">
            <a:avLst/>
          </a:prstGeom>
          <a:noFill/>
        </p:spPr>
        <p:txBody>
          <a:bodyPr/>
          <a:lstStyle>
            <a:lvl1pPr>
              <a:defRPr>
                <a:solidFill>
                  <a:schemeClr val="bg1"/>
                </a:solidFill>
              </a:defRPr>
            </a:lvl1pPr>
          </a:lstStyle>
          <a:p>
            <a:r>
              <a:rPr lang="en-GB" dirty="0"/>
              <a:t>Click icon to add picture</a:t>
            </a:r>
          </a:p>
        </p:txBody>
      </p:sp>
      <p:sp>
        <p:nvSpPr>
          <p:cNvPr id="7" name="Text Placeholder 10">
            <a:extLst>
              <a:ext uri="{FF2B5EF4-FFF2-40B4-BE49-F238E27FC236}">
                <a16:creationId xmlns:a16="http://schemas.microsoft.com/office/drawing/2014/main" id="{10616811-862F-4B2B-8023-56408E854F51}"/>
              </a:ext>
            </a:extLst>
          </p:cNvPr>
          <p:cNvSpPr>
            <a:spLocks noGrp="1"/>
          </p:cNvSpPr>
          <p:nvPr>
            <p:ph type="body" sz="quarter" idx="46" hasCustomPrompt="1"/>
          </p:nvPr>
        </p:nvSpPr>
        <p:spPr>
          <a:xfrm>
            <a:off x="512762" y="435258"/>
            <a:ext cx="1946276" cy="1590928"/>
          </a:xfrm>
          <a:prstGeom prst="rect">
            <a:avLst/>
          </a:prstGeom>
        </p:spPr>
        <p:txBody>
          <a:bodyPr anchor="t"/>
          <a:lstStyle>
            <a:lvl1pPr marL="7701" algn="l" defTabSz="554492" rtl="0" eaLnBrk="1" latinLnBrk="0" hangingPunct="1">
              <a:lnSpc>
                <a:spcPct val="90000"/>
              </a:lnSpc>
              <a:spcBef>
                <a:spcPts val="0"/>
              </a:spcBef>
              <a:spcAft>
                <a:spcPts val="0"/>
              </a:spcAft>
              <a:defRPr lang="en-US" sz="1700" b="0" i="0" kern="0" dirty="0">
                <a:solidFill>
                  <a:srgbClr val="CAD1D2"/>
                </a:solidFill>
                <a:latin typeface="Calibre-Semibold"/>
                <a:ea typeface="+mj-ea"/>
                <a:cs typeface="Calibre-Semibold"/>
              </a:defRPr>
            </a:lvl1pPr>
            <a:lvl2pPr>
              <a:lnSpc>
                <a:spcPct val="90000"/>
              </a:lnSpc>
              <a:spcAft>
                <a:spcPts val="0"/>
              </a:spcAft>
              <a:defRPr sz="1700">
                <a:solidFill>
                  <a:srgbClr val="CAD0D2"/>
                </a:solidFill>
                <a:latin typeface="+mn-lt"/>
              </a:defRPr>
            </a:lvl2pPr>
          </a:lstStyle>
          <a:p>
            <a:pPr lvl="0"/>
            <a:r>
              <a:rPr lang="en-GB"/>
              <a:t>Name</a:t>
            </a:r>
          </a:p>
          <a:p>
            <a:pPr lvl="1"/>
            <a:r>
              <a:rPr lang="en-GB"/>
              <a:t>Title</a:t>
            </a:r>
          </a:p>
        </p:txBody>
      </p:sp>
      <p:cxnSp>
        <p:nvCxnSpPr>
          <p:cNvPr id="9" name="Straight Connector 8">
            <a:extLst>
              <a:ext uri="{FF2B5EF4-FFF2-40B4-BE49-F238E27FC236}">
                <a16:creationId xmlns:a16="http://schemas.microsoft.com/office/drawing/2014/main" id="{E1DD74FA-C762-48A2-89CD-3EF7EAB9017C}"/>
              </a:ext>
            </a:extLst>
          </p:cNvPr>
          <p:cNvCxnSpPr>
            <a:cxnSpLocks/>
          </p:cNvCxnSpPr>
          <p:nvPr userDrawn="1"/>
        </p:nvCxnSpPr>
        <p:spPr>
          <a:xfrm flipH="1">
            <a:off x="3584575" y="606041"/>
            <a:ext cx="3997325"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1" name="Title 16">
            <a:extLst>
              <a:ext uri="{FF2B5EF4-FFF2-40B4-BE49-F238E27FC236}">
                <a16:creationId xmlns:a16="http://schemas.microsoft.com/office/drawing/2014/main" id="{3FFE17E8-D69A-4AEE-8B9D-1B946AA990F9}"/>
              </a:ext>
            </a:extLst>
          </p:cNvPr>
          <p:cNvSpPr>
            <a:spLocks noGrp="1"/>
          </p:cNvSpPr>
          <p:nvPr>
            <p:ph type="title" hasCustomPrompt="1"/>
          </p:nvPr>
        </p:nvSpPr>
        <p:spPr>
          <a:xfrm>
            <a:off x="8194674" y="338012"/>
            <a:ext cx="3484564" cy="5076711"/>
          </a:xfrm>
        </p:spPr>
        <p:txBody>
          <a:bodyPr tIns="0"/>
          <a:lstStyle>
            <a:lvl1pPr marL="268288" indent="-268288">
              <a:lnSpc>
                <a:spcPct val="88000"/>
              </a:lnSpc>
              <a:defRPr sz="6600">
                <a:solidFill>
                  <a:srgbClr val="CAD1D2"/>
                </a:solidFill>
              </a:defRPr>
            </a:lvl1pPr>
          </a:lstStyle>
          <a:p>
            <a:r>
              <a:rPr lang="en-GB"/>
              <a:t>“Click to edit Master title style</a:t>
            </a:r>
          </a:p>
        </p:txBody>
      </p:sp>
      <p:sp>
        <p:nvSpPr>
          <p:cNvPr id="8" name="TextBox 7">
            <a:extLst>
              <a:ext uri="{FF2B5EF4-FFF2-40B4-BE49-F238E27FC236}">
                <a16:creationId xmlns:a16="http://schemas.microsoft.com/office/drawing/2014/main" id="{248A47BC-4AFE-4833-ACB5-0154C03F0E07}"/>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13" name="TextBox 12">
            <a:extLst>
              <a:ext uri="{FF2B5EF4-FFF2-40B4-BE49-F238E27FC236}">
                <a16:creationId xmlns:a16="http://schemas.microsoft.com/office/drawing/2014/main" id="{79F49699-A770-49B7-92AD-617393C26B91}"/>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Tree>
    <p:extLst>
      <p:ext uri="{BB962C8B-B14F-4D97-AF65-F5344CB8AC3E}">
        <p14:creationId xmlns:p14="http://schemas.microsoft.com/office/powerpoint/2010/main" val="33236337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Image Quote 3">
    <p:bg>
      <p:bgPr>
        <a:solidFill>
          <a:schemeClr val="tx1"/>
        </a:solidFill>
        <a:effectLst/>
      </p:bgPr>
    </p:bg>
    <p:spTree>
      <p:nvGrpSpPr>
        <p:cNvPr id="1" name=""/>
        <p:cNvGrpSpPr/>
        <p:nvPr/>
      </p:nvGrpSpPr>
      <p:grpSpPr>
        <a:xfrm>
          <a:off x="0" y="0"/>
          <a:ext cx="0" cy="0"/>
          <a:chOff x="0" y="0"/>
          <a:chExt cx="0" cy="0"/>
        </a:xfrm>
      </p:grpSpPr>
      <p:sp>
        <p:nvSpPr>
          <p:cNvPr id="19" name="Picture Placeholder 17">
            <a:extLst>
              <a:ext uri="{FF2B5EF4-FFF2-40B4-BE49-F238E27FC236}">
                <a16:creationId xmlns:a16="http://schemas.microsoft.com/office/drawing/2014/main" id="{0AE1B65D-6907-E54F-BB4B-C41AFAAE8186}"/>
              </a:ext>
            </a:extLst>
          </p:cNvPr>
          <p:cNvSpPr>
            <a:spLocks noGrp="1"/>
          </p:cNvSpPr>
          <p:nvPr>
            <p:ph type="pic" sz="quarter" idx="12"/>
          </p:nvPr>
        </p:nvSpPr>
        <p:spPr>
          <a:xfrm>
            <a:off x="3584575" y="3478212"/>
            <a:ext cx="8094662" cy="2925763"/>
          </a:xfrm>
          <a:prstGeom prst="rect">
            <a:avLst/>
          </a:prstGeom>
          <a:noFill/>
        </p:spPr>
        <p:txBody>
          <a:bodyPr/>
          <a:lstStyle>
            <a:lvl1pPr>
              <a:defRPr>
                <a:solidFill>
                  <a:schemeClr val="bg1"/>
                </a:solidFill>
              </a:defRPr>
            </a:lvl1pPr>
          </a:lstStyle>
          <a:p>
            <a:r>
              <a:rPr lang="en-GB" dirty="0"/>
              <a:t>Click icon to add picture</a:t>
            </a:r>
          </a:p>
        </p:txBody>
      </p:sp>
      <p:sp>
        <p:nvSpPr>
          <p:cNvPr id="9" name="Text Placeholder 10">
            <a:extLst>
              <a:ext uri="{FF2B5EF4-FFF2-40B4-BE49-F238E27FC236}">
                <a16:creationId xmlns:a16="http://schemas.microsoft.com/office/drawing/2014/main" id="{276E0B12-C8A6-47ED-AC2C-173E6E8D0380}"/>
              </a:ext>
            </a:extLst>
          </p:cNvPr>
          <p:cNvSpPr>
            <a:spLocks noGrp="1"/>
          </p:cNvSpPr>
          <p:nvPr>
            <p:ph type="body" sz="quarter" idx="46" hasCustomPrompt="1"/>
          </p:nvPr>
        </p:nvSpPr>
        <p:spPr>
          <a:xfrm>
            <a:off x="511175" y="1596707"/>
            <a:ext cx="1936443" cy="528956"/>
          </a:xfrm>
          <a:prstGeom prst="rect">
            <a:avLst/>
          </a:prstGeom>
        </p:spPr>
        <p:txBody>
          <a:bodyPr anchor="t"/>
          <a:lstStyle>
            <a:lvl1pPr marL="7701" algn="l" defTabSz="554492" rtl="0" eaLnBrk="1" latinLnBrk="0" hangingPunct="1">
              <a:lnSpc>
                <a:spcPct val="90000"/>
              </a:lnSpc>
              <a:spcBef>
                <a:spcPts val="0"/>
              </a:spcBef>
              <a:spcAft>
                <a:spcPts val="0"/>
              </a:spcAft>
              <a:defRPr lang="en-US" sz="1600" b="0" i="0" kern="0" dirty="0">
                <a:solidFill>
                  <a:srgbClr val="CAD1D2"/>
                </a:solidFill>
                <a:latin typeface="Calibre-Semibold"/>
                <a:ea typeface="+mj-ea"/>
                <a:cs typeface="Calibre-Semibold"/>
              </a:defRPr>
            </a:lvl1pPr>
            <a:lvl2pPr>
              <a:lnSpc>
                <a:spcPct val="90000"/>
              </a:lnSpc>
              <a:spcAft>
                <a:spcPts val="0"/>
              </a:spcAft>
              <a:defRPr sz="1600">
                <a:solidFill>
                  <a:srgbClr val="CAD0D2"/>
                </a:solidFill>
                <a:latin typeface="+mn-lt"/>
              </a:defRPr>
            </a:lvl2pPr>
          </a:lstStyle>
          <a:p>
            <a:pPr lvl="0"/>
            <a:r>
              <a:rPr lang="en-GB"/>
              <a:t>Name</a:t>
            </a:r>
          </a:p>
          <a:p>
            <a:pPr lvl="1"/>
            <a:r>
              <a:rPr lang="en-GB"/>
              <a:t>Title</a:t>
            </a:r>
          </a:p>
        </p:txBody>
      </p:sp>
      <p:sp>
        <p:nvSpPr>
          <p:cNvPr id="7" name="Title 6">
            <a:extLst>
              <a:ext uri="{FF2B5EF4-FFF2-40B4-BE49-F238E27FC236}">
                <a16:creationId xmlns:a16="http://schemas.microsoft.com/office/drawing/2014/main" id="{7A709320-8D2C-4D88-9E95-6858D92266C0}"/>
              </a:ext>
            </a:extLst>
          </p:cNvPr>
          <p:cNvSpPr>
            <a:spLocks noGrp="1"/>
          </p:cNvSpPr>
          <p:nvPr>
            <p:ph type="title"/>
          </p:nvPr>
        </p:nvSpPr>
        <p:spPr>
          <a:xfrm>
            <a:off x="3584574" y="352425"/>
            <a:ext cx="8094661" cy="3024188"/>
          </a:xfrm>
        </p:spPr>
        <p:txBody>
          <a:bodyPr/>
          <a:lstStyle>
            <a:lvl1pPr>
              <a:defRPr sz="4800">
                <a:solidFill>
                  <a:srgbClr val="CAD1D2"/>
                </a:solidFill>
              </a:defRPr>
            </a:lvl1pPr>
          </a:lstStyle>
          <a:p>
            <a:r>
              <a:rPr lang="en-GB"/>
              <a:t>Click to edit Master title style</a:t>
            </a:r>
          </a:p>
        </p:txBody>
      </p:sp>
      <p:sp>
        <p:nvSpPr>
          <p:cNvPr id="8" name="TextBox 7">
            <a:extLst>
              <a:ext uri="{FF2B5EF4-FFF2-40B4-BE49-F238E27FC236}">
                <a16:creationId xmlns:a16="http://schemas.microsoft.com/office/drawing/2014/main" id="{0A99D6D6-2157-4BE4-A5C3-158FE0F3F650}"/>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10" name="TextBox 9">
            <a:extLst>
              <a:ext uri="{FF2B5EF4-FFF2-40B4-BE49-F238E27FC236}">
                <a16:creationId xmlns:a16="http://schemas.microsoft.com/office/drawing/2014/main" id="{84D951DE-5457-4F9D-993C-32430D8FDF76}"/>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Tree>
    <p:extLst>
      <p:ext uri="{BB962C8B-B14F-4D97-AF65-F5344CB8AC3E}">
        <p14:creationId xmlns:p14="http://schemas.microsoft.com/office/powerpoint/2010/main" val="20675618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xt No. 1">
    <p:bg>
      <p:bgPr>
        <a:solidFill>
          <a:schemeClr val="tx1"/>
        </a:solidFill>
        <a:effectLst/>
      </p:bgPr>
    </p:bg>
    <p:spTree>
      <p:nvGrpSpPr>
        <p:cNvPr id="1" name=""/>
        <p:cNvGrpSpPr/>
        <p:nvPr/>
      </p:nvGrpSpPr>
      <p:grpSpPr>
        <a:xfrm>
          <a:off x="0" y="0"/>
          <a:ext cx="0" cy="0"/>
          <a:chOff x="0" y="0"/>
          <a:chExt cx="0" cy="0"/>
        </a:xfrm>
      </p:grpSpPr>
      <p:sp>
        <p:nvSpPr>
          <p:cNvPr id="20" name="Text Placeholder 14">
            <a:extLst>
              <a:ext uri="{FF2B5EF4-FFF2-40B4-BE49-F238E27FC236}">
                <a16:creationId xmlns:a16="http://schemas.microsoft.com/office/drawing/2014/main" id="{8546D87C-2B93-704D-87D6-29E80BEE7F1A}"/>
              </a:ext>
            </a:extLst>
          </p:cNvPr>
          <p:cNvSpPr>
            <a:spLocks noGrp="1"/>
          </p:cNvSpPr>
          <p:nvPr>
            <p:ph type="body" sz="quarter" idx="30" hasCustomPrompt="1"/>
          </p:nvPr>
        </p:nvSpPr>
        <p:spPr>
          <a:xfrm>
            <a:off x="1536704" y="4969531"/>
            <a:ext cx="10142534" cy="650816"/>
          </a:xfrm>
          <a:prstGeom prst="rect">
            <a:avLst/>
          </a:prstGeom>
        </p:spPr>
        <p:txBody>
          <a:bodyPr/>
          <a:lstStyle>
            <a:lvl1pPr algn="l">
              <a:lnSpc>
                <a:spcPts val="2971"/>
              </a:lnSpc>
              <a:defRPr lang="en-US" sz="12000" kern="1200" spc="42" baseline="0" dirty="0">
                <a:solidFill>
                  <a:srgbClr val="CAD1D2"/>
                </a:solidFill>
                <a:latin typeface="Calibre-Light"/>
                <a:ea typeface="+mn-ea"/>
                <a:cs typeface="Calibre-Light"/>
              </a:defRPr>
            </a:lvl1pPr>
          </a:lstStyle>
          <a:p>
            <a:pPr lvl="0"/>
            <a:r>
              <a:rPr lang="en-GB"/>
              <a:t>£1,004,0000p/m</a:t>
            </a:r>
          </a:p>
        </p:txBody>
      </p:sp>
      <p:cxnSp>
        <p:nvCxnSpPr>
          <p:cNvPr id="17" name="Straight Connector 16">
            <a:extLst>
              <a:ext uri="{FF2B5EF4-FFF2-40B4-BE49-F238E27FC236}">
                <a16:creationId xmlns:a16="http://schemas.microsoft.com/office/drawing/2014/main" id="{B158D830-F1AA-43AE-93A1-33D9E775437C}"/>
              </a:ext>
            </a:extLst>
          </p:cNvPr>
          <p:cNvCxnSpPr>
            <a:cxnSpLocks/>
          </p:cNvCxnSpPr>
          <p:nvPr userDrawn="1"/>
        </p:nvCxnSpPr>
        <p:spPr>
          <a:xfrm>
            <a:off x="922338" y="1712686"/>
            <a:ext cx="0" cy="3538766"/>
          </a:xfrm>
          <a:prstGeom prst="line">
            <a:avLst/>
          </a:prstGeom>
          <a:ln w="50800">
            <a:solidFill>
              <a:srgbClr val="17E891"/>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D97178FD-4744-484F-9480-31F8AEE60AFF}"/>
              </a:ext>
            </a:extLst>
          </p:cNvPr>
          <p:cNvSpPr>
            <a:spLocks noGrp="1"/>
          </p:cNvSpPr>
          <p:nvPr>
            <p:ph type="body" sz="quarter" idx="34"/>
          </p:nvPr>
        </p:nvSpPr>
        <p:spPr>
          <a:xfrm>
            <a:off x="1536700" y="1601788"/>
            <a:ext cx="4508500" cy="1149350"/>
          </a:xfrm>
        </p:spPr>
        <p:txBody>
          <a:bodyPr/>
          <a:lstStyle>
            <a:lvl1pPr>
              <a:defRPr>
                <a:solidFill>
                  <a:srgbClr val="CAD1D2"/>
                </a:solidFill>
              </a:defRPr>
            </a:lvl1pPr>
            <a:lvl2pPr>
              <a:defRPr>
                <a:solidFill>
                  <a:srgbClr val="CAD1D2"/>
                </a:solidFill>
              </a:defRPr>
            </a:lvl2pPr>
            <a:lvl3pPr>
              <a:defRPr>
                <a:solidFill>
                  <a:srgbClr val="CAD1D2"/>
                </a:solidFill>
              </a:defRPr>
            </a:lvl3pPr>
            <a:lvl4pPr>
              <a:buClr>
                <a:schemeClr val="bg1"/>
              </a:buClr>
              <a:defRPr>
                <a:solidFill>
                  <a:srgbClr val="CAD1D2"/>
                </a:solidFill>
              </a:defRPr>
            </a:lvl4pPr>
            <a:lvl5pPr>
              <a:defRPr>
                <a:solidFill>
                  <a:srgbClr val="CAD1D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Box 8">
            <a:extLst>
              <a:ext uri="{FF2B5EF4-FFF2-40B4-BE49-F238E27FC236}">
                <a16:creationId xmlns:a16="http://schemas.microsoft.com/office/drawing/2014/main" id="{A912BE8A-B929-433E-BD03-CC8DBBEDE67B}"/>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10" name="TextBox 9">
            <a:extLst>
              <a:ext uri="{FF2B5EF4-FFF2-40B4-BE49-F238E27FC236}">
                <a16:creationId xmlns:a16="http://schemas.microsoft.com/office/drawing/2014/main" id="{8043A06C-F7F1-4C24-B615-6BA883809D88}"/>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Tree>
    <p:extLst>
      <p:ext uri="{BB962C8B-B14F-4D97-AF65-F5344CB8AC3E}">
        <p14:creationId xmlns:p14="http://schemas.microsoft.com/office/powerpoint/2010/main" val="39503661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ext No. 2">
    <p:bg>
      <p:bgPr>
        <a:solidFill>
          <a:schemeClr val="tx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B158D830-F1AA-43AE-93A1-33D9E775437C}"/>
              </a:ext>
            </a:extLst>
          </p:cNvPr>
          <p:cNvCxnSpPr>
            <a:cxnSpLocks/>
          </p:cNvCxnSpPr>
          <p:nvPr/>
        </p:nvCxnSpPr>
        <p:spPr>
          <a:xfrm flipV="1">
            <a:off x="1023938" y="3093899"/>
            <a:ext cx="10142539" cy="1"/>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12" name="Text Placeholder 14">
            <a:extLst>
              <a:ext uri="{FF2B5EF4-FFF2-40B4-BE49-F238E27FC236}">
                <a16:creationId xmlns:a16="http://schemas.microsoft.com/office/drawing/2014/main" id="{C172DE9B-13AA-4E87-8426-7B7B0BD7AA01}"/>
              </a:ext>
            </a:extLst>
          </p:cNvPr>
          <p:cNvSpPr>
            <a:spLocks noGrp="1"/>
          </p:cNvSpPr>
          <p:nvPr>
            <p:ph type="body" sz="quarter" idx="30" hasCustomPrompt="1"/>
          </p:nvPr>
        </p:nvSpPr>
        <p:spPr>
          <a:xfrm>
            <a:off x="1023938" y="3873428"/>
            <a:ext cx="10210089" cy="1199953"/>
          </a:xfrm>
          <a:prstGeom prst="rect">
            <a:avLst/>
          </a:prstGeom>
        </p:spPr>
        <p:txBody>
          <a:bodyPr anchor="ctr"/>
          <a:lstStyle>
            <a:lvl1pPr algn="r">
              <a:lnSpc>
                <a:spcPct val="100000"/>
              </a:lnSpc>
              <a:spcAft>
                <a:spcPts val="0"/>
              </a:spcAft>
              <a:defRPr lang="en-US" sz="28000" kern="1200" spc="-154" dirty="0">
                <a:solidFill>
                  <a:srgbClr val="CCCDCB"/>
                </a:solidFill>
                <a:latin typeface="Calibre-Light"/>
                <a:ea typeface="+mn-ea"/>
                <a:cs typeface="Calibre-Light"/>
              </a:defRPr>
            </a:lvl1pPr>
          </a:lstStyle>
          <a:p>
            <a:pPr lvl="0"/>
            <a:r>
              <a:rPr lang="en-GB"/>
              <a:t>45K</a:t>
            </a:r>
          </a:p>
        </p:txBody>
      </p:sp>
      <p:cxnSp>
        <p:nvCxnSpPr>
          <p:cNvPr id="13" name="Straight Connector 12">
            <a:extLst>
              <a:ext uri="{FF2B5EF4-FFF2-40B4-BE49-F238E27FC236}">
                <a16:creationId xmlns:a16="http://schemas.microsoft.com/office/drawing/2014/main" id="{A9F57267-6257-4906-B429-8DBD08BB396D}"/>
              </a:ext>
            </a:extLst>
          </p:cNvPr>
          <p:cNvCxnSpPr>
            <a:cxnSpLocks/>
          </p:cNvCxnSpPr>
          <p:nvPr userDrawn="1"/>
        </p:nvCxnSpPr>
        <p:spPr>
          <a:xfrm flipV="1">
            <a:off x="1023938" y="3084373"/>
            <a:ext cx="10142539" cy="1"/>
          </a:xfrm>
          <a:prstGeom prst="line">
            <a:avLst/>
          </a:prstGeom>
          <a:ln w="50800">
            <a:solidFill>
              <a:srgbClr val="17E89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446F7BD-D621-4658-8FD4-E7F7670762AE}"/>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18" name="Text Placeholder 17">
            <a:extLst>
              <a:ext uri="{FF2B5EF4-FFF2-40B4-BE49-F238E27FC236}">
                <a16:creationId xmlns:a16="http://schemas.microsoft.com/office/drawing/2014/main" id="{D97178FD-4744-484F-9480-31F8AEE60AFF}"/>
              </a:ext>
            </a:extLst>
          </p:cNvPr>
          <p:cNvSpPr>
            <a:spLocks noGrp="1"/>
          </p:cNvSpPr>
          <p:nvPr>
            <p:ph type="body" sz="quarter" idx="34"/>
          </p:nvPr>
        </p:nvSpPr>
        <p:spPr>
          <a:xfrm>
            <a:off x="1023938" y="1598512"/>
            <a:ext cx="3484562" cy="1149350"/>
          </a:xfrm>
        </p:spPr>
        <p:txBody>
          <a:bodyPr/>
          <a:lstStyle>
            <a:lvl1pPr>
              <a:defRPr>
                <a:solidFill>
                  <a:srgbClr val="CAD1D2"/>
                </a:solidFill>
              </a:defRPr>
            </a:lvl1pPr>
            <a:lvl2pPr>
              <a:defRPr>
                <a:solidFill>
                  <a:srgbClr val="CAD1D2"/>
                </a:solidFill>
              </a:defRPr>
            </a:lvl2pPr>
            <a:lvl3pPr>
              <a:defRPr>
                <a:solidFill>
                  <a:srgbClr val="CAD1D2"/>
                </a:solidFill>
              </a:defRPr>
            </a:lvl3pPr>
            <a:lvl4pPr>
              <a:buClr>
                <a:schemeClr val="bg1"/>
              </a:buClr>
              <a:defRPr>
                <a:solidFill>
                  <a:srgbClr val="CAD1D2"/>
                </a:solidFill>
              </a:defRPr>
            </a:lvl4pPr>
            <a:lvl5pPr>
              <a:defRPr>
                <a:solidFill>
                  <a:srgbClr val="CAD1D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0802505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Page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42EDB4F2-7D75-4BAC-93D5-85009027436B}"/>
              </a:ext>
            </a:extLst>
          </p:cNvPr>
          <p:cNvSpPr>
            <a:spLocks noGrp="1"/>
          </p:cNvSpPr>
          <p:nvPr>
            <p:ph type="pic" sz="quarter" idx="10"/>
          </p:nvPr>
        </p:nvSpPr>
        <p:spPr>
          <a:xfrm>
            <a:off x="-7412" y="0"/>
            <a:ext cx="12199412" cy="6858000"/>
          </a:xfrm>
          <a:solidFill>
            <a:schemeClr val="accent6"/>
          </a:solidFill>
        </p:spPr>
        <p:txBody>
          <a:bodyPr/>
          <a:lstStyle/>
          <a:p>
            <a:r>
              <a:rPr lang="en-GB" dirty="0"/>
              <a:t>Click icon to add picture</a:t>
            </a:r>
          </a:p>
        </p:txBody>
      </p:sp>
      <p:sp>
        <p:nvSpPr>
          <p:cNvPr id="6" name="TextBox 5">
            <a:extLst>
              <a:ext uri="{FF2B5EF4-FFF2-40B4-BE49-F238E27FC236}">
                <a16:creationId xmlns:a16="http://schemas.microsoft.com/office/drawing/2014/main" id="{EF6DEBCB-FF96-4C09-8941-8A58FB267920}"/>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7" name="TextBox 6">
            <a:extLst>
              <a:ext uri="{FF2B5EF4-FFF2-40B4-BE49-F238E27FC236}">
                <a16:creationId xmlns:a16="http://schemas.microsoft.com/office/drawing/2014/main" id="{53C6E8C5-BE2F-4571-ADEA-9668A775F670}"/>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Tree>
    <p:extLst>
      <p:ext uri="{BB962C8B-B14F-4D97-AF65-F5344CB8AC3E}">
        <p14:creationId xmlns:p14="http://schemas.microsoft.com/office/powerpoint/2010/main" val="16350315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ext Cover 4">
    <p:bg>
      <p:bgPr>
        <a:solidFill>
          <a:schemeClr val="bg1"/>
        </a:solidFill>
        <a:effectLst/>
      </p:bgPr>
    </p:bg>
    <p:spTree>
      <p:nvGrpSpPr>
        <p:cNvPr id="1" name=""/>
        <p:cNvGrpSpPr/>
        <p:nvPr/>
      </p:nvGrpSpPr>
      <p:grpSpPr>
        <a:xfrm>
          <a:off x="0" y="0"/>
          <a:ext cx="0" cy="0"/>
          <a:chOff x="0" y="0"/>
          <a:chExt cx="0" cy="0"/>
        </a:xfrm>
      </p:grpSpPr>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5" y="1554448"/>
            <a:ext cx="1328469"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US" sz="1050" b="1" kern="1200" spc="-3" dirty="0" err="1" smtClean="0">
                <a:solidFill>
                  <a:schemeClr val="accent6"/>
                </a:solidFill>
                <a:latin typeface="Space Mono" panose="02000509040000020004" pitchFamily="49" charset="0"/>
                <a:ea typeface="+mn-ea"/>
                <a:cs typeface="Space Mono" panose="02000509040000020004" pitchFamily="49" charset="0"/>
              </a:defRPr>
            </a:lvl1pPr>
          </a:lstStyle>
          <a:p>
            <a:r>
              <a:rPr lang="en-GB"/>
              <a:t>DATE</a:t>
            </a: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3584575" y="1524787"/>
            <a:ext cx="7543378" cy="3024184"/>
          </a:xfrm>
        </p:spPr>
        <p:txBody>
          <a:bodyPr/>
          <a:lstStyle>
            <a:lvl1pPr>
              <a:lnSpc>
                <a:spcPct val="80000"/>
              </a:lnSpc>
              <a:defRPr sz="9600">
                <a:solidFill>
                  <a:schemeClr val="accent6"/>
                </a:solidFill>
              </a:defRPr>
            </a:lvl1pPr>
          </a:lstStyle>
          <a:p>
            <a:r>
              <a:rPr lang="en-GB"/>
              <a:t>Click to edit Master title style</a:t>
            </a:r>
          </a:p>
        </p:txBody>
      </p:sp>
      <p:cxnSp>
        <p:nvCxnSpPr>
          <p:cNvPr id="25" name="Straight Connector 24">
            <a:extLst>
              <a:ext uri="{FF2B5EF4-FFF2-40B4-BE49-F238E27FC236}">
                <a16:creationId xmlns:a16="http://schemas.microsoft.com/office/drawing/2014/main" id="{887340F4-9434-47C2-9CB2-6C0ACFBEFAB5}"/>
              </a:ext>
            </a:extLst>
          </p:cNvPr>
          <p:cNvCxnSpPr>
            <a:cxnSpLocks/>
          </p:cNvCxnSpPr>
          <p:nvPr userDrawn="1"/>
        </p:nvCxnSpPr>
        <p:spPr>
          <a:xfrm>
            <a:off x="3584575" y="571774"/>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1402F92-C298-4C9D-B165-225CA6300EEC}"/>
              </a:ext>
            </a:extLst>
          </p:cNvPr>
          <p:cNvSpPr/>
          <p:nvPr/>
        </p:nvSpPr>
        <p:spPr>
          <a:xfrm>
            <a:off x="0" y="0"/>
            <a:ext cx="3584575" cy="1091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CBRE Vector Logo">
            <a:extLst>
              <a:ext uri="{FF2B5EF4-FFF2-40B4-BE49-F238E27FC236}">
                <a16:creationId xmlns:a16="http://schemas.microsoft.com/office/drawing/2014/main" id="{BBFCCC10-059A-481E-B4A5-FE05AAFBEF9A}"/>
              </a:ext>
            </a:extLst>
          </p:cNvPr>
          <p:cNvSpPr>
            <a:spLocks noChangeAspect="1"/>
          </p:cNvSpPr>
          <p:nvPr userDrawn="1"/>
        </p:nvSpPr>
        <p:spPr>
          <a:xfrm>
            <a:off x="10755020" y="452438"/>
            <a:ext cx="924217" cy="229615"/>
          </a:xfrm>
          <a:custGeom>
            <a:avLst/>
            <a:gdLst>
              <a:gd name="connsiteX0" fmla="*/ 306851 w 924217"/>
              <a:gd name="connsiteY0" fmla="*/ 137455 h 229615"/>
              <a:gd name="connsiteX1" fmla="*/ 306851 w 924217"/>
              <a:gd name="connsiteY1" fmla="*/ 175680 h 229615"/>
              <a:gd name="connsiteX2" fmla="*/ 383040 w 924217"/>
              <a:gd name="connsiteY2" fmla="*/ 175680 h 229615"/>
              <a:gd name="connsiteX3" fmla="*/ 402153 w 924217"/>
              <a:gd name="connsiteY3" fmla="*/ 156305 h 229615"/>
              <a:gd name="connsiteX4" fmla="*/ 385134 w 924217"/>
              <a:gd name="connsiteY4" fmla="*/ 137455 h 229615"/>
              <a:gd name="connsiteX5" fmla="*/ 384873 w 924217"/>
              <a:gd name="connsiteY5" fmla="*/ 137455 h 229615"/>
              <a:gd name="connsiteX6" fmla="*/ 384611 w 924217"/>
              <a:gd name="connsiteY6" fmla="*/ 137455 h 229615"/>
              <a:gd name="connsiteX7" fmla="*/ 539868 w 924217"/>
              <a:gd name="connsiteY7" fmla="*/ 50530 h 229615"/>
              <a:gd name="connsiteX8" fmla="*/ 539868 w 924217"/>
              <a:gd name="connsiteY8" fmla="*/ 87185 h 229615"/>
              <a:gd name="connsiteX9" fmla="*/ 618414 w 924217"/>
              <a:gd name="connsiteY9" fmla="*/ 87185 h 229615"/>
              <a:gd name="connsiteX10" fmla="*/ 636479 w 924217"/>
              <a:gd name="connsiteY10" fmla="*/ 71476 h 229615"/>
              <a:gd name="connsiteX11" fmla="*/ 636218 w 924217"/>
              <a:gd name="connsiteY11" fmla="*/ 71476 h 229615"/>
              <a:gd name="connsiteX12" fmla="*/ 636218 w 924217"/>
              <a:gd name="connsiteY12" fmla="*/ 66501 h 229615"/>
              <a:gd name="connsiteX13" fmla="*/ 618414 w 924217"/>
              <a:gd name="connsiteY13" fmla="*/ 50530 h 229615"/>
              <a:gd name="connsiteX14" fmla="*/ 306589 w 924217"/>
              <a:gd name="connsiteY14" fmla="*/ 49745 h 229615"/>
              <a:gd name="connsiteX15" fmla="*/ 306851 w 924217"/>
              <a:gd name="connsiteY15" fmla="*/ 87447 h 229615"/>
              <a:gd name="connsiteX16" fmla="*/ 386443 w 924217"/>
              <a:gd name="connsiteY16" fmla="*/ 87185 h 229615"/>
              <a:gd name="connsiteX17" fmla="*/ 402676 w 924217"/>
              <a:gd name="connsiteY17" fmla="*/ 68073 h 229615"/>
              <a:gd name="connsiteX18" fmla="*/ 386967 w 924217"/>
              <a:gd name="connsiteY18" fmla="*/ 49745 h 229615"/>
              <a:gd name="connsiteX19" fmla="*/ 386705 w 924217"/>
              <a:gd name="connsiteY19" fmla="*/ 49745 h 229615"/>
              <a:gd name="connsiteX20" fmla="*/ 386443 w 924217"/>
              <a:gd name="connsiteY20" fmla="*/ 49745 h 229615"/>
              <a:gd name="connsiteX21" fmla="*/ 484363 w 924217"/>
              <a:gd name="connsiteY21" fmla="*/ 261 h 229615"/>
              <a:gd name="connsiteX22" fmla="*/ 606108 w 924217"/>
              <a:gd name="connsiteY22" fmla="*/ 261 h 229615"/>
              <a:gd name="connsiteX23" fmla="*/ 688581 w 924217"/>
              <a:gd name="connsiteY23" fmla="*/ 60479 h 229615"/>
              <a:gd name="connsiteX24" fmla="*/ 654807 w 924217"/>
              <a:gd name="connsiteY24" fmla="*/ 111010 h 229615"/>
              <a:gd name="connsiteX25" fmla="*/ 687796 w 924217"/>
              <a:gd name="connsiteY25" fmla="*/ 155519 h 229615"/>
              <a:gd name="connsiteX26" fmla="*/ 687796 w 924217"/>
              <a:gd name="connsiteY26" fmla="*/ 229614 h 229615"/>
              <a:gd name="connsiteX27" fmla="*/ 633076 w 924217"/>
              <a:gd name="connsiteY27" fmla="*/ 229614 h 229615"/>
              <a:gd name="connsiteX28" fmla="*/ 633076 w 924217"/>
              <a:gd name="connsiteY28" fmla="*/ 169396 h 229615"/>
              <a:gd name="connsiteX29" fmla="*/ 601658 w 924217"/>
              <a:gd name="connsiteY29" fmla="*/ 136930 h 229615"/>
              <a:gd name="connsiteX30" fmla="*/ 540130 w 924217"/>
              <a:gd name="connsiteY30" fmla="*/ 136930 h 229615"/>
              <a:gd name="connsiteX31" fmla="*/ 540130 w 924217"/>
              <a:gd name="connsiteY31" fmla="*/ 229614 h 229615"/>
              <a:gd name="connsiteX32" fmla="*/ 484363 w 924217"/>
              <a:gd name="connsiteY32" fmla="*/ 229614 h 229615"/>
              <a:gd name="connsiteX33" fmla="*/ 722879 w 924217"/>
              <a:gd name="connsiteY33" fmla="*/ 0 h 229615"/>
              <a:gd name="connsiteX34" fmla="*/ 923955 w 924217"/>
              <a:gd name="connsiteY34" fmla="*/ 0 h 229615"/>
              <a:gd name="connsiteX35" fmla="*/ 923955 w 924217"/>
              <a:gd name="connsiteY35" fmla="*/ 50007 h 229615"/>
              <a:gd name="connsiteX36" fmla="*/ 778908 w 924217"/>
              <a:gd name="connsiteY36" fmla="*/ 50007 h 229615"/>
              <a:gd name="connsiteX37" fmla="*/ 779170 w 924217"/>
              <a:gd name="connsiteY37" fmla="*/ 86924 h 229615"/>
              <a:gd name="connsiteX38" fmla="*/ 909817 w 924217"/>
              <a:gd name="connsiteY38" fmla="*/ 86924 h 229615"/>
              <a:gd name="connsiteX39" fmla="*/ 909817 w 924217"/>
              <a:gd name="connsiteY39" fmla="*/ 137193 h 229615"/>
              <a:gd name="connsiteX40" fmla="*/ 779170 w 924217"/>
              <a:gd name="connsiteY40" fmla="*/ 137193 h 229615"/>
              <a:gd name="connsiteX41" fmla="*/ 779170 w 924217"/>
              <a:gd name="connsiteY41" fmla="*/ 177251 h 229615"/>
              <a:gd name="connsiteX42" fmla="*/ 924217 w 924217"/>
              <a:gd name="connsiteY42" fmla="*/ 177251 h 229615"/>
              <a:gd name="connsiteX43" fmla="*/ 924217 w 924217"/>
              <a:gd name="connsiteY43" fmla="*/ 229615 h 229615"/>
              <a:gd name="connsiteX44" fmla="*/ 723141 w 924217"/>
              <a:gd name="connsiteY44" fmla="*/ 229615 h 229615"/>
              <a:gd name="connsiteX45" fmla="*/ 722879 w 924217"/>
              <a:gd name="connsiteY45" fmla="*/ 0 h 229615"/>
              <a:gd name="connsiteX46" fmla="*/ 250298 w 924217"/>
              <a:gd name="connsiteY46" fmla="*/ 0 h 229615"/>
              <a:gd name="connsiteX47" fmla="*/ 369163 w 924217"/>
              <a:gd name="connsiteY47" fmla="*/ 0 h 229615"/>
              <a:gd name="connsiteX48" fmla="*/ 454254 w 924217"/>
              <a:gd name="connsiteY48" fmla="*/ 56815 h 229615"/>
              <a:gd name="connsiteX49" fmla="*/ 419956 w 924217"/>
              <a:gd name="connsiteY49" fmla="*/ 111011 h 229615"/>
              <a:gd name="connsiteX50" fmla="*/ 456611 w 924217"/>
              <a:gd name="connsiteY50" fmla="*/ 163113 h 229615"/>
              <a:gd name="connsiteX51" fmla="*/ 368902 w 924217"/>
              <a:gd name="connsiteY51" fmla="*/ 229091 h 229615"/>
              <a:gd name="connsiteX52" fmla="*/ 250298 w 924217"/>
              <a:gd name="connsiteY52" fmla="*/ 229091 h 229615"/>
              <a:gd name="connsiteX53" fmla="*/ 250298 w 924217"/>
              <a:gd name="connsiteY53" fmla="*/ 0 h 229615"/>
              <a:gd name="connsiteX54" fmla="*/ 213644 w 924217"/>
              <a:gd name="connsiteY54" fmla="*/ 0 h 229615"/>
              <a:gd name="connsiteX55" fmla="*/ 215476 w 924217"/>
              <a:gd name="connsiteY55" fmla="*/ 0 h 229615"/>
              <a:gd name="connsiteX56" fmla="*/ 215215 w 924217"/>
              <a:gd name="connsiteY56" fmla="*/ 52102 h 229615"/>
              <a:gd name="connsiteX57" fmla="*/ 213382 w 924217"/>
              <a:gd name="connsiteY57" fmla="*/ 52102 h 229615"/>
              <a:gd name="connsiteX58" fmla="*/ 109702 w 924217"/>
              <a:gd name="connsiteY58" fmla="*/ 53149 h 229615"/>
              <a:gd name="connsiteX59" fmla="*/ 54720 w 924217"/>
              <a:gd name="connsiteY59" fmla="*/ 112582 h 229615"/>
              <a:gd name="connsiteX60" fmla="*/ 111535 w 924217"/>
              <a:gd name="connsiteY60" fmla="*/ 173062 h 229615"/>
              <a:gd name="connsiteX61" fmla="*/ 213905 w 924217"/>
              <a:gd name="connsiteY61" fmla="*/ 174109 h 229615"/>
              <a:gd name="connsiteX62" fmla="*/ 216000 w 924217"/>
              <a:gd name="connsiteY62" fmla="*/ 174109 h 229615"/>
              <a:gd name="connsiteX63" fmla="*/ 215738 w 924217"/>
              <a:gd name="connsiteY63" fmla="*/ 229353 h 229615"/>
              <a:gd name="connsiteX64" fmla="*/ 213905 w 924217"/>
              <a:gd name="connsiteY64" fmla="*/ 229353 h 229615"/>
              <a:gd name="connsiteX65" fmla="*/ 145309 w 924217"/>
              <a:gd name="connsiteY65" fmla="*/ 229353 h 229615"/>
              <a:gd name="connsiteX66" fmla="*/ 126720 w 924217"/>
              <a:gd name="connsiteY66" fmla="*/ 229091 h 229615"/>
              <a:gd name="connsiteX67" fmla="*/ 64407 w 924217"/>
              <a:gd name="connsiteY67" fmla="*/ 216524 h 229615"/>
              <a:gd name="connsiteX68" fmla="*/ 1833 w 924217"/>
              <a:gd name="connsiteY68" fmla="*/ 137455 h 229615"/>
              <a:gd name="connsiteX69" fmla="*/ 0 w 924217"/>
              <a:gd name="connsiteY69" fmla="*/ 114415 h 229615"/>
              <a:gd name="connsiteX70" fmla="*/ 22516 w 924217"/>
              <a:gd name="connsiteY70" fmla="*/ 46080 h 229615"/>
              <a:gd name="connsiteX71" fmla="*/ 67811 w 924217"/>
              <a:gd name="connsiteY71" fmla="*/ 9687 h 229615"/>
              <a:gd name="connsiteX72" fmla="*/ 115462 w 924217"/>
              <a:gd name="connsiteY72" fmla="*/ 262 h 22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24217" h="229615">
                <a:moveTo>
                  <a:pt x="306851" y="137455"/>
                </a:moveTo>
                <a:lnTo>
                  <a:pt x="306851" y="175680"/>
                </a:lnTo>
                <a:lnTo>
                  <a:pt x="383040" y="175680"/>
                </a:lnTo>
                <a:cubicBezTo>
                  <a:pt x="393251" y="175680"/>
                  <a:pt x="402153" y="166778"/>
                  <a:pt x="402153" y="156305"/>
                </a:cubicBezTo>
                <a:cubicBezTo>
                  <a:pt x="402153" y="146618"/>
                  <a:pt x="394822" y="138502"/>
                  <a:pt x="385134" y="137455"/>
                </a:cubicBezTo>
                <a:lnTo>
                  <a:pt x="384873" y="137455"/>
                </a:lnTo>
                <a:lnTo>
                  <a:pt x="384611" y="137455"/>
                </a:lnTo>
                <a:close/>
                <a:moveTo>
                  <a:pt x="539868" y="50530"/>
                </a:moveTo>
                <a:lnTo>
                  <a:pt x="539868" y="87185"/>
                </a:lnTo>
                <a:lnTo>
                  <a:pt x="618414" y="87185"/>
                </a:lnTo>
                <a:cubicBezTo>
                  <a:pt x="627839" y="87185"/>
                  <a:pt x="635432" y="79068"/>
                  <a:pt x="636479" y="71476"/>
                </a:cubicBezTo>
                <a:lnTo>
                  <a:pt x="636218" y="71476"/>
                </a:lnTo>
                <a:lnTo>
                  <a:pt x="636218" y="66501"/>
                </a:lnTo>
                <a:cubicBezTo>
                  <a:pt x="635170" y="57337"/>
                  <a:pt x="627839" y="50530"/>
                  <a:pt x="618414" y="50530"/>
                </a:cubicBezTo>
                <a:close/>
                <a:moveTo>
                  <a:pt x="306589" y="49745"/>
                </a:moveTo>
                <a:lnTo>
                  <a:pt x="306851" y="87447"/>
                </a:lnTo>
                <a:lnTo>
                  <a:pt x="386443" y="87185"/>
                </a:lnTo>
                <a:cubicBezTo>
                  <a:pt x="395607" y="85876"/>
                  <a:pt x="402676" y="77236"/>
                  <a:pt x="402676" y="68073"/>
                </a:cubicBezTo>
                <a:cubicBezTo>
                  <a:pt x="402676" y="58909"/>
                  <a:pt x="396131" y="51316"/>
                  <a:pt x="386967" y="49745"/>
                </a:cubicBezTo>
                <a:lnTo>
                  <a:pt x="386705" y="49745"/>
                </a:lnTo>
                <a:lnTo>
                  <a:pt x="386443" y="49745"/>
                </a:lnTo>
                <a:close/>
                <a:moveTo>
                  <a:pt x="484363" y="261"/>
                </a:moveTo>
                <a:lnTo>
                  <a:pt x="606108" y="261"/>
                </a:lnTo>
                <a:cubicBezTo>
                  <a:pt x="645643" y="261"/>
                  <a:pt x="688319" y="10734"/>
                  <a:pt x="688581" y="60479"/>
                </a:cubicBezTo>
                <a:cubicBezTo>
                  <a:pt x="688581" y="100799"/>
                  <a:pt x="654807" y="111010"/>
                  <a:pt x="654807" y="111010"/>
                </a:cubicBezTo>
                <a:cubicBezTo>
                  <a:pt x="654807" y="111010"/>
                  <a:pt x="687796" y="121221"/>
                  <a:pt x="687796" y="155519"/>
                </a:cubicBezTo>
                <a:lnTo>
                  <a:pt x="687796" y="229614"/>
                </a:lnTo>
                <a:lnTo>
                  <a:pt x="633076" y="229614"/>
                </a:lnTo>
                <a:lnTo>
                  <a:pt x="633076" y="169396"/>
                </a:lnTo>
                <a:cubicBezTo>
                  <a:pt x="633076" y="151592"/>
                  <a:pt x="619199" y="137192"/>
                  <a:pt x="601658" y="136930"/>
                </a:cubicBezTo>
                <a:cubicBezTo>
                  <a:pt x="601658" y="136930"/>
                  <a:pt x="540130" y="136930"/>
                  <a:pt x="540130" y="136930"/>
                </a:cubicBezTo>
                <a:cubicBezTo>
                  <a:pt x="540130" y="136930"/>
                  <a:pt x="540130" y="223068"/>
                  <a:pt x="540130" y="229614"/>
                </a:cubicBezTo>
                <a:cubicBezTo>
                  <a:pt x="534370" y="229614"/>
                  <a:pt x="484363" y="229614"/>
                  <a:pt x="484363" y="229614"/>
                </a:cubicBezTo>
                <a:close/>
                <a:moveTo>
                  <a:pt x="722879" y="0"/>
                </a:moveTo>
                <a:lnTo>
                  <a:pt x="923955" y="0"/>
                </a:lnTo>
                <a:lnTo>
                  <a:pt x="923955" y="50007"/>
                </a:lnTo>
                <a:lnTo>
                  <a:pt x="778908" y="50007"/>
                </a:lnTo>
                <a:lnTo>
                  <a:pt x="779170" y="86924"/>
                </a:lnTo>
                <a:lnTo>
                  <a:pt x="909817" y="86924"/>
                </a:lnTo>
                <a:lnTo>
                  <a:pt x="909817" y="137193"/>
                </a:lnTo>
                <a:lnTo>
                  <a:pt x="779170" y="137193"/>
                </a:lnTo>
                <a:lnTo>
                  <a:pt x="779170" y="177251"/>
                </a:lnTo>
                <a:lnTo>
                  <a:pt x="924217" y="177251"/>
                </a:lnTo>
                <a:lnTo>
                  <a:pt x="924217" y="229615"/>
                </a:lnTo>
                <a:cubicBezTo>
                  <a:pt x="924217" y="229615"/>
                  <a:pt x="729948" y="229615"/>
                  <a:pt x="723141" y="229615"/>
                </a:cubicBezTo>
                <a:cubicBezTo>
                  <a:pt x="722879" y="223069"/>
                  <a:pt x="722879" y="0"/>
                  <a:pt x="722879" y="0"/>
                </a:cubicBezTo>
                <a:close/>
                <a:moveTo>
                  <a:pt x="250298" y="0"/>
                </a:moveTo>
                <a:lnTo>
                  <a:pt x="369163" y="0"/>
                </a:lnTo>
                <a:cubicBezTo>
                  <a:pt x="432785" y="0"/>
                  <a:pt x="454516" y="26444"/>
                  <a:pt x="454254" y="56815"/>
                </a:cubicBezTo>
                <a:cubicBezTo>
                  <a:pt x="454516" y="76713"/>
                  <a:pt x="449280" y="101324"/>
                  <a:pt x="419956" y="111011"/>
                </a:cubicBezTo>
                <a:cubicBezTo>
                  <a:pt x="419956" y="111011"/>
                  <a:pt x="456611" y="123316"/>
                  <a:pt x="456611" y="163113"/>
                </a:cubicBezTo>
                <a:cubicBezTo>
                  <a:pt x="456611" y="196102"/>
                  <a:pt x="433047" y="229091"/>
                  <a:pt x="368902" y="229091"/>
                </a:cubicBezTo>
                <a:cubicBezTo>
                  <a:pt x="368902" y="229091"/>
                  <a:pt x="256843" y="229091"/>
                  <a:pt x="250298" y="229091"/>
                </a:cubicBezTo>
                <a:cubicBezTo>
                  <a:pt x="250298" y="222545"/>
                  <a:pt x="250298" y="0"/>
                  <a:pt x="250298" y="0"/>
                </a:cubicBezTo>
                <a:close/>
                <a:moveTo>
                  <a:pt x="213644" y="0"/>
                </a:moveTo>
                <a:lnTo>
                  <a:pt x="215476" y="0"/>
                </a:lnTo>
                <a:lnTo>
                  <a:pt x="215215" y="52102"/>
                </a:lnTo>
                <a:lnTo>
                  <a:pt x="213382" y="52102"/>
                </a:lnTo>
                <a:cubicBezTo>
                  <a:pt x="212596" y="52102"/>
                  <a:pt x="125673" y="51055"/>
                  <a:pt x="109702" y="53149"/>
                </a:cubicBezTo>
                <a:cubicBezTo>
                  <a:pt x="76189" y="57600"/>
                  <a:pt x="54720" y="80902"/>
                  <a:pt x="54720" y="112582"/>
                </a:cubicBezTo>
                <a:cubicBezTo>
                  <a:pt x="54720" y="137978"/>
                  <a:pt x="69644" y="168873"/>
                  <a:pt x="111535" y="173062"/>
                </a:cubicBezTo>
                <a:cubicBezTo>
                  <a:pt x="137716" y="175680"/>
                  <a:pt x="213120" y="174109"/>
                  <a:pt x="213905" y="174109"/>
                </a:cubicBezTo>
                <a:lnTo>
                  <a:pt x="216000" y="174109"/>
                </a:lnTo>
                <a:lnTo>
                  <a:pt x="215738" y="229353"/>
                </a:lnTo>
                <a:lnTo>
                  <a:pt x="213905" y="229353"/>
                </a:lnTo>
                <a:cubicBezTo>
                  <a:pt x="213905" y="229353"/>
                  <a:pt x="145309" y="229353"/>
                  <a:pt x="145309" y="229353"/>
                </a:cubicBezTo>
                <a:cubicBezTo>
                  <a:pt x="145309" y="229353"/>
                  <a:pt x="126720" y="229091"/>
                  <a:pt x="126720" y="229091"/>
                </a:cubicBezTo>
                <a:cubicBezTo>
                  <a:pt x="92422" y="227258"/>
                  <a:pt x="75404" y="221498"/>
                  <a:pt x="64407" y="216524"/>
                </a:cubicBezTo>
                <a:cubicBezTo>
                  <a:pt x="31680" y="201076"/>
                  <a:pt x="8902" y="172276"/>
                  <a:pt x="1833" y="137455"/>
                </a:cubicBezTo>
                <a:cubicBezTo>
                  <a:pt x="524" y="129862"/>
                  <a:pt x="0" y="122269"/>
                  <a:pt x="0" y="114415"/>
                </a:cubicBezTo>
                <a:cubicBezTo>
                  <a:pt x="0" y="89542"/>
                  <a:pt x="7855" y="65978"/>
                  <a:pt x="22516" y="46080"/>
                </a:cubicBezTo>
                <a:cubicBezTo>
                  <a:pt x="34298" y="30371"/>
                  <a:pt x="49745" y="17804"/>
                  <a:pt x="67811" y="9687"/>
                </a:cubicBezTo>
                <a:cubicBezTo>
                  <a:pt x="86400" y="2095"/>
                  <a:pt x="104465" y="1047"/>
                  <a:pt x="115462" y="262"/>
                </a:cubicBezTo>
                <a:close/>
              </a:path>
            </a:pathLst>
          </a:custGeom>
          <a:solidFill>
            <a:srgbClr val="003F2D"/>
          </a:solidFill>
          <a:ln w="2617" cap="flat">
            <a:noFill/>
            <a:prstDash val="solid"/>
            <a:miter/>
          </a:ln>
        </p:spPr>
        <p:txBody>
          <a:bodyPr wrap="square" rtlCol="0" anchor="ctr">
            <a:noAutofit/>
          </a:bodyPr>
          <a:lstStyle/>
          <a:p>
            <a:endParaRPr lang="en-GB" dirty="0"/>
          </a:p>
        </p:txBody>
      </p:sp>
    </p:spTree>
    <p:extLst>
      <p:ext uri="{BB962C8B-B14F-4D97-AF65-F5344CB8AC3E}">
        <p14:creationId xmlns:p14="http://schemas.microsoft.com/office/powerpoint/2010/main" val="3275915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2250" fill="hold"/>
                                        <p:tgtEl>
                                          <p:spTgt spid="25"/>
                                        </p:tgtEl>
                                        <p:attrNameLst>
                                          <p:attrName>ppt_x</p:attrName>
                                        </p:attrNameLst>
                                      </p:cBhvr>
                                      <p:tavLst>
                                        <p:tav tm="0">
                                          <p:val>
                                            <p:strVal val="0-#ppt_w/2"/>
                                          </p:val>
                                        </p:tav>
                                        <p:tav tm="100000">
                                          <p:val>
                                            <p:strVal val="#ppt_x"/>
                                          </p:val>
                                        </p:tav>
                                      </p:tavLst>
                                    </p:anim>
                                    <p:anim calcmode="lin" valueType="num">
                                      <p:cBhvr additive="base">
                                        <p:cTn id="8" dur="225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A8CF4032-7337-4CD7-9023-66A295B8BB17}"/>
              </a:ext>
            </a:extLst>
          </p:cNvPr>
          <p:cNvSpPr>
            <a:spLocks noGrp="1"/>
          </p:cNvSpPr>
          <p:nvPr>
            <p:ph type="pic" sz="quarter" idx="10"/>
          </p:nvPr>
        </p:nvSpPr>
        <p:spPr>
          <a:xfrm>
            <a:off x="511175" y="452438"/>
            <a:ext cx="9118600" cy="5953124"/>
          </a:xfrm>
        </p:spPr>
        <p:txBody>
          <a:bodyPr/>
          <a:lstStyle>
            <a:lvl1pPr>
              <a:defRPr/>
            </a:lvl1pPr>
          </a:lstStyle>
          <a:p>
            <a:r>
              <a:rPr lang="en-GB" dirty="0"/>
              <a:t>Click icon to add picture</a:t>
            </a:r>
          </a:p>
        </p:txBody>
      </p:sp>
      <p:sp>
        <p:nvSpPr>
          <p:cNvPr id="6" name="Content Placeholder 1">
            <a:extLst>
              <a:ext uri="{FF2B5EF4-FFF2-40B4-BE49-F238E27FC236}">
                <a16:creationId xmlns:a16="http://schemas.microsoft.com/office/drawing/2014/main" id="{FA683CB5-8592-4C6F-8FB2-2BC3BC730742}"/>
              </a:ext>
            </a:extLst>
          </p:cNvPr>
          <p:cNvSpPr>
            <a:spLocks noGrp="1"/>
          </p:cNvSpPr>
          <p:nvPr>
            <p:ph sz="quarter" idx="11" hasCustomPrompt="1"/>
          </p:nvPr>
        </p:nvSpPr>
        <p:spPr>
          <a:xfrm>
            <a:off x="10244138" y="4102100"/>
            <a:ext cx="1435100" cy="2303462"/>
          </a:xfrm>
        </p:spPr>
        <p:txBody>
          <a:bodyPr anchor="b"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Tree>
    <p:extLst>
      <p:ext uri="{BB962C8B-B14F-4D97-AF65-F5344CB8AC3E}">
        <p14:creationId xmlns:p14="http://schemas.microsoft.com/office/powerpoint/2010/main" val="27187229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A8CF4032-7337-4CD7-9023-66A295B8BB17}"/>
              </a:ext>
            </a:extLst>
          </p:cNvPr>
          <p:cNvSpPr>
            <a:spLocks noGrp="1"/>
          </p:cNvSpPr>
          <p:nvPr>
            <p:ph type="pic" sz="quarter" idx="10"/>
          </p:nvPr>
        </p:nvSpPr>
        <p:spPr>
          <a:xfrm>
            <a:off x="511174" y="2227262"/>
            <a:ext cx="2971801" cy="4176713"/>
          </a:xfrm>
        </p:spPr>
        <p:txBody>
          <a:bodyPr/>
          <a:lstStyle>
            <a:lvl1pPr>
              <a:defRPr/>
            </a:lvl1pPr>
          </a:lstStyle>
          <a:p>
            <a:r>
              <a:rPr lang="en-GB" dirty="0"/>
              <a:t>Click icon to add picture</a:t>
            </a:r>
          </a:p>
        </p:txBody>
      </p:sp>
      <p:sp>
        <p:nvSpPr>
          <p:cNvPr id="6" name="Content Placeholder 1">
            <a:extLst>
              <a:ext uri="{FF2B5EF4-FFF2-40B4-BE49-F238E27FC236}">
                <a16:creationId xmlns:a16="http://schemas.microsoft.com/office/drawing/2014/main" id="{FA683CB5-8592-4C6F-8FB2-2BC3BC730742}"/>
              </a:ext>
            </a:extLst>
          </p:cNvPr>
          <p:cNvSpPr>
            <a:spLocks noGrp="1"/>
          </p:cNvSpPr>
          <p:nvPr>
            <p:ph sz="quarter" idx="11" hasCustomPrompt="1"/>
          </p:nvPr>
        </p:nvSpPr>
        <p:spPr>
          <a:xfrm>
            <a:off x="511175" y="352425"/>
            <a:ext cx="1444625" cy="1781175"/>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1A724142-6E8A-400D-9290-420F84CBC41D}"/>
              </a:ext>
            </a:extLst>
          </p:cNvPr>
          <p:cNvSpPr>
            <a:spLocks noGrp="1"/>
          </p:cNvSpPr>
          <p:nvPr>
            <p:ph type="pic" sz="quarter" idx="12"/>
          </p:nvPr>
        </p:nvSpPr>
        <p:spPr>
          <a:xfrm>
            <a:off x="6657975" y="0"/>
            <a:ext cx="5534025" cy="6858000"/>
          </a:xfrm>
        </p:spPr>
        <p:txBody>
          <a:bodyPr/>
          <a:lstStyle/>
          <a:p>
            <a:r>
              <a:rPr lang="en-GB" dirty="0"/>
              <a:t>Click icon to add picture</a:t>
            </a:r>
          </a:p>
        </p:txBody>
      </p:sp>
      <p:sp>
        <p:nvSpPr>
          <p:cNvPr id="7" name="Content Placeholder 2">
            <a:extLst>
              <a:ext uri="{FF2B5EF4-FFF2-40B4-BE49-F238E27FC236}">
                <a16:creationId xmlns:a16="http://schemas.microsoft.com/office/drawing/2014/main" id="{609965F0-607A-4013-A22C-5D6A13818A71}"/>
              </a:ext>
            </a:extLst>
          </p:cNvPr>
          <p:cNvSpPr>
            <a:spLocks noGrp="1"/>
          </p:cNvSpPr>
          <p:nvPr>
            <p:ph sz="quarter" idx="13" hasCustomPrompt="1"/>
          </p:nvPr>
        </p:nvSpPr>
        <p:spPr>
          <a:xfrm>
            <a:off x="2047875" y="352425"/>
            <a:ext cx="1435100" cy="1781175"/>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Tree>
    <p:extLst>
      <p:ext uri="{BB962C8B-B14F-4D97-AF65-F5344CB8AC3E}">
        <p14:creationId xmlns:p14="http://schemas.microsoft.com/office/powerpoint/2010/main" val="12866293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A8CF4032-7337-4CD7-9023-66A295B8BB17}"/>
              </a:ext>
            </a:extLst>
          </p:cNvPr>
          <p:cNvSpPr>
            <a:spLocks noGrp="1"/>
          </p:cNvSpPr>
          <p:nvPr>
            <p:ph type="pic" sz="quarter" idx="10"/>
          </p:nvPr>
        </p:nvSpPr>
        <p:spPr>
          <a:xfrm>
            <a:off x="511174" y="2852738"/>
            <a:ext cx="5534025" cy="3529011"/>
          </a:xfrm>
        </p:spPr>
        <p:txBody>
          <a:bodyPr/>
          <a:lstStyle>
            <a:lvl1pPr>
              <a:defRPr/>
            </a:lvl1pPr>
          </a:lstStyle>
          <a:p>
            <a:r>
              <a:rPr lang="en-GB" dirty="0"/>
              <a:t>Click icon to add picture</a:t>
            </a:r>
          </a:p>
        </p:txBody>
      </p:sp>
      <p:sp>
        <p:nvSpPr>
          <p:cNvPr id="6" name="Content Placeholder 1">
            <a:extLst>
              <a:ext uri="{FF2B5EF4-FFF2-40B4-BE49-F238E27FC236}">
                <a16:creationId xmlns:a16="http://schemas.microsoft.com/office/drawing/2014/main" id="{FA683CB5-8592-4C6F-8FB2-2BC3BC730742}"/>
              </a:ext>
            </a:extLst>
          </p:cNvPr>
          <p:cNvSpPr>
            <a:spLocks noGrp="1"/>
          </p:cNvSpPr>
          <p:nvPr>
            <p:ph sz="quarter" idx="11" hasCustomPrompt="1"/>
          </p:nvPr>
        </p:nvSpPr>
        <p:spPr>
          <a:xfrm>
            <a:off x="511175" y="352425"/>
            <a:ext cx="1444625" cy="2398713"/>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1A724142-6E8A-400D-9290-420F84CBC41D}"/>
              </a:ext>
            </a:extLst>
          </p:cNvPr>
          <p:cNvSpPr>
            <a:spLocks noGrp="1"/>
          </p:cNvSpPr>
          <p:nvPr>
            <p:ph type="pic" sz="quarter" idx="12"/>
          </p:nvPr>
        </p:nvSpPr>
        <p:spPr>
          <a:xfrm>
            <a:off x="6146803" y="2852738"/>
            <a:ext cx="5532435" cy="3529012"/>
          </a:xfrm>
        </p:spPr>
        <p:txBody>
          <a:bodyPr/>
          <a:lstStyle/>
          <a:p>
            <a:r>
              <a:rPr lang="en-GB" dirty="0"/>
              <a:t>Click icon to add picture</a:t>
            </a:r>
          </a:p>
        </p:txBody>
      </p:sp>
      <p:sp>
        <p:nvSpPr>
          <p:cNvPr id="7" name="Content Placeholder 2">
            <a:extLst>
              <a:ext uri="{FF2B5EF4-FFF2-40B4-BE49-F238E27FC236}">
                <a16:creationId xmlns:a16="http://schemas.microsoft.com/office/drawing/2014/main" id="{609965F0-607A-4013-A22C-5D6A13818A71}"/>
              </a:ext>
            </a:extLst>
          </p:cNvPr>
          <p:cNvSpPr>
            <a:spLocks noGrp="1"/>
          </p:cNvSpPr>
          <p:nvPr>
            <p:ph sz="quarter" idx="13" hasCustomPrompt="1"/>
          </p:nvPr>
        </p:nvSpPr>
        <p:spPr>
          <a:xfrm>
            <a:off x="6146803" y="352425"/>
            <a:ext cx="1435100" cy="2398713"/>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Tree>
    <p:extLst>
      <p:ext uri="{BB962C8B-B14F-4D97-AF65-F5344CB8AC3E}">
        <p14:creationId xmlns:p14="http://schemas.microsoft.com/office/powerpoint/2010/main" val="25517306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Layout 4">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A8CF4032-7337-4CD7-9023-66A295B8BB17}"/>
              </a:ext>
            </a:extLst>
          </p:cNvPr>
          <p:cNvSpPr>
            <a:spLocks noGrp="1"/>
          </p:cNvSpPr>
          <p:nvPr>
            <p:ph type="pic" sz="quarter" idx="10"/>
          </p:nvPr>
        </p:nvSpPr>
        <p:spPr>
          <a:xfrm>
            <a:off x="511173" y="452437"/>
            <a:ext cx="4507992" cy="2929255"/>
          </a:xfrm>
        </p:spPr>
        <p:txBody>
          <a:bodyPr/>
          <a:lstStyle>
            <a:lvl1pPr>
              <a:defRPr/>
            </a:lvl1pPr>
          </a:lstStyle>
          <a:p>
            <a:r>
              <a:rPr lang="en-GB" dirty="0"/>
              <a:t>Click icon to add picture</a:t>
            </a:r>
          </a:p>
        </p:txBody>
      </p:sp>
      <p:sp>
        <p:nvSpPr>
          <p:cNvPr id="6" name="Content Placeholder 1">
            <a:extLst>
              <a:ext uri="{FF2B5EF4-FFF2-40B4-BE49-F238E27FC236}">
                <a16:creationId xmlns:a16="http://schemas.microsoft.com/office/drawing/2014/main" id="{FA683CB5-8592-4C6F-8FB2-2BC3BC730742}"/>
              </a:ext>
            </a:extLst>
          </p:cNvPr>
          <p:cNvSpPr>
            <a:spLocks noGrp="1"/>
          </p:cNvSpPr>
          <p:nvPr>
            <p:ph sz="quarter" idx="11" hasCustomPrompt="1"/>
          </p:nvPr>
        </p:nvSpPr>
        <p:spPr>
          <a:xfrm>
            <a:off x="5120660" y="452438"/>
            <a:ext cx="923544" cy="1993392"/>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1A724142-6E8A-400D-9290-420F84CBC41D}"/>
              </a:ext>
            </a:extLst>
          </p:cNvPr>
          <p:cNvSpPr>
            <a:spLocks noGrp="1"/>
          </p:cNvSpPr>
          <p:nvPr>
            <p:ph type="pic" sz="quarter" idx="12"/>
          </p:nvPr>
        </p:nvSpPr>
        <p:spPr>
          <a:xfrm>
            <a:off x="7170738" y="452437"/>
            <a:ext cx="4507992" cy="2929255"/>
          </a:xfrm>
        </p:spPr>
        <p:txBody>
          <a:bodyPr/>
          <a:lstStyle>
            <a:lvl1pPr marL="0" marR="0" indent="0" defTabSz="914400" eaLnBrk="1" fontAlgn="auto" latinLnBrk="0" hangingPunct="1">
              <a:lnSpc>
                <a:spcPct val="100000"/>
              </a:lnSpc>
              <a:spcBef>
                <a:spcPts val="1200"/>
              </a:spcBef>
              <a:spcAft>
                <a:spcPts val="1200"/>
              </a:spcAft>
              <a:buClrTx/>
              <a:buSzTx/>
              <a:buFontTx/>
              <a:buNone/>
              <a:tabLst/>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7" name="Content Placeholder 2">
            <a:extLst>
              <a:ext uri="{FF2B5EF4-FFF2-40B4-BE49-F238E27FC236}">
                <a16:creationId xmlns:a16="http://schemas.microsoft.com/office/drawing/2014/main" id="{609965F0-607A-4013-A22C-5D6A13818A71}"/>
              </a:ext>
            </a:extLst>
          </p:cNvPr>
          <p:cNvSpPr>
            <a:spLocks noGrp="1"/>
          </p:cNvSpPr>
          <p:nvPr>
            <p:ph sz="quarter" idx="13" hasCustomPrompt="1"/>
          </p:nvPr>
        </p:nvSpPr>
        <p:spPr>
          <a:xfrm>
            <a:off x="6145699" y="452438"/>
            <a:ext cx="923544" cy="1993392"/>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5" name="Picture Placeholder 3">
            <a:extLst>
              <a:ext uri="{FF2B5EF4-FFF2-40B4-BE49-F238E27FC236}">
                <a16:creationId xmlns:a16="http://schemas.microsoft.com/office/drawing/2014/main" id="{5E306714-E926-4DD9-BBE5-131B471B1D3C}"/>
              </a:ext>
            </a:extLst>
          </p:cNvPr>
          <p:cNvSpPr>
            <a:spLocks noGrp="1"/>
          </p:cNvSpPr>
          <p:nvPr>
            <p:ph type="pic" sz="quarter" idx="14"/>
          </p:nvPr>
        </p:nvSpPr>
        <p:spPr>
          <a:xfrm>
            <a:off x="511173" y="3474719"/>
            <a:ext cx="4507992" cy="2929255"/>
          </a:xfrm>
        </p:spPr>
        <p:txBody>
          <a:bodyPr/>
          <a:lstStyle>
            <a:lvl1pPr marL="0" marR="0" indent="0" defTabSz="914400" eaLnBrk="1" fontAlgn="auto" latinLnBrk="0" hangingPunct="1">
              <a:lnSpc>
                <a:spcPct val="100000"/>
              </a:lnSpc>
              <a:spcBef>
                <a:spcPts val="1200"/>
              </a:spcBef>
              <a:spcAft>
                <a:spcPts val="1200"/>
              </a:spcAft>
              <a:buClrTx/>
              <a:buSzTx/>
              <a:buFontTx/>
              <a:buNone/>
              <a:tabLst/>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9" name="Content Placeholder 3">
            <a:extLst>
              <a:ext uri="{FF2B5EF4-FFF2-40B4-BE49-F238E27FC236}">
                <a16:creationId xmlns:a16="http://schemas.microsoft.com/office/drawing/2014/main" id="{470AD60A-7F17-4319-954E-75F5B403ED76}"/>
              </a:ext>
            </a:extLst>
          </p:cNvPr>
          <p:cNvSpPr>
            <a:spLocks noGrp="1"/>
          </p:cNvSpPr>
          <p:nvPr>
            <p:ph sz="quarter" idx="15" hasCustomPrompt="1"/>
          </p:nvPr>
        </p:nvSpPr>
        <p:spPr>
          <a:xfrm>
            <a:off x="5120660" y="3474720"/>
            <a:ext cx="923544" cy="1993392"/>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8" name="Content Placeholder 4">
            <a:extLst>
              <a:ext uri="{FF2B5EF4-FFF2-40B4-BE49-F238E27FC236}">
                <a16:creationId xmlns:a16="http://schemas.microsoft.com/office/drawing/2014/main" id="{07C2A20F-693D-463A-87C3-53A3DDC5B708}"/>
              </a:ext>
            </a:extLst>
          </p:cNvPr>
          <p:cNvSpPr>
            <a:spLocks noGrp="1"/>
          </p:cNvSpPr>
          <p:nvPr>
            <p:ph sz="quarter" idx="16" hasCustomPrompt="1"/>
          </p:nvPr>
        </p:nvSpPr>
        <p:spPr>
          <a:xfrm>
            <a:off x="6146800" y="3474720"/>
            <a:ext cx="922338" cy="1993392"/>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11" name="Picture Placeholder 4">
            <a:extLst>
              <a:ext uri="{FF2B5EF4-FFF2-40B4-BE49-F238E27FC236}">
                <a16:creationId xmlns:a16="http://schemas.microsoft.com/office/drawing/2014/main" id="{A08E27B9-492C-4EAD-9166-6BBEB06B7314}"/>
              </a:ext>
            </a:extLst>
          </p:cNvPr>
          <p:cNvSpPr>
            <a:spLocks noGrp="1"/>
          </p:cNvSpPr>
          <p:nvPr>
            <p:ph type="pic" sz="quarter" idx="17"/>
          </p:nvPr>
        </p:nvSpPr>
        <p:spPr>
          <a:xfrm>
            <a:off x="7170738" y="3474719"/>
            <a:ext cx="4507992" cy="2929255"/>
          </a:xfrm>
        </p:spPr>
        <p:txBody>
          <a:bodyPr/>
          <a:lstStyle/>
          <a:p>
            <a:r>
              <a:rPr lang="en-GB" dirty="0"/>
              <a:t>Click icon to add picture</a:t>
            </a:r>
            <a:endParaRPr lang="en-US" dirty="0"/>
          </a:p>
        </p:txBody>
      </p:sp>
    </p:spTree>
    <p:extLst>
      <p:ext uri="{BB962C8B-B14F-4D97-AF65-F5344CB8AC3E}">
        <p14:creationId xmlns:p14="http://schemas.microsoft.com/office/powerpoint/2010/main" val="14137262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Layout 5">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A8CF4032-7337-4CD7-9023-66A295B8BB17}"/>
              </a:ext>
            </a:extLst>
          </p:cNvPr>
          <p:cNvSpPr>
            <a:spLocks noGrp="1"/>
          </p:cNvSpPr>
          <p:nvPr>
            <p:ph type="pic" sz="quarter" idx="10"/>
          </p:nvPr>
        </p:nvSpPr>
        <p:spPr>
          <a:xfrm>
            <a:off x="511174" y="452439"/>
            <a:ext cx="5534025" cy="3548061"/>
          </a:xfrm>
        </p:spPr>
        <p:txBody>
          <a:bodyPr/>
          <a:lstStyle>
            <a:lvl1pPr>
              <a:defRPr/>
            </a:lvl1pPr>
          </a:lstStyle>
          <a:p>
            <a:r>
              <a:rPr lang="en-GB" dirty="0"/>
              <a:t>Click icon to add picture</a:t>
            </a:r>
          </a:p>
        </p:txBody>
      </p:sp>
      <p:sp>
        <p:nvSpPr>
          <p:cNvPr id="6" name="Content Placeholder 1">
            <a:extLst>
              <a:ext uri="{FF2B5EF4-FFF2-40B4-BE49-F238E27FC236}">
                <a16:creationId xmlns:a16="http://schemas.microsoft.com/office/drawing/2014/main" id="{FA683CB5-8592-4C6F-8FB2-2BC3BC730742}"/>
              </a:ext>
            </a:extLst>
          </p:cNvPr>
          <p:cNvSpPr>
            <a:spLocks noGrp="1"/>
          </p:cNvSpPr>
          <p:nvPr>
            <p:ph sz="quarter" idx="11" hasCustomPrompt="1"/>
          </p:nvPr>
        </p:nvSpPr>
        <p:spPr>
          <a:xfrm>
            <a:off x="511175" y="4727574"/>
            <a:ext cx="1444625" cy="1676401"/>
          </a:xfrm>
        </p:spPr>
        <p:txBody>
          <a:bodyPr anchor="b"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1A724142-6E8A-400D-9290-420F84CBC41D}"/>
              </a:ext>
            </a:extLst>
          </p:cNvPr>
          <p:cNvSpPr>
            <a:spLocks noGrp="1"/>
          </p:cNvSpPr>
          <p:nvPr>
            <p:ph type="pic" sz="quarter" idx="12"/>
          </p:nvPr>
        </p:nvSpPr>
        <p:spPr>
          <a:xfrm>
            <a:off x="6146803" y="452439"/>
            <a:ext cx="5532435" cy="3548062"/>
          </a:xfrm>
        </p:spPr>
        <p:txBody>
          <a:bodyPr/>
          <a:lstStyle/>
          <a:p>
            <a:r>
              <a:rPr lang="en-GB" dirty="0"/>
              <a:t>Click icon to add picture</a:t>
            </a:r>
          </a:p>
        </p:txBody>
      </p:sp>
      <p:sp>
        <p:nvSpPr>
          <p:cNvPr id="7" name="Content Placeholder 2">
            <a:extLst>
              <a:ext uri="{FF2B5EF4-FFF2-40B4-BE49-F238E27FC236}">
                <a16:creationId xmlns:a16="http://schemas.microsoft.com/office/drawing/2014/main" id="{609965F0-607A-4013-A22C-5D6A13818A71}"/>
              </a:ext>
            </a:extLst>
          </p:cNvPr>
          <p:cNvSpPr>
            <a:spLocks noGrp="1"/>
          </p:cNvSpPr>
          <p:nvPr>
            <p:ph sz="quarter" idx="13" hasCustomPrompt="1"/>
          </p:nvPr>
        </p:nvSpPr>
        <p:spPr>
          <a:xfrm>
            <a:off x="6146803" y="4727574"/>
            <a:ext cx="1435100" cy="1676401"/>
          </a:xfrm>
        </p:spPr>
        <p:txBody>
          <a:bodyPr anchor="b"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Tree>
    <p:extLst>
      <p:ext uri="{BB962C8B-B14F-4D97-AF65-F5344CB8AC3E}">
        <p14:creationId xmlns:p14="http://schemas.microsoft.com/office/powerpoint/2010/main" val="955967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Layout 6">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A8CF4032-7337-4CD7-9023-66A295B8BB17}"/>
              </a:ext>
            </a:extLst>
          </p:cNvPr>
          <p:cNvSpPr>
            <a:spLocks noGrp="1"/>
          </p:cNvSpPr>
          <p:nvPr>
            <p:ph type="pic" sz="quarter" idx="10"/>
          </p:nvPr>
        </p:nvSpPr>
        <p:spPr>
          <a:xfrm>
            <a:off x="2560638" y="454025"/>
            <a:ext cx="9118600" cy="5949950"/>
          </a:xfrm>
        </p:spPr>
        <p:txBody>
          <a:bodyPr/>
          <a:lstStyle>
            <a:lvl1pPr>
              <a:defRPr/>
            </a:lvl1pPr>
          </a:lstStyle>
          <a:p>
            <a:r>
              <a:rPr lang="en-GB" dirty="0"/>
              <a:t>Click icon to add picture</a:t>
            </a:r>
          </a:p>
        </p:txBody>
      </p:sp>
      <p:sp>
        <p:nvSpPr>
          <p:cNvPr id="6" name="Content Placeholder 1">
            <a:extLst>
              <a:ext uri="{FF2B5EF4-FFF2-40B4-BE49-F238E27FC236}">
                <a16:creationId xmlns:a16="http://schemas.microsoft.com/office/drawing/2014/main" id="{FA683CB5-8592-4C6F-8FB2-2BC3BC730742}"/>
              </a:ext>
            </a:extLst>
          </p:cNvPr>
          <p:cNvSpPr>
            <a:spLocks noGrp="1"/>
          </p:cNvSpPr>
          <p:nvPr>
            <p:ph sz="quarter" idx="11" hasCustomPrompt="1"/>
          </p:nvPr>
        </p:nvSpPr>
        <p:spPr>
          <a:xfrm>
            <a:off x="512762" y="1601787"/>
            <a:ext cx="1435100" cy="4802187"/>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Tree>
    <p:extLst>
      <p:ext uri="{BB962C8B-B14F-4D97-AF65-F5344CB8AC3E}">
        <p14:creationId xmlns:p14="http://schemas.microsoft.com/office/powerpoint/2010/main" val="30921656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Layout 7">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A8CF4032-7337-4CD7-9023-66A295B8BB17}"/>
              </a:ext>
            </a:extLst>
          </p:cNvPr>
          <p:cNvSpPr>
            <a:spLocks noGrp="1"/>
          </p:cNvSpPr>
          <p:nvPr>
            <p:ph type="pic" sz="quarter" idx="10"/>
          </p:nvPr>
        </p:nvSpPr>
        <p:spPr>
          <a:xfrm>
            <a:off x="511175" y="454025"/>
            <a:ext cx="3997326" cy="5949948"/>
          </a:xfrm>
        </p:spPr>
        <p:txBody>
          <a:bodyPr/>
          <a:lstStyle>
            <a:lvl1pPr>
              <a:defRPr/>
            </a:lvl1pPr>
          </a:lstStyle>
          <a:p>
            <a:r>
              <a:rPr lang="en-GB" dirty="0"/>
              <a:t>Click icon to add picture</a:t>
            </a:r>
          </a:p>
        </p:txBody>
      </p:sp>
      <p:sp>
        <p:nvSpPr>
          <p:cNvPr id="6" name="Content Placeholder 1">
            <a:extLst>
              <a:ext uri="{FF2B5EF4-FFF2-40B4-BE49-F238E27FC236}">
                <a16:creationId xmlns:a16="http://schemas.microsoft.com/office/drawing/2014/main" id="{FA683CB5-8592-4C6F-8FB2-2BC3BC730742}"/>
              </a:ext>
            </a:extLst>
          </p:cNvPr>
          <p:cNvSpPr>
            <a:spLocks noGrp="1"/>
          </p:cNvSpPr>
          <p:nvPr>
            <p:ph sz="quarter" idx="11" hasCustomPrompt="1"/>
          </p:nvPr>
        </p:nvSpPr>
        <p:spPr>
          <a:xfrm>
            <a:off x="4600573" y="454025"/>
            <a:ext cx="1444625" cy="2297113"/>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1A724142-6E8A-400D-9290-420F84CBC41D}"/>
              </a:ext>
            </a:extLst>
          </p:cNvPr>
          <p:cNvSpPr>
            <a:spLocks noGrp="1"/>
          </p:cNvSpPr>
          <p:nvPr>
            <p:ph type="pic" sz="quarter" idx="12"/>
          </p:nvPr>
        </p:nvSpPr>
        <p:spPr>
          <a:xfrm>
            <a:off x="7681912" y="454025"/>
            <a:ext cx="3997326" cy="5949950"/>
          </a:xfrm>
        </p:spPr>
        <p:txBody>
          <a:bodyPr/>
          <a:lstStyle>
            <a:lvl1pPr marL="0" marR="0" indent="0" defTabSz="914400" eaLnBrk="1" fontAlgn="auto" latinLnBrk="0" hangingPunct="1">
              <a:lnSpc>
                <a:spcPct val="100000"/>
              </a:lnSpc>
              <a:spcBef>
                <a:spcPts val="1200"/>
              </a:spcBef>
              <a:spcAft>
                <a:spcPts val="1200"/>
              </a:spcAft>
              <a:buClrTx/>
              <a:buSzTx/>
              <a:buFontTx/>
              <a:buNone/>
              <a:tabLst/>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7" name="Content Placeholder 2">
            <a:extLst>
              <a:ext uri="{FF2B5EF4-FFF2-40B4-BE49-F238E27FC236}">
                <a16:creationId xmlns:a16="http://schemas.microsoft.com/office/drawing/2014/main" id="{609965F0-607A-4013-A22C-5D6A13818A71}"/>
              </a:ext>
            </a:extLst>
          </p:cNvPr>
          <p:cNvSpPr>
            <a:spLocks noGrp="1"/>
          </p:cNvSpPr>
          <p:nvPr>
            <p:ph sz="quarter" idx="13" hasCustomPrompt="1"/>
          </p:nvPr>
        </p:nvSpPr>
        <p:spPr>
          <a:xfrm>
            <a:off x="6146803" y="454025"/>
            <a:ext cx="1435100" cy="2297113"/>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Tree>
    <p:extLst>
      <p:ext uri="{BB962C8B-B14F-4D97-AF65-F5344CB8AC3E}">
        <p14:creationId xmlns:p14="http://schemas.microsoft.com/office/powerpoint/2010/main" val="41738894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Layout 8">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A8CF4032-7337-4CD7-9023-66A295B8BB17}"/>
              </a:ext>
            </a:extLst>
          </p:cNvPr>
          <p:cNvSpPr>
            <a:spLocks noGrp="1"/>
          </p:cNvSpPr>
          <p:nvPr>
            <p:ph type="pic" sz="quarter" idx="10"/>
          </p:nvPr>
        </p:nvSpPr>
        <p:spPr>
          <a:xfrm>
            <a:off x="511174" y="2227262"/>
            <a:ext cx="2971801" cy="4176713"/>
          </a:xfrm>
        </p:spPr>
        <p:txBody>
          <a:bodyPr/>
          <a:lstStyle>
            <a:lvl1pPr>
              <a:defRPr/>
            </a:lvl1pPr>
          </a:lstStyle>
          <a:p>
            <a:r>
              <a:rPr lang="en-GB" dirty="0"/>
              <a:t>Click icon to add picture</a:t>
            </a:r>
          </a:p>
        </p:txBody>
      </p:sp>
      <p:sp>
        <p:nvSpPr>
          <p:cNvPr id="6" name="Content Placeholder 1">
            <a:extLst>
              <a:ext uri="{FF2B5EF4-FFF2-40B4-BE49-F238E27FC236}">
                <a16:creationId xmlns:a16="http://schemas.microsoft.com/office/drawing/2014/main" id="{FA683CB5-8592-4C6F-8FB2-2BC3BC730742}"/>
              </a:ext>
            </a:extLst>
          </p:cNvPr>
          <p:cNvSpPr>
            <a:spLocks noGrp="1"/>
          </p:cNvSpPr>
          <p:nvPr>
            <p:ph sz="quarter" idx="11" hasCustomPrompt="1"/>
          </p:nvPr>
        </p:nvSpPr>
        <p:spPr>
          <a:xfrm>
            <a:off x="511175" y="452438"/>
            <a:ext cx="1444625" cy="1657350"/>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1A724142-6E8A-400D-9290-420F84CBC41D}"/>
              </a:ext>
            </a:extLst>
          </p:cNvPr>
          <p:cNvSpPr>
            <a:spLocks noGrp="1"/>
          </p:cNvSpPr>
          <p:nvPr>
            <p:ph type="pic" sz="quarter" idx="12"/>
          </p:nvPr>
        </p:nvSpPr>
        <p:spPr>
          <a:xfrm>
            <a:off x="4610101" y="2227262"/>
            <a:ext cx="2971800" cy="4176713"/>
          </a:xfrm>
        </p:spPr>
        <p:txBody>
          <a:bodyPr/>
          <a:lstStyle>
            <a:lvl1pPr marL="0" marR="0" indent="0" defTabSz="914400" eaLnBrk="1" fontAlgn="auto" latinLnBrk="0" hangingPunct="1">
              <a:lnSpc>
                <a:spcPct val="100000"/>
              </a:lnSpc>
              <a:spcBef>
                <a:spcPts val="1200"/>
              </a:spcBef>
              <a:spcAft>
                <a:spcPts val="1200"/>
              </a:spcAft>
              <a:buClrTx/>
              <a:buSzTx/>
              <a:buFontTx/>
              <a:buNone/>
              <a:tabLst/>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7" name="Content Placeholder 2">
            <a:extLst>
              <a:ext uri="{FF2B5EF4-FFF2-40B4-BE49-F238E27FC236}">
                <a16:creationId xmlns:a16="http://schemas.microsoft.com/office/drawing/2014/main" id="{609965F0-607A-4013-A22C-5D6A13818A71}"/>
              </a:ext>
            </a:extLst>
          </p:cNvPr>
          <p:cNvSpPr>
            <a:spLocks noGrp="1"/>
          </p:cNvSpPr>
          <p:nvPr>
            <p:ph sz="quarter" idx="13" hasCustomPrompt="1"/>
          </p:nvPr>
        </p:nvSpPr>
        <p:spPr>
          <a:xfrm>
            <a:off x="4610100" y="452438"/>
            <a:ext cx="1435100" cy="1657350"/>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5" name="Picture Placeholder 3">
            <a:extLst>
              <a:ext uri="{FF2B5EF4-FFF2-40B4-BE49-F238E27FC236}">
                <a16:creationId xmlns:a16="http://schemas.microsoft.com/office/drawing/2014/main" id="{5E306714-E926-4DD9-BBE5-131B471B1D3C}"/>
              </a:ext>
            </a:extLst>
          </p:cNvPr>
          <p:cNvSpPr>
            <a:spLocks noGrp="1"/>
          </p:cNvSpPr>
          <p:nvPr>
            <p:ph type="pic" sz="quarter" idx="14"/>
          </p:nvPr>
        </p:nvSpPr>
        <p:spPr>
          <a:xfrm>
            <a:off x="8707438" y="2227263"/>
            <a:ext cx="2971800" cy="4176713"/>
          </a:xfrm>
        </p:spPr>
        <p:txBody>
          <a:bodyPr/>
          <a:lstStyle>
            <a:lvl1pPr marL="0" marR="0" indent="0" defTabSz="914400" eaLnBrk="1" fontAlgn="auto" latinLnBrk="0" hangingPunct="1">
              <a:lnSpc>
                <a:spcPct val="100000"/>
              </a:lnSpc>
              <a:spcBef>
                <a:spcPts val="1200"/>
              </a:spcBef>
              <a:spcAft>
                <a:spcPts val="1200"/>
              </a:spcAft>
              <a:buClrTx/>
              <a:buSzTx/>
              <a:buFontTx/>
              <a:buNone/>
              <a:tabLst/>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9" name="Content Placeholder 3">
            <a:extLst>
              <a:ext uri="{FF2B5EF4-FFF2-40B4-BE49-F238E27FC236}">
                <a16:creationId xmlns:a16="http://schemas.microsoft.com/office/drawing/2014/main" id="{470AD60A-7F17-4319-954E-75F5B403ED76}"/>
              </a:ext>
            </a:extLst>
          </p:cNvPr>
          <p:cNvSpPr>
            <a:spLocks noGrp="1"/>
          </p:cNvSpPr>
          <p:nvPr>
            <p:ph sz="quarter" idx="15" hasCustomPrompt="1"/>
          </p:nvPr>
        </p:nvSpPr>
        <p:spPr>
          <a:xfrm>
            <a:off x="8707438" y="452438"/>
            <a:ext cx="1435100" cy="1657350"/>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Tree>
    <p:extLst>
      <p:ext uri="{BB962C8B-B14F-4D97-AF65-F5344CB8AC3E}">
        <p14:creationId xmlns:p14="http://schemas.microsoft.com/office/powerpoint/2010/main" val="19853848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Layout 9">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id="{A8CF4032-7337-4CD7-9023-66A295B8BB17}"/>
              </a:ext>
            </a:extLst>
          </p:cNvPr>
          <p:cNvSpPr>
            <a:spLocks noGrp="1"/>
          </p:cNvSpPr>
          <p:nvPr>
            <p:ph type="pic" sz="quarter" idx="10"/>
          </p:nvPr>
        </p:nvSpPr>
        <p:spPr>
          <a:xfrm>
            <a:off x="511174" y="2227262"/>
            <a:ext cx="2971801" cy="1773237"/>
          </a:xfrm>
        </p:spPr>
        <p:txBody>
          <a:bodyPr/>
          <a:lstStyle>
            <a:lvl1pPr>
              <a:defRPr/>
            </a:lvl1pPr>
          </a:lstStyle>
          <a:p>
            <a:r>
              <a:rPr lang="en-GB" dirty="0"/>
              <a:t>Click icon to add picture</a:t>
            </a:r>
          </a:p>
        </p:txBody>
      </p:sp>
      <p:sp>
        <p:nvSpPr>
          <p:cNvPr id="6" name="Content Placeholder 1">
            <a:extLst>
              <a:ext uri="{FF2B5EF4-FFF2-40B4-BE49-F238E27FC236}">
                <a16:creationId xmlns:a16="http://schemas.microsoft.com/office/drawing/2014/main" id="{FA683CB5-8592-4C6F-8FB2-2BC3BC730742}"/>
              </a:ext>
            </a:extLst>
          </p:cNvPr>
          <p:cNvSpPr>
            <a:spLocks noGrp="1"/>
          </p:cNvSpPr>
          <p:nvPr>
            <p:ph sz="quarter" idx="11" hasCustomPrompt="1"/>
          </p:nvPr>
        </p:nvSpPr>
        <p:spPr>
          <a:xfrm>
            <a:off x="511175" y="452438"/>
            <a:ext cx="1444625" cy="1673225"/>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1A724142-6E8A-400D-9290-420F84CBC41D}"/>
              </a:ext>
            </a:extLst>
          </p:cNvPr>
          <p:cNvSpPr>
            <a:spLocks noGrp="1"/>
          </p:cNvSpPr>
          <p:nvPr>
            <p:ph type="pic" sz="quarter" idx="12"/>
          </p:nvPr>
        </p:nvSpPr>
        <p:spPr>
          <a:xfrm>
            <a:off x="4610101" y="2227262"/>
            <a:ext cx="2971800" cy="1773237"/>
          </a:xfrm>
        </p:spPr>
        <p:txBody>
          <a:bodyPr/>
          <a:lstStyle>
            <a:lvl1pPr marL="0" marR="0" indent="0" defTabSz="914400" eaLnBrk="1" fontAlgn="auto" latinLnBrk="0" hangingPunct="1">
              <a:lnSpc>
                <a:spcPct val="100000"/>
              </a:lnSpc>
              <a:spcBef>
                <a:spcPts val="1200"/>
              </a:spcBef>
              <a:spcAft>
                <a:spcPts val="1200"/>
              </a:spcAft>
              <a:buClrTx/>
              <a:buSzTx/>
              <a:buFontTx/>
              <a:buNone/>
              <a:tabLst/>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7" name="Content Placeholder 2">
            <a:extLst>
              <a:ext uri="{FF2B5EF4-FFF2-40B4-BE49-F238E27FC236}">
                <a16:creationId xmlns:a16="http://schemas.microsoft.com/office/drawing/2014/main" id="{609965F0-607A-4013-A22C-5D6A13818A71}"/>
              </a:ext>
            </a:extLst>
          </p:cNvPr>
          <p:cNvSpPr>
            <a:spLocks noGrp="1"/>
          </p:cNvSpPr>
          <p:nvPr>
            <p:ph sz="quarter" idx="13" hasCustomPrompt="1"/>
          </p:nvPr>
        </p:nvSpPr>
        <p:spPr>
          <a:xfrm>
            <a:off x="4610100" y="452438"/>
            <a:ext cx="1435100" cy="1673225"/>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
        <p:nvSpPr>
          <p:cNvPr id="5" name="Picture Placeholder 3">
            <a:extLst>
              <a:ext uri="{FF2B5EF4-FFF2-40B4-BE49-F238E27FC236}">
                <a16:creationId xmlns:a16="http://schemas.microsoft.com/office/drawing/2014/main" id="{5E306714-E926-4DD9-BBE5-131B471B1D3C}"/>
              </a:ext>
            </a:extLst>
          </p:cNvPr>
          <p:cNvSpPr>
            <a:spLocks noGrp="1"/>
          </p:cNvSpPr>
          <p:nvPr>
            <p:ph type="pic" sz="quarter" idx="14"/>
          </p:nvPr>
        </p:nvSpPr>
        <p:spPr>
          <a:xfrm>
            <a:off x="8707438" y="2227263"/>
            <a:ext cx="2971800" cy="1773237"/>
          </a:xfrm>
        </p:spPr>
        <p:txBody>
          <a:bodyPr/>
          <a:lstStyle>
            <a:lvl1pPr marL="0" marR="0" indent="0" defTabSz="914400" eaLnBrk="1" fontAlgn="auto" latinLnBrk="0" hangingPunct="1">
              <a:lnSpc>
                <a:spcPct val="100000"/>
              </a:lnSpc>
              <a:spcBef>
                <a:spcPts val="1200"/>
              </a:spcBef>
              <a:spcAft>
                <a:spcPts val="1200"/>
              </a:spcAft>
              <a:buClrTx/>
              <a:buSzTx/>
              <a:buFontTx/>
              <a:buNone/>
              <a:tabLst/>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9" name="Content Placeholder 3">
            <a:extLst>
              <a:ext uri="{FF2B5EF4-FFF2-40B4-BE49-F238E27FC236}">
                <a16:creationId xmlns:a16="http://schemas.microsoft.com/office/drawing/2014/main" id="{470AD60A-7F17-4319-954E-75F5B403ED76}"/>
              </a:ext>
            </a:extLst>
          </p:cNvPr>
          <p:cNvSpPr>
            <a:spLocks noGrp="1"/>
          </p:cNvSpPr>
          <p:nvPr>
            <p:ph sz="quarter" idx="15" hasCustomPrompt="1"/>
          </p:nvPr>
        </p:nvSpPr>
        <p:spPr>
          <a:xfrm>
            <a:off x="8707438" y="452438"/>
            <a:ext cx="1435100" cy="1673225"/>
          </a:xfrm>
        </p:spPr>
        <p:txBody>
          <a:bodyPr anchor="t" anchorCtr="0"/>
          <a:lstStyle>
            <a:lvl1pPr>
              <a:spcBef>
                <a:spcPts val="600"/>
              </a:spcBef>
              <a:spcAft>
                <a:spcPts val="0"/>
              </a:spcAft>
              <a:defRPr lang="en-US" sz="1200" dirty="0" smtClean="0">
                <a:solidFill>
                  <a:schemeClr val="tx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tx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tx1"/>
                </a:solidFill>
                <a:latin typeface="+mn-lt"/>
                <a:ea typeface="+mn-ea"/>
                <a:cs typeface="+mn-cs"/>
              </a:defRPr>
            </a:lvl3pPr>
            <a:lvl4pPr marL="356616">
              <a:spcBef>
                <a:spcPts val="0"/>
              </a:spcBef>
              <a:spcAft>
                <a:spcPts val="300"/>
              </a:spcAft>
              <a:defRPr lang="en-US" sz="105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Sub heading</a:t>
            </a:r>
          </a:p>
          <a:p>
            <a:pPr lvl="1"/>
            <a:r>
              <a:rPr lang="en-GB"/>
              <a:t>Text</a:t>
            </a:r>
          </a:p>
        </p:txBody>
      </p:sp>
    </p:spTree>
    <p:extLst>
      <p:ext uri="{BB962C8B-B14F-4D97-AF65-F5344CB8AC3E}">
        <p14:creationId xmlns:p14="http://schemas.microsoft.com/office/powerpoint/2010/main" val="21288872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 Dark Photo Layout 1">
    <p:bg>
      <p:bgPr>
        <a:solidFill>
          <a:srgbClr val="012A2D"/>
        </a:solidFill>
        <a:effectLst/>
      </p:bgPr>
    </p:bg>
    <p:spTree>
      <p:nvGrpSpPr>
        <p:cNvPr id="1" name=""/>
        <p:cNvGrpSpPr/>
        <p:nvPr/>
      </p:nvGrpSpPr>
      <p:grpSpPr>
        <a:xfrm>
          <a:off x="0" y="0"/>
          <a:ext cx="0" cy="0"/>
          <a:chOff x="0" y="0"/>
          <a:chExt cx="0" cy="0"/>
        </a:xfrm>
      </p:grpSpPr>
      <p:sp>
        <p:nvSpPr>
          <p:cNvPr id="8" name="Page Number">
            <a:extLst>
              <a:ext uri="{FF2B5EF4-FFF2-40B4-BE49-F238E27FC236}">
                <a16:creationId xmlns:a16="http://schemas.microsoft.com/office/drawing/2014/main" id="{C98E66F1-6DBC-420B-A0A4-9CCF2CCB2A0A}"/>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7" name="Left Footer">
            <a:extLst>
              <a:ext uri="{FF2B5EF4-FFF2-40B4-BE49-F238E27FC236}">
                <a16:creationId xmlns:a16="http://schemas.microsoft.com/office/drawing/2014/main" id="{EAE2558A-5E81-4613-BD4F-4F510C334C4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4" name="Picture Placeholder 1">
            <a:extLst>
              <a:ext uri="{FF2B5EF4-FFF2-40B4-BE49-F238E27FC236}">
                <a16:creationId xmlns:a16="http://schemas.microsoft.com/office/drawing/2014/main" id="{1ED2B663-0A12-4E05-BFF4-4B98F51E00AD}"/>
              </a:ext>
            </a:extLst>
          </p:cNvPr>
          <p:cNvSpPr>
            <a:spLocks noGrp="1"/>
          </p:cNvSpPr>
          <p:nvPr>
            <p:ph type="pic" sz="quarter" idx="10"/>
          </p:nvPr>
        </p:nvSpPr>
        <p:spPr>
          <a:xfrm>
            <a:off x="511175" y="452438"/>
            <a:ext cx="9118600" cy="5953124"/>
          </a:xfrm>
        </p:spPr>
        <p:txBody>
          <a:bodyPr/>
          <a:lstStyle>
            <a:lvl1pPr>
              <a:defRPr>
                <a:solidFill>
                  <a:schemeClr val="bg1"/>
                </a:solidFill>
              </a:defRPr>
            </a:lvl1pPr>
          </a:lstStyle>
          <a:p>
            <a:r>
              <a:rPr lang="en-GB" dirty="0"/>
              <a:t>Click icon to add picture</a:t>
            </a:r>
          </a:p>
        </p:txBody>
      </p:sp>
      <p:sp>
        <p:nvSpPr>
          <p:cNvPr id="6" name="Content Placeholder 1">
            <a:extLst>
              <a:ext uri="{FF2B5EF4-FFF2-40B4-BE49-F238E27FC236}">
                <a16:creationId xmlns:a16="http://schemas.microsoft.com/office/drawing/2014/main" id="{7CED3D3F-E05A-43E8-8434-506C9DB8CBD0}"/>
              </a:ext>
            </a:extLst>
          </p:cNvPr>
          <p:cNvSpPr>
            <a:spLocks noGrp="1"/>
          </p:cNvSpPr>
          <p:nvPr>
            <p:ph sz="quarter" idx="11" hasCustomPrompt="1"/>
          </p:nvPr>
        </p:nvSpPr>
        <p:spPr>
          <a:xfrm>
            <a:off x="10244138" y="4102099"/>
            <a:ext cx="1436687" cy="2301875"/>
          </a:xfrm>
        </p:spPr>
        <p:txBody>
          <a:bodyPr anchor="b"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Tree>
    <p:extLst>
      <p:ext uri="{BB962C8B-B14F-4D97-AF65-F5344CB8AC3E}">
        <p14:creationId xmlns:p14="http://schemas.microsoft.com/office/powerpoint/2010/main" val="30461611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Image Cover 1">
    <p:bg>
      <p:bgPr>
        <a:solidFill>
          <a:schemeClr val="accent6"/>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6F222E5-437D-4D26-94F0-6DA259B5944D}"/>
              </a:ext>
            </a:extLst>
          </p:cNvPr>
          <p:cNvSpPr>
            <a:spLocks noGrp="1"/>
          </p:cNvSpPr>
          <p:nvPr>
            <p:ph type="pic" sz="quarter" idx="12"/>
          </p:nvPr>
        </p:nvSpPr>
        <p:spPr>
          <a:xfrm>
            <a:off x="3584575" y="1606550"/>
            <a:ext cx="8094664" cy="4775200"/>
          </a:xfrm>
        </p:spPr>
        <p:txBody>
          <a:bodyPr/>
          <a:lstStyle>
            <a:lvl1pPr>
              <a:defRPr>
                <a:solidFill>
                  <a:schemeClr val="bg1"/>
                </a:solidFill>
              </a:defRPr>
            </a:lvl1pPr>
          </a:lstStyle>
          <a:p>
            <a:r>
              <a:rPr lang="en-GB" dirty="0"/>
              <a:t>Click icon to add picture</a:t>
            </a:r>
          </a:p>
        </p:txBody>
      </p:sp>
      <p:cxnSp>
        <p:nvCxnSpPr>
          <p:cNvPr id="7" name="Straight Connector 6">
            <a:extLst>
              <a:ext uri="{FF2B5EF4-FFF2-40B4-BE49-F238E27FC236}">
                <a16:creationId xmlns:a16="http://schemas.microsoft.com/office/drawing/2014/main" id="{4B50443A-8339-4B27-B4A9-FF02F1201B4A}"/>
              </a:ext>
            </a:extLst>
          </p:cNvPr>
          <p:cNvCxnSpPr>
            <a:cxnSpLocks/>
          </p:cNvCxnSpPr>
          <p:nvPr userDrawn="1"/>
        </p:nvCxnSpPr>
        <p:spPr>
          <a:xfrm>
            <a:off x="3584575" y="567246"/>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4" y="6245352"/>
            <a:ext cx="1435101"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US" sz="1050" b="0" kern="1200" spc="-3" dirty="0" err="1" smtClean="0">
                <a:solidFill>
                  <a:srgbClr val="FFFFFF"/>
                </a:solidFill>
                <a:latin typeface="Space Mono" panose="02000509040000020004" pitchFamily="49" charset="0"/>
                <a:ea typeface="+mn-ea"/>
                <a:cs typeface="Space Mono" panose="02000509040000020004" pitchFamily="49" charset="0"/>
              </a:defRPr>
            </a:lvl1pPr>
          </a:lstStyle>
          <a:p>
            <a:r>
              <a:rPr lang="en-GB"/>
              <a:t>DATE</a:t>
            </a: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512764" y="1548314"/>
            <a:ext cx="2763835" cy="1929899"/>
          </a:xfrm>
        </p:spPr>
        <p:txBody>
          <a:bodyPr/>
          <a:lstStyle>
            <a:lvl1pPr>
              <a:lnSpc>
                <a:spcPct val="85000"/>
              </a:lnSpc>
              <a:defRPr sz="4400">
                <a:solidFill>
                  <a:schemeClr val="bg1"/>
                </a:solidFill>
              </a:defRPr>
            </a:lvl1pPr>
          </a:lstStyle>
          <a:p>
            <a:r>
              <a:rPr lang="en-GB"/>
              <a:t>Click to edit Master title style</a:t>
            </a:r>
          </a:p>
        </p:txBody>
      </p:sp>
      <p:sp>
        <p:nvSpPr>
          <p:cNvPr id="10" name="Content Placeholder 9">
            <a:extLst>
              <a:ext uri="{FF2B5EF4-FFF2-40B4-BE49-F238E27FC236}">
                <a16:creationId xmlns:a16="http://schemas.microsoft.com/office/drawing/2014/main" id="{7D9956ED-0AB6-478A-B82C-B67610F4E3D0}"/>
              </a:ext>
            </a:extLst>
          </p:cNvPr>
          <p:cNvSpPr>
            <a:spLocks noGrp="1"/>
          </p:cNvSpPr>
          <p:nvPr>
            <p:ph sz="quarter" idx="11" hasCustomPrompt="1"/>
          </p:nvPr>
        </p:nvSpPr>
        <p:spPr>
          <a:xfrm>
            <a:off x="511174" y="4102100"/>
            <a:ext cx="2763835" cy="1149349"/>
          </a:xfrm>
        </p:spPr>
        <p:txBody>
          <a:bodyPr tIns="0">
            <a:noAutofit/>
          </a:bodyPr>
          <a:lstStyle>
            <a:lvl1pPr>
              <a:defRPr sz="17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sz="1700" b="0">
                <a:solidFill>
                  <a:schemeClr val="bg1"/>
                </a:solidFill>
                <a:latin typeface="+mn-lt"/>
              </a:defRPr>
            </a:lvl5pPr>
          </a:lstStyle>
          <a:p>
            <a:pPr lvl="0"/>
            <a:r>
              <a:rPr lang="en-GB"/>
              <a:t>Fifth level</a:t>
            </a:r>
          </a:p>
        </p:txBody>
      </p:sp>
      <p:sp>
        <p:nvSpPr>
          <p:cNvPr id="22" name="Rectangle 21">
            <a:extLst>
              <a:ext uri="{FF2B5EF4-FFF2-40B4-BE49-F238E27FC236}">
                <a16:creationId xmlns:a16="http://schemas.microsoft.com/office/drawing/2014/main" id="{51402F92-C298-4C9D-B165-225CA6300EEC}"/>
              </a:ext>
            </a:extLst>
          </p:cNvPr>
          <p:cNvSpPr/>
          <p:nvPr userDrawn="1"/>
        </p:nvSpPr>
        <p:spPr>
          <a:xfrm>
            <a:off x="0" y="0"/>
            <a:ext cx="3584575" cy="1091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CBRE Vector Logo">
            <a:extLst>
              <a:ext uri="{FF2B5EF4-FFF2-40B4-BE49-F238E27FC236}">
                <a16:creationId xmlns:a16="http://schemas.microsoft.com/office/drawing/2014/main" id="{4B4D5FB6-8681-4D7A-879A-3239F2DEE883}"/>
              </a:ext>
            </a:extLst>
          </p:cNvPr>
          <p:cNvSpPr>
            <a:spLocks noChangeAspect="1"/>
          </p:cNvSpPr>
          <p:nvPr userDrawn="1"/>
        </p:nvSpPr>
        <p:spPr>
          <a:xfrm>
            <a:off x="10753434" y="452438"/>
            <a:ext cx="924217" cy="229615"/>
          </a:xfrm>
          <a:custGeom>
            <a:avLst/>
            <a:gdLst>
              <a:gd name="connsiteX0" fmla="*/ 306851 w 924217"/>
              <a:gd name="connsiteY0" fmla="*/ 137455 h 229615"/>
              <a:gd name="connsiteX1" fmla="*/ 306851 w 924217"/>
              <a:gd name="connsiteY1" fmla="*/ 175680 h 229615"/>
              <a:gd name="connsiteX2" fmla="*/ 383040 w 924217"/>
              <a:gd name="connsiteY2" fmla="*/ 175680 h 229615"/>
              <a:gd name="connsiteX3" fmla="*/ 402153 w 924217"/>
              <a:gd name="connsiteY3" fmla="*/ 156305 h 229615"/>
              <a:gd name="connsiteX4" fmla="*/ 385134 w 924217"/>
              <a:gd name="connsiteY4" fmla="*/ 137455 h 229615"/>
              <a:gd name="connsiteX5" fmla="*/ 384873 w 924217"/>
              <a:gd name="connsiteY5" fmla="*/ 137455 h 229615"/>
              <a:gd name="connsiteX6" fmla="*/ 384611 w 924217"/>
              <a:gd name="connsiteY6" fmla="*/ 137455 h 229615"/>
              <a:gd name="connsiteX7" fmla="*/ 539868 w 924217"/>
              <a:gd name="connsiteY7" fmla="*/ 50530 h 229615"/>
              <a:gd name="connsiteX8" fmla="*/ 539868 w 924217"/>
              <a:gd name="connsiteY8" fmla="*/ 87185 h 229615"/>
              <a:gd name="connsiteX9" fmla="*/ 618414 w 924217"/>
              <a:gd name="connsiteY9" fmla="*/ 87185 h 229615"/>
              <a:gd name="connsiteX10" fmla="*/ 636479 w 924217"/>
              <a:gd name="connsiteY10" fmla="*/ 71476 h 229615"/>
              <a:gd name="connsiteX11" fmla="*/ 636218 w 924217"/>
              <a:gd name="connsiteY11" fmla="*/ 71476 h 229615"/>
              <a:gd name="connsiteX12" fmla="*/ 636218 w 924217"/>
              <a:gd name="connsiteY12" fmla="*/ 66501 h 229615"/>
              <a:gd name="connsiteX13" fmla="*/ 618414 w 924217"/>
              <a:gd name="connsiteY13" fmla="*/ 50530 h 229615"/>
              <a:gd name="connsiteX14" fmla="*/ 306589 w 924217"/>
              <a:gd name="connsiteY14" fmla="*/ 49745 h 229615"/>
              <a:gd name="connsiteX15" fmla="*/ 306851 w 924217"/>
              <a:gd name="connsiteY15" fmla="*/ 87447 h 229615"/>
              <a:gd name="connsiteX16" fmla="*/ 386443 w 924217"/>
              <a:gd name="connsiteY16" fmla="*/ 87185 h 229615"/>
              <a:gd name="connsiteX17" fmla="*/ 402676 w 924217"/>
              <a:gd name="connsiteY17" fmla="*/ 68073 h 229615"/>
              <a:gd name="connsiteX18" fmla="*/ 386967 w 924217"/>
              <a:gd name="connsiteY18" fmla="*/ 49745 h 229615"/>
              <a:gd name="connsiteX19" fmla="*/ 386705 w 924217"/>
              <a:gd name="connsiteY19" fmla="*/ 49745 h 229615"/>
              <a:gd name="connsiteX20" fmla="*/ 386443 w 924217"/>
              <a:gd name="connsiteY20" fmla="*/ 49745 h 229615"/>
              <a:gd name="connsiteX21" fmla="*/ 484363 w 924217"/>
              <a:gd name="connsiteY21" fmla="*/ 261 h 229615"/>
              <a:gd name="connsiteX22" fmla="*/ 606108 w 924217"/>
              <a:gd name="connsiteY22" fmla="*/ 261 h 229615"/>
              <a:gd name="connsiteX23" fmla="*/ 688581 w 924217"/>
              <a:gd name="connsiteY23" fmla="*/ 60479 h 229615"/>
              <a:gd name="connsiteX24" fmla="*/ 654807 w 924217"/>
              <a:gd name="connsiteY24" fmla="*/ 111010 h 229615"/>
              <a:gd name="connsiteX25" fmla="*/ 687796 w 924217"/>
              <a:gd name="connsiteY25" fmla="*/ 155519 h 229615"/>
              <a:gd name="connsiteX26" fmla="*/ 687796 w 924217"/>
              <a:gd name="connsiteY26" fmla="*/ 229614 h 229615"/>
              <a:gd name="connsiteX27" fmla="*/ 633076 w 924217"/>
              <a:gd name="connsiteY27" fmla="*/ 229614 h 229615"/>
              <a:gd name="connsiteX28" fmla="*/ 633076 w 924217"/>
              <a:gd name="connsiteY28" fmla="*/ 169396 h 229615"/>
              <a:gd name="connsiteX29" fmla="*/ 601658 w 924217"/>
              <a:gd name="connsiteY29" fmla="*/ 136930 h 229615"/>
              <a:gd name="connsiteX30" fmla="*/ 540130 w 924217"/>
              <a:gd name="connsiteY30" fmla="*/ 136930 h 229615"/>
              <a:gd name="connsiteX31" fmla="*/ 540130 w 924217"/>
              <a:gd name="connsiteY31" fmla="*/ 229614 h 229615"/>
              <a:gd name="connsiteX32" fmla="*/ 484363 w 924217"/>
              <a:gd name="connsiteY32" fmla="*/ 229614 h 229615"/>
              <a:gd name="connsiteX33" fmla="*/ 722879 w 924217"/>
              <a:gd name="connsiteY33" fmla="*/ 0 h 229615"/>
              <a:gd name="connsiteX34" fmla="*/ 923955 w 924217"/>
              <a:gd name="connsiteY34" fmla="*/ 0 h 229615"/>
              <a:gd name="connsiteX35" fmla="*/ 923955 w 924217"/>
              <a:gd name="connsiteY35" fmla="*/ 50007 h 229615"/>
              <a:gd name="connsiteX36" fmla="*/ 778908 w 924217"/>
              <a:gd name="connsiteY36" fmla="*/ 50007 h 229615"/>
              <a:gd name="connsiteX37" fmla="*/ 779170 w 924217"/>
              <a:gd name="connsiteY37" fmla="*/ 86924 h 229615"/>
              <a:gd name="connsiteX38" fmla="*/ 909817 w 924217"/>
              <a:gd name="connsiteY38" fmla="*/ 86924 h 229615"/>
              <a:gd name="connsiteX39" fmla="*/ 909817 w 924217"/>
              <a:gd name="connsiteY39" fmla="*/ 137193 h 229615"/>
              <a:gd name="connsiteX40" fmla="*/ 779170 w 924217"/>
              <a:gd name="connsiteY40" fmla="*/ 137193 h 229615"/>
              <a:gd name="connsiteX41" fmla="*/ 779170 w 924217"/>
              <a:gd name="connsiteY41" fmla="*/ 177251 h 229615"/>
              <a:gd name="connsiteX42" fmla="*/ 924217 w 924217"/>
              <a:gd name="connsiteY42" fmla="*/ 177251 h 229615"/>
              <a:gd name="connsiteX43" fmla="*/ 924217 w 924217"/>
              <a:gd name="connsiteY43" fmla="*/ 229615 h 229615"/>
              <a:gd name="connsiteX44" fmla="*/ 723141 w 924217"/>
              <a:gd name="connsiteY44" fmla="*/ 229615 h 229615"/>
              <a:gd name="connsiteX45" fmla="*/ 722879 w 924217"/>
              <a:gd name="connsiteY45" fmla="*/ 0 h 229615"/>
              <a:gd name="connsiteX46" fmla="*/ 250298 w 924217"/>
              <a:gd name="connsiteY46" fmla="*/ 0 h 229615"/>
              <a:gd name="connsiteX47" fmla="*/ 369163 w 924217"/>
              <a:gd name="connsiteY47" fmla="*/ 0 h 229615"/>
              <a:gd name="connsiteX48" fmla="*/ 454254 w 924217"/>
              <a:gd name="connsiteY48" fmla="*/ 56815 h 229615"/>
              <a:gd name="connsiteX49" fmla="*/ 419956 w 924217"/>
              <a:gd name="connsiteY49" fmla="*/ 111011 h 229615"/>
              <a:gd name="connsiteX50" fmla="*/ 456611 w 924217"/>
              <a:gd name="connsiteY50" fmla="*/ 163113 h 229615"/>
              <a:gd name="connsiteX51" fmla="*/ 368902 w 924217"/>
              <a:gd name="connsiteY51" fmla="*/ 229091 h 229615"/>
              <a:gd name="connsiteX52" fmla="*/ 250298 w 924217"/>
              <a:gd name="connsiteY52" fmla="*/ 229091 h 229615"/>
              <a:gd name="connsiteX53" fmla="*/ 250298 w 924217"/>
              <a:gd name="connsiteY53" fmla="*/ 0 h 229615"/>
              <a:gd name="connsiteX54" fmla="*/ 213644 w 924217"/>
              <a:gd name="connsiteY54" fmla="*/ 0 h 229615"/>
              <a:gd name="connsiteX55" fmla="*/ 215476 w 924217"/>
              <a:gd name="connsiteY55" fmla="*/ 0 h 229615"/>
              <a:gd name="connsiteX56" fmla="*/ 215215 w 924217"/>
              <a:gd name="connsiteY56" fmla="*/ 52102 h 229615"/>
              <a:gd name="connsiteX57" fmla="*/ 213382 w 924217"/>
              <a:gd name="connsiteY57" fmla="*/ 52102 h 229615"/>
              <a:gd name="connsiteX58" fmla="*/ 109702 w 924217"/>
              <a:gd name="connsiteY58" fmla="*/ 53149 h 229615"/>
              <a:gd name="connsiteX59" fmla="*/ 54720 w 924217"/>
              <a:gd name="connsiteY59" fmla="*/ 112582 h 229615"/>
              <a:gd name="connsiteX60" fmla="*/ 111535 w 924217"/>
              <a:gd name="connsiteY60" fmla="*/ 173062 h 229615"/>
              <a:gd name="connsiteX61" fmla="*/ 213905 w 924217"/>
              <a:gd name="connsiteY61" fmla="*/ 174109 h 229615"/>
              <a:gd name="connsiteX62" fmla="*/ 216000 w 924217"/>
              <a:gd name="connsiteY62" fmla="*/ 174109 h 229615"/>
              <a:gd name="connsiteX63" fmla="*/ 215738 w 924217"/>
              <a:gd name="connsiteY63" fmla="*/ 229353 h 229615"/>
              <a:gd name="connsiteX64" fmla="*/ 213905 w 924217"/>
              <a:gd name="connsiteY64" fmla="*/ 229353 h 229615"/>
              <a:gd name="connsiteX65" fmla="*/ 145309 w 924217"/>
              <a:gd name="connsiteY65" fmla="*/ 229353 h 229615"/>
              <a:gd name="connsiteX66" fmla="*/ 126720 w 924217"/>
              <a:gd name="connsiteY66" fmla="*/ 229091 h 229615"/>
              <a:gd name="connsiteX67" fmla="*/ 64407 w 924217"/>
              <a:gd name="connsiteY67" fmla="*/ 216524 h 229615"/>
              <a:gd name="connsiteX68" fmla="*/ 1833 w 924217"/>
              <a:gd name="connsiteY68" fmla="*/ 137455 h 229615"/>
              <a:gd name="connsiteX69" fmla="*/ 0 w 924217"/>
              <a:gd name="connsiteY69" fmla="*/ 114415 h 229615"/>
              <a:gd name="connsiteX70" fmla="*/ 22516 w 924217"/>
              <a:gd name="connsiteY70" fmla="*/ 46080 h 229615"/>
              <a:gd name="connsiteX71" fmla="*/ 67811 w 924217"/>
              <a:gd name="connsiteY71" fmla="*/ 9687 h 229615"/>
              <a:gd name="connsiteX72" fmla="*/ 115462 w 924217"/>
              <a:gd name="connsiteY72" fmla="*/ 262 h 22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24217" h="229615">
                <a:moveTo>
                  <a:pt x="306851" y="137455"/>
                </a:moveTo>
                <a:lnTo>
                  <a:pt x="306851" y="175680"/>
                </a:lnTo>
                <a:lnTo>
                  <a:pt x="383040" y="175680"/>
                </a:lnTo>
                <a:cubicBezTo>
                  <a:pt x="393251" y="175680"/>
                  <a:pt x="402153" y="166778"/>
                  <a:pt x="402153" y="156305"/>
                </a:cubicBezTo>
                <a:cubicBezTo>
                  <a:pt x="402153" y="146618"/>
                  <a:pt x="394822" y="138502"/>
                  <a:pt x="385134" y="137455"/>
                </a:cubicBezTo>
                <a:lnTo>
                  <a:pt x="384873" y="137455"/>
                </a:lnTo>
                <a:lnTo>
                  <a:pt x="384611" y="137455"/>
                </a:lnTo>
                <a:close/>
                <a:moveTo>
                  <a:pt x="539868" y="50530"/>
                </a:moveTo>
                <a:lnTo>
                  <a:pt x="539868" y="87185"/>
                </a:lnTo>
                <a:lnTo>
                  <a:pt x="618414" y="87185"/>
                </a:lnTo>
                <a:cubicBezTo>
                  <a:pt x="627839" y="87185"/>
                  <a:pt x="635432" y="79068"/>
                  <a:pt x="636479" y="71476"/>
                </a:cubicBezTo>
                <a:lnTo>
                  <a:pt x="636218" y="71476"/>
                </a:lnTo>
                <a:lnTo>
                  <a:pt x="636218" y="66501"/>
                </a:lnTo>
                <a:cubicBezTo>
                  <a:pt x="635170" y="57337"/>
                  <a:pt x="627839" y="50530"/>
                  <a:pt x="618414" y="50530"/>
                </a:cubicBezTo>
                <a:close/>
                <a:moveTo>
                  <a:pt x="306589" y="49745"/>
                </a:moveTo>
                <a:lnTo>
                  <a:pt x="306851" y="87447"/>
                </a:lnTo>
                <a:lnTo>
                  <a:pt x="386443" y="87185"/>
                </a:lnTo>
                <a:cubicBezTo>
                  <a:pt x="395607" y="85876"/>
                  <a:pt x="402676" y="77236"/>
                  <a:pt x="402676" y="68073"/>
                </a:cubicBezTo>
                <a:cubicBezTo>
                  <a:pt x="402676" y="58909"/>
                  <a:pt x="396131" y="51316"/>
                  <a:pt x="386967" y="49745"/>
                </a:cubicBezTo>
                <a:lnTo>
                  <a:pt x="386705" y="49745"/>
                </a:lnTo>
                <a:lnTo>
                  <a:pt x="386443" y="49745"/>
                </a:lnTo>
                <a:close/>
                <a:moveTo>
                  <a:pt x="484363" y="261"/>
                </a:moveTo>
                <a:lnTo>
                  <a:pt x="606108" y="261"/>
                </a:lnTo>
                <a:cubicBezTo>
                  <a:pt x="645643" y="261"/>
                  <a:pt x="688319" y="10734"/>
                  <a:pt x="688581" y="60479"/>
                </a:cubicBezTo>
                <a:cubicBezTo>
                  <a:pt x="688581" y="100799"/>
                  <a:pt x="654807" y="111010"/>
                  <a:pt x="654807" y="111010"/>
                </a:cubicBezTo>
                <a:cubicBezTo>
                  <a:pt x="654807" y="111010"/>
                  <a:pt x="687796" y="121221"/>
                  <a:pt x="687796" y="155519"/>
                </a:cubicBezTo>
                <a:lnTo>
                  <a:pt x="687796" y="229614"/>
                </a:lnTo>
                <a:lnTo>
                  <a:pt x="633076" y="229614"/>
                </a:lnTo>
                <a:lnTo>
                  <a:pt x="633076" y="169396"/>
                </a:lnTo>
                <a:cubicBezTo>
                  <a:pt x="633076" y="151592"/>
                  <a:pt x="619199" y="137192"/>
                  <a:pt x="601658" y="136930"/>
                </a:cubicBezTo>
                <a:cubicBezTo>
                  <a:pt x="601658" y="136930"/>
                  <a:pt x="540130" y="136930"/>
                  <a:pt x="540130" y="136930"/>
                </a:cubicBezTo>
                <a:cubicBezTo>
                  <a:pt x="540130" y="136930"/>
                  <a:pt x="540130" y="223068"/>
                  <a:pt x="540130" y="229614"/>
                </a:cubicBezTo>
                <a:cubicBezTo>
                  <a:pt x="534370" y="229614"/>
                  <a:pt x="484363" y="229614"/>
                  <a:pt x="484363" y="229614"/>
                </a:cubicBezTo>
                <a:close/>
                <a:moveTo>
                  <a:pt x="722879" y="0"/>
                </a:moveTo>
                <a:lnTo>
                  <a:pt x="923955" y="0"/>
                </a:lnTo>
                <a:lnTo>
                  <a:pt x="923955" y="50007"/>
                </a:lnTo>
                <a:lnTo>
                  <a:pt x="778908" y="50007"/>
                </a:lnTo>
                <a:lnTo>
                  <a:pt x="779170" y="86924"/>
                </a:lnTo>
                <a:lnTo>
                  <a:pt x="909817" y="86924"/>
                </a:lnTo>
                <a:lnTo>
                  <a:pt x="909817" y="137193"/>
                </a:lnTo>
                <a:lnTo>
                  <a:pt x="779170" y="137193"/>
                </a:lnTo>
                <a:lnTo>
                  <a:pt x="779170" y="177251"/>
                </a:lnTo>
                <a:lnTo>
                  <a:pt x="924217" y="177251"/>
                </a:lnTo>
                <a:lnTo>
                  <a:pt x="924217" y="229615"/>
                </a:lnTo>
                <a:cubicBezTo>
                  <a:pt x="924217" y="229615"/>
                  <a:pt x="729948" y="229615"/>
                  <a:pt x="723141" y="229615"/>
                </a:cubicBezTo>
                <a:cubicBezTo>
                  <a:pt x="722879" y="223069"/>
                  <a:pt x="722879" y="0"/>
                  <a:pt x="722879" y="0"/>
                </a:cubicBezTo>
                <a:close/>
                <a:moveTo>
                  <a:pt x="250298" y="0"/>
                </a:moveTo>
                <a:lnTo>
                  <a:pt x="369163" y="0"/>
                </a:lnTo>
                <a:cubicBezTo>
                  <a:pt x="432785" y="0"/>
                  <a:pt x="454516" y="26444"/>
                  <a:pt x="454254" y="56815"/>
                </a:cubicBezTo>
                <a:cubicBezTo>
                  <a:pt x="454516" y="76713"/>
                  <a:pt x="449280" y="101324"/>
                  <a:pt x="419956" y="111011"/>
                </a:cubicBezTo>
                <a:cubicBezTo>
                  <a:pt x="419956" y="111011"/>
                  <a:pt x="456611" y="123316"/>
                  <a:pt x="456611" y="163113"/>
                </a:cubicBezTo>
                <a:cubicBezTo>
                  <a:pt x="456611" y="196102"/>
                  <a:pt x="433047" y="229091"/>
                  <a:pt x="368902" y="229091"/>
                </a:cubicBezTo>
                <a:cubicBezTo>
                  <a:pt x="368902" y="229091"/>
                  <a:pt x="256843" y="229091"/>
                  <a:pt x="250298" y="229091"/>
                </a:cubicBezTo>
                <a:cubicBezTo>
                  <a:pt x="250298" y="222545"/>
                  <a:pt x="250298" y="0"/>
                  <a:pt x="250298" y="0"/>
                </a:cubicBezTo>
                <a:close/>
                <a:moveTo>
                  <a:pt x="213644" y="0"/>
                </a:moveTo>
                <a:lnTo>
                  <a:pt x="215476" y="0"/>
                </a:lnTo>
                <a:lnTo>
                  <a:pt x="215215" y="52102"/>
                </a:lnTo>
                <a:lnTo>
                  <a:pt x="213382" y="52102"/>
                </a:lnTo>
                <a:cubicBezTo>
                  <a:pt x="212596" y="52102"/>
                  <a:pt x="125673" y="51055"/>
                  <a:pt x="109702" y="53149"/>
                </a:cubicBezTo>
                <a:cubicBezTo>
                  <a:pt x="76189" y="57600"/>
                  <a:pt x="54720" y="80902"/>
                  <a:pt x="54720" y="112582"/>
                </a:cubicBezTo>
                <a:cubicBezTo>
                  <a:pt x="54720" y="137978"/>
                  <a:pt x="69644" y="168873"/>
                  <a:pt x="111535" y="173062"/>
                </a:cubicBezTo>
                <a:cubicBezTo>
                  <a:pt x="137716" y="175680"/>
                  <a:pt x="213120" y="174109"/>
                  <a:pt x="213905" y="174109"/>
                </a:cubicBezTo>
                <a:lnTo>
                  <a:pt x="216000" y="174109"/>
                </a:lnTo>
                <a:lnTo>
                  <a:pt x="215738" y="229353"/>
                </a:lnTo>
                <a:lnTo>
                  <a:pt x="213905" y="229353"/>
                </a:lnTo>
                <a:cubicBezTo>
                  <a:pt x="213905" y="229353"/>
                  <a:pt x="145309" y="229353"/>
                  <a:pt x="145309" y="229353"/>
                </a:cubicBezTo>
                <a:cubicBezTo>
                  <a:pt x="145309" y="229353"/>
                  <a:pt x="126720" y="229091"/>
                  <a:pt x="126720" y="229091"/>
                </a:cubicBezTo>
                <a:cubicBezTo>
                  <a:pt x="92422" y="227258"/>
                  <a:pt x="75404" y="221498"/>
                  <a:pt x="64407" y="216524"/>
                </a:cubicBezTo>
                <a:cubicBezTo>
                  <a:pt x="31680" y="201076"/>
                  <a:pt x="8902" y="172276"/>
                  <a:pt x="1833" y="137455"/>
                </a:cubicBezTo>
                <a:cubicBezTo>
                  <a:pt x="524" y="129862"/>
                  <a:pt x="0" y="122269"/>
                  <a:pt x="0" y="114415"/>
                </a:cubicBezTo>
                <a:cubicBezTo>
                  <a:pt x="0" y="89542"/>
                  <a:pt x="7855" y="65978"/>
                  <a:pt x="22516" y="46080"/>
                </a:cubicBezTo>
                <a:cubicBezTo>
                  <a:pt x="34298" y="30371"/>
                  <a:pt x="49745" y="17804"/>
                  <a:pt x="67811" y="9687"/>
                </a:cubicBezTo>
                <a:cubicBezTo>
                  <a:pt x="86400" y="2095"/>
                  <a:pt x="104465" y="1047"/>
                  <a:pt x="115462" y="262"/>
                </a:cubicBezTo>
                <a:close/>
              </a:path>
            </a:pathLst>
          </a:custGeom>
          <a:solidFill>
            <a:schemeClr val="bg1"/>
          </a:solidFill>
          <a:ln w="2617" cap="flat">
            <a:noFill/>
            <a:prstDash val="solid"/>
            <a:miter/>
          </a:ln>
        </p:spPr>
        <p:txBody>
          <a:bodyPr wrap="square" rtlCol="0" anchor="ctr">
            <a:noAutofit/>
          </a:bodyPr>
          <a:lstStyle/>
          <a:p>
            <a:endParaRPr lang="en-GB" dirty="0"/>
          </a:p>
        </p:txBody>
      </p:sp>
    </p:spTree>
    <p:extLst>
      <p:ext uri="{BB962C8B-B14F-4D97-AF65-F5344CB8AC3E}">
        <p14:creationId xmlns:p14="http://schemas.microsoft.com/office/powerpoint/2010/main" val="1887722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250" fill="hold"/>
                                        <p:tgtEl>
                                          <p:spTgt spid="7"/>
                                        </p:tgtEl>
                                        <p:attrNameLst>
                                          <p:attrName>ppt_x</p:attrName>
                                        </p:attrNameLst>
                                      </p:cBhvr>
                                      <p:tavLst>
                                        <p:tav tm="0">
                                          <p:val>
                                            <p:strVal val="0-#ppt_w/2"/>
                                          </p:val>
                                        </p:tav>
                                        <p:tav tm="100000">
                                          <p:val>
                                            <p:strVal val="#ppt_x"/>
                                          </p:val>
                                        </p:tav>
                                      </p:tavLst>
                                    </p:anim>
                                    <p:anim calcmode="lin" valueType="num">
                                      <p:cBhvr additive="base">
                                        <p:cTn id="8" dur="22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ark Photo Layout 2">
    <p:bg>
      <p:bgPr>
        <a:solidFill>
          <a:srgbClr val="012A2D"/>
        </a:solidFill>
        <a:effectLst/>
      </p:bgPr>
    </p:bg>
    <p:spTree>
      <p:nvGrpSpPr>
        <p:cNvPr id="1" name=""/>
        <p:cNvGrpSpPr/>
        <p:nvPr/>
      </p:nvGrpSpPr>
      <p:grpSpPr>
        <a:xfrm>
          <a:off x="0" y="0"/>
          <a:ext cx="0" cy="0"/>
          <a:chOff x="0" y="0"/>
          <a:chExt cx="0" cy="0"/>
        </a:xfrm>
      </p:grpSpPr>
      <p:sp>
        <p:nvSpPr>
          <p:cNvPr id="8" name="Page Number">
            <a:extLst>
              <a:ext uri="{FF2B5EF4-FFF2-40B4-BE49-F238E27FC236}">
                <a16:creationId xmlns:a16="http://schemas.microsoft.com/office/drawing/2014/main" id="{C98E66F1-6DBC-420B-A0A4-9CCF2CCB2A0A}"/>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7" name="Left Footer">
            <a:extLst>
              <a:ext uri="{FF2B5EF4-FFF2-40B4-BE49-F238E27FC236}">
                <a16:creationId xmlns:a16="http://schemas.microsoft.com/office/drawing/2014/main" id="{EAE2558A-5E81-4613-BD4F-4F510C334C4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4" name="Picture Placeholder 1">
            <a:extLst>
              <a:ext uri="{FF2B5EF4-FFF2-40B4-BE49-F238E27FC236}">
                <a16:creationId xmlns:a16="http://schemas.microsoft.com/office/drawing/2014/main" id="{1ED2B663-0A12-4E05-BFF4-4B98F51E00AD}"/>
              </a:ext>
            </a:extLst>
          </p:cNvPr>
          <p:cNvSpPr>
            <a:spLocks noGrp="1"/>
          </p:cNvSpPr>
          <p:nvPr>
            <p:ph type="pic" sz="quarter" idx="10"/>
          </p:nvPr>
        </p:nvSpPr>
        <p:spPr>
          <a:xfrm>
            <a:off x="511175" y="2227262"/>
            <a:ext cx="2971800" cy="4176713"/>
          </a:xfrm>
        </p:spPr>
        <p:txBody>
          <a:bodyPr/>
          <a:lstStyle>
            <a:lvl1pPr>
              <a:defRPr>
                <a:solidFill>
                  <a:schemeClr val="bg1"/>
                </a:solidFill>
              </a:defRPr>
            </a:lvl1pPr>
          </a:lstStyle>
          <a:p>
            <a:r>
              <a:rPr lang="en-GB" dirty="0"/>
              <a:t>Click icon to add picture</a:t>
            </a:r>
          </a:p>
        </p:txBody>
      </p:sp>
      <p:sp>
        <p:nvSpPr>
          <p:cNvPr id="6" name="Content Placeholder 1">
            <a:extLst>
              <a:ext uri="{FF2B5EF4-FFF2-40B4-BE49-F238E27FC236}">
                <a16:creationId xmlns:a16="http://schemas.microsoft.com/office/drawing/2014/main" id="{7CED3D3F-E05A-43E8-8434-506C9DB8CBD0}"/>
              </a:ext>
            </a:extLst>
          </p:cNvPr>
          <p:cNvSpPr>
            <a:spLocks noGrp="1"/>
          </p:cNvSpPr>
          <p:nvPr>
            <p:ph sz="quarter" idx="11" hasCustomPrompt="1"/>
          </p:nvPr>
        </p:nvSpPr>
        <p:spPr>
          <a:xfrm>
            <a:off x="511175" y="352425"/>
            <a:ext cx="1436687" cy="1776664"/>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8EC09833-8A7C-41EA-9003-4BEABFE05487}"/>
              </a:ext>
            </a:extLst>
          </p:cNvPr>
          <p:cNvSpPr>
            <a:spLocks noGrp="1"/>
          </p:cNvSpPr>
          <p:nvPr>
            <p:ph type="pic" sz="quarter" idx="12"/>
          </p:nvPr>
        </p:nvSpPr>
        <p:spPr>
          <a:xfrm>
            <a:off x="6657975" y="0"/>
            <a:ext cx="5534025" cy="6858000"/>
          </a:xfrm>
        </p:spPr>
        <p:txBody>
          <a:bodyPr/>
          <a:lstStyle>
            <a:lvl1pPr marL="0" marR="0" indent="0" defTabSz="914400" eaLnBrk="1" fontAlgn="auto" latinLnBrk="0" hangingPunct="1">
              <a:lnSpc>
                <a:spcPct val="100000"/>
              </a:lnSpc>
              <a:spcBef>
                <a:spcPts val="1200"/>
              </a:spcBef>
              <a:spcAft>
                <a:spcPts val="1200"/>
              </a:spcAft>
              <a:buClrTx/>
              <a:buSzTx/>
              <a:buFontTx/>
              <a:buNone/>
              <a:tabLst/>
              <a:defRPr>
                <a:solidFill>
                  <a:schemeClr val="bg1"/>
                </a:solidFill>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9" name="Content Placeholder 2">
            <a:extLst>
              <a:ext uri="{FF2B5EF4-FFF2-40B4-BE49-F238E27FC236}">
                <a16:creationId xmlns:a16="http://schemas.microsoft.com/office/drawing/2014/main" id="{AADCA376-C974-4830-84A4-5CF228EA4B7A}"/>
              </a:ext>
            </a:extLst>
          </p:cNvPr>
          <p:cNvSpPr>
            <a:spLocks noGrp="1"/>
          </p:cNvSpPr>
          <p:nvPr>
            <p:ph sz="quarter" idx="13" hasCustomPrompt="1"/>
          </p:nvPr>
        </p:nvSpPr>
        <p:spPr>
          <a:xfrm>
            <a:off x="2047875" y="352425"/>
            <a:ext cx="1435100" cy="1781175"/>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Tree>
    <p:extLst>
      <p:ext uri="{BB962C8B-B14F-4D97-AF65-F5344CB8AC3E}">
        <p14:creationId xmlns:p14="http://schemas.microsoft.com/office/powerpoint/2010/main" val="23010942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ark Photo Layout 3">
    <p:bg>
      <p:bgPr>
        <a:solidFill>
          <a:srgbClr val="012A2D"/>
        </a:solidFill>
        <a:effectLst/>
      </p:bgPr>
    </p:bg>
    <p:spTree>
      <p:nvGrpSpPr>
        <p:cNvPr id="1" name=""/>
        <p:cNvGrpSpPr/>
        <p:nvPr/>
      </p:nvGrpSpPr>
      <p:grpSpPr>
        <a:xfrm>
          <a:off x="0" y="0"/>
          <a:ext cx="0" cy="0"/>
          <a:chOff x="0" y="0"/>
          <a:chExt cx="0" cy="0"/>
        </a:xfrm>
      </p:grpSpPr>
      <p:sp>
        <p:nvSpPr>
          <p:cNvPr id="8" name="Page Number">
            <a:extLst>
              <a:ext uri="{FF2B5EF4-FFF2-40B4-BE49-F238E27FC236}">
                <a16:creationId xmlns:a16="http://schemas.microsoft.com/office/drawing/2014/main" id="{C98E66F1-6DBC-420B-A0A4-9CCF2CCB2A0A}"/>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7" name="Left Footer">
            <a:extLst>
              <a:ext uri="{FF2B5EF4-FFF2-40B4-BE49-F238E27FC236}">
                <a16:creationId xmlns:a16="http://schemas.microsoft.com/office/drawing/2014/main" id="{EAE2558A-5E81-4613-BD4F-4F510C334C4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4" name="Picture Placeholder 1">
            <a:extLst>
              <a:ext uri="{FF2B5EF4-FFF2-40B4-BE49-F238E27FC236}">
                <a16:creationId xmlns:a16="http://schemas.microsoft.com/office/drawing/2014/main" id="{1ED2B663-0A12-4E05-BFF4-4B98F51E00AD}"/>
              </a:ext>
            </a:extLst>
          </p:cNvPr>
          <p:cNvSpPr>
            <a:spLocks noGrp="1"/>
          </p:cNvSpPr>
          <p:nvPr>
            <p:ph type="pic" sz="quarter" idx="10"/>
          </p:nvPr>
        </p:nvSpPr>
        <p:spPr>
          <a:xfrm>
            <a:off x="511175" y="2852736"/>
            <a:ext cx="5534024" cy="3551237"/>
          </a:xfrm>
        </p:spPr>
        <p:txBody>
          <a:bodyPr/>
          <a:lstStyle>
            <a:lvl1pPr>
              <a:defRPr>
                <a:solidFill>
                  <a:schemeClr val="bg1"/>
                </a:solidFill>
              </a:defRPr>
            </a:lvl1pPr>
          </a:lstStyle>
          <a:p>
            <a:r>
              <a:rPr lang="en-GB" dirty="0"/>
              <a:t>Click icon to add picture</a:t>
            </a:r>
          </a:p>
        </p:txBody>
      </p:sp>
      <p:sp>
        <p:nvSpPr>
          <p:cNvPr id="6" name="Content Placeholder 1">
            <a:extLst>
              <a:ext uri="{FF2B5EF4-FFF2-40B4-BE49-F238E27FC236}">
                <a16:creationId xmlns:a16="http://schemas.microsoft.com/office/drawing/2014/main" id="{7CED3D3F-E05A-43E8-8434-506C9DB8CBD0}"/>
              </a:ext>
            </a:extLst>
          </p:cNvPr>
          <p:cNvSpPr>
            <a:spLocks noGrp="1"/>
          </p:cNvSpPr>
          <p:nvPr>
            <p:ph sz="quarter" idx="11" hasCustomPrompt="1"/>
          </p:nvPr>
        </p:nvSpPr>
        <p:spPr>
          <a:xfrm>
            <a:off x="511175" y="352425"/>
            <a:ext cx="1436687" cy="2396056"/>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8EC09833-8A7C-41EA-9003-4BEABFE05487}"/>
              </a:ext>
            </a:extLst>
          </p:cNvPr>
          <p:cNvSpPr>
            <a:spLocks noGrp="1"/>
          </p:cNvSpPr>
          <p:nvPr>
            <p:ph type="pic" sz="quarter" idx="12"/>
          </p:nvPr>
        </p:nvSpPr>
        <p:spPr>
          <a:xfrm>
            <a:off x="6146804" y="2852737"/>
            <a:ext cx="5534022" cy="3551238"/>
          </a:xfrm>
        </p:spPr>
        <p:txBody>
          <a:bodyPr/>
          <a:lstStyle>
            <a:lvl1pPr marL="0" marR="0" indent="0" defTabSz="914400" eaLnBrk="1" fontAlgn="auto" latinLnBrk="0" hangingPunct="1">
              <a:lnSpc>
                <a:spcPct val="100000"/>
              </a:lnSpc>
              <a:spcBef>
                <a:spcPts val="1200"/>
              </a:spcBef>
              <a:spcAft>
                <a:spcPts val="1200"/>
              </a:spcAft>
              <a:buClrTx/>
              <a:buSzTx/>
              <a:buFontTx/>
              <a:buNone/>
              <a:tabLst/>
              <a:defRPr>
                <a:solidFill>
                  <a:schemeClr val="bg1"/>
                </a:solidFill>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9" name="Content Placeholder 2">
            <a:extLst>
              <a:ext uri="{FF2B5EF4-FFF2-40B4-BE49-F238E27FC236}">
                <a16:creationId xmlns:a16="http://schemas.microsoft.com/office/drawing/2014/main" id="{AADCA376-C974-4830-84A4-5CF228EA4B7A}"/>
              </a:ext>
            </a:extLst>
          </p:cNvPr>
          <p:cNvSpPr>
            <a:spLocks noGrp="1"/>
          </p:cNvSpPr>
          <p:nvPr>
            <p:ph sz="quarter" idx="13" hasCustomPrompt="1"/>
          </p:nvPr>
        </p:nvSpPr>
        <p:spPr>
          <a:xfrm>
            <a:off x="6146804" y="352425"/>
            <a:ext cx="1435100" cy="2402140"/>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Tree>
    <p:extLst>
      <p:ext uri="{BB962C8B-B14F-4D97-AF65-F5344CB8AC3E}">
        <p14:creationId xmlns:p14="http://schemas.microsoft.com/office/powerpoint/2010/main" val="21468395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ark Photo Layout 4">
    <p:bg>
      <p:bgPr>
        <a:solidFill>
          <a:srgbClr val="012A2D"/>
        </a:solidFill>
        <a:effectLst/>
      </p:bgPr>
    </p:bg>
    <p:spTree>
      <p:nvGrpSpPr>
        <p:cNvPr id="1" name=""/>
        <p:cNvGrpSpPr/>
        <p:nvPr/>
      </p:nvGrpSpPr>
      <p:grpSpPr>
        <a:xfrm>
          <a:off x="0" y="0"/>
          <a:ext cx="0" cy="0"/>
          <a:chOff x="0" y="0"/>
          <a:chExt cx="0" cy="0"/>
        </a:xfrm>
      </p:grpSpPr>
      <p:sp>
        <p:nvSpPr>
          <p:cNvPr id="8" name="Page Number">
            <a:extLst>
              <a:ext uri="{FF2B5EF4-FFF2-40B4-BE49-F238E27FC236}">
                <a16:creationId xmlns:a16="http://schemas.microsoft.com/office/drawing/2014/main" id="{C98E66F1-6DBC-420B-A0A4-9CCF2CCB2A0A}"/>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7" name="Left Footer">
            <a:extLst>
              <a:ext uri="{FF2B5EF4-FFF2-40B4-BE49-F238E27FC236}">
                <a16:creationId xmlns:a16="http://schemas.microsoft.com/office/drawing/2014/main" id="{EAE2558A-5E81-4613-BD4F-4F510C334C4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4" name="Picture Placeholder 1">
            <a:extLst>
              <a:ext uri="{FF2B5EF4-FFF2-40B4-BE49-F238E27FC236}">
                <a16:creationId xmlns:a16="http://schemas.microsoft.com/office/drawing/2014/main" id="{1ED2B663-0A12-4E05-BFF4-4B98F51E00AD}"/>
              </a:ext>
            </a:extLst>
          </p:cNvPr>
          <p:cNvSpPr>
            <a:spLocks noGrp="1"/>
          </p:cNvSpPr>
          <p:nvPr>
            <p:ph type="pic" sz="quarter" idx="10"/>
          </p:nvPr>
        </p:nvSpPr>
        <p:spPr>
          <a:xfrm>
            <a:off x="511175" y="452438"/>
            <a:ext cx="4507992" cy="2925762"/>
          </a:xfrm>
        </p:spPr>
        <p:txBody>
          <a:bodyPr/>
          <a:lstStyle>
            <a:lvl1pPr>
              <a:defRPr>
                <a:solidFill>
                  <a:schemeClr val="bg1"/>
                </a:solidFill>
              </a:defRPr>
            </a:lvl1pPr>
          </a:lstStyle>
          <a:p>
            <a:r>
              <a:rPr lang="en-GB" dirty="0"/>
              <a:t>Click icon to add picture</a:t>
            </a:r>
          </a:p>
        </p:txBody>
      </p:sp>
      <p:sp>
        <p:nvSpPr>
          <p:cNvPr id="6" name="Content Placeholder 1">
            <a:extLst>
              <a:ext uri="{FF2B5EF4-FFF2-40B4-BE49-F238E27FC236}">
                <a16:creationId xmlns:a16="http://schemas.microsoft.com/office/drawing/2014/main" id="{7CED3D3F-E05A-43E8-8434-506C9DB8CBD0}"/>
              </a:ext>
            </a:extLst>
          </p:cNvPr>
          <p:cNvSpPr>
            <a:spLocks noGrp="1"/>
          </p:cNvSpPr>
          <p:nvPr>
            <p:ph sz="quarter" idx="11" hasCustomPrompt="1"/>
          </p:nvPr>
        </p:nvSpPr>
        <p:spPr>
          <a:xfrm>
            <a:off x="5120047" y="452438"/>
            <a:ext cx="923544" cy="1993392"/>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8EC09833-8A7C-41EA-9003-4BEABFE05487}"/>
              </a:ext>
            </a:extLst>
          </p:cNvPr>
          <p:cNvSpPr>
            <a:spLocks noGrp="1"/>
          </p:cNvSpPr>
          <p:nvPr>
            <p:ph type="pic" sz="quarter" idx="12"/>
          </p:nvPr>
        </p:nvSpPr>
        <p:spPr>
          <a:xfrm>
            <a:off x="7168896" y="452438"/>
            <a:ext cx="4507992" cy="2925762"/>
          </a:xfrm>
        </p:spPr>
        <p:txBody>
          <a:bodyPr/>
          <a:lstStyle>
            <a:lvl1pPr marL="0" marR="0" indent="0" defTabSz="914400" eaLnBrk="1" fontAlgn="auto" latinLnBrk="0" hangingPunct="1">
              <a:lnSpc>
                <a:spcPct val="100000"/>
              </a:lnSpc>
              <a:spcBef>
                <a:spcPts val="1200"/>
              </a:spcBef>
              <a:spcAft>
                <a:spcPts val="1200"/>
              </a:spcAft>
              <a:buClrTx/>
              <a:buSzTx/>
              <a:buFontTx/>
              <a:buNone/>
              <a:tabLst/>
              <a:defRPr>
                <a:solidFill>
                  <a:schemeClr val="bg1"/>
                </a:solidFill>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9" name="Content Placeholder 2">
            <a:extLst>
              <a:ext uri="{FF2B5EF4-FFF2-40B4-BE49-F238E27FC236}">
                <a16:creationId xmlns:a16="http://schemas.microsoft.com/office/drawing/2014/main" id="{AADCA376-C974-4830-84A4-5CF228EA4B7A}"/>
              </a:ext>
            </a:extLst>
          </p:cNvPr>
          <p:cNvSpPr>
            <a:spLocks noGrp="1"/>
          </p:cNvSpPr>
          <p:nvPr>
            <p:ph sz="quarter" idx="13" hasCustomPrompt="1"/>
          </p:nvPr>
        </p:nvSpPr>
        <p:spPr>
          <a:xfrm>
            <a:off x="6144471" y="452438"/>
            <a:ext cx="923544" cy="1993392"/>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5" name="Picture Placeholder 3">
            <a:extLst>
              <a:ext uri="{FF2B5EF4-FFF2-40B4-BE49-F238E27FC236}">
                <a16:creationId xmlns:a16="http://schemas.microsoft.com/office/drawing/2014/main" id="{5D3782D6-4F01-4CAB-9D0C-BDEA972A9280}"/>
              </a:ext>
            </a:extLst>
          </p:cNvPr>
          <p:cNvSpPr>
            <a:spLocks noGrp="1"/>
          </p:cNvSpPr>
          <p:nvPr>
            <p:ph type="pic" sz="quarter" idx="14"/>
          </p:nvPr>
        </p:nvSpPr>
        <p:spPr>
          <a:xfrm>
            <a:off x="511683" y="3493198"/>
            <a:ext cx="4507992" cy="2907792"/>
          </a:xfrm>
        </p:spPr>
        <p:txBody>
          <a:bodyPr/>
          <a:lstStyle>
            <a:lvl1pPr>
              <a:defRPr>
                <a:solidFill>
                  <a:schemeClr val="bg1"/>
                </a:solidFill>
              </a:defRPr>
            </a:lvl1pPr>
          </a:lstStyle>
          <a:p>
            <a:r>
              <a:rPr lang="en-GB" dirty="0"/>
              <a:t>Click icon to add picture</a:t>
            </a:r>
          </a:p>
        </p:txBody>
      </p:sp>
      <p:sp>
        <p:nvSpPr>
          <p:cNvPr id="11" name="Content Placeholder 3">
            <a:extLst>
              <a:ext uri="{FF2B5EF4-FFF2-40B4-BE49-F238E27FC236}">
                <a16:creationId xmlns:a16="http://schemas.microsoft.com/office/drawing/2014/main" id="{2521220F-8C54-4B2A-98AC-2B999019F3E3}"/>
              </a:ext>
            </a:extLst>
          </p:cNvPr>
          <p:cNvSpPr>
            <a:spLocks noGrp="1"/>
          </p:cNvSpPr>
          <p:nvPr>
            <p:ph sz="quarter" idx="15" hasCustomPrompt="1"/>
          </p:nvPr>
        </p:nvSpPr>
        <p:spPr>
          <a:xfrm>
            <a:off x="5120386" y="3493198"/>
            <a:ext cx="923544" cy="1993392"/>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10" name="Content Placeholder 4">
            <a:extLst>
              <a:ext uri="{FF2B5EF4-FFF2-40B4-BE49-F238E27FC236}">
                <a16:creationId xmlns:a16="http://schemas.microsoft.com/office/drawing/2014/main" id="{CA28E25F-7240-45CB-90E7-877309F80A79}"/>
              </a:ext>
            </a:extLst>
          </p:cNvPr>
          <p:cNvSpPr>
            <a:spLocks noGrp="1"/>
          </p:cNvSpPr>
          <p:nvPr>
            <p:ph sz="quarter" idx="16" hasCustomPrompt="1"/>
          </p:nvPr>
        </p:nvSpPr>
        <p:spPr>
          <a:xfrm>
            <a:off x="6144641" y="3493198"/>
            <a:ext cx="923544" cy="1993392"/>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13" name="Picture Placeholder 4">
            <a:extLst>
              <a:ext uri="{FF2B5EF4-FFF2-40B4-BE49-F238E27FC236}">
                <a16:creationId xmlns:a16="http://schemas.microsoft.com/office/drawing/2014/main" id="{5A4EAC89-642E-4AA0-990C-49DD3A6FDF15}"/>
              </a:ext>
            </a:extLst>
          </p:cNvPr>
          <p:cNvSpPr>
            <a:spLocks noGrp="1"/>
          </p:cNvSpPr>
          <p:nvPr>
            <p:ph type="pic" sz="quarter" idx="17"/>
          </p:nvPr>
        </p:nvSpPr>
        <p:spPr>
          <a:xfrm>
            <a:off x="7168896" y="3493198"/>
            <a:ext cx="4507992" cy="2907792"/>
          </a:xfrm>
        </p:spPr>
        <p:txBody>
          <a:bodyPr/>
          <a:lstStyle/>
          <a:p>
            <a:r>
              <a:rPr lang="en-GB" dirty="0"/>
              <a:t>Click icon to add picture</a:t>
            </a:r>
            <a:endParaRPr lang="en-US" dirty="0"/>
          </a:p>
        </p:txBody>
      </p:sp>
    </p:spTree>
    <p:extLst>
      <p:ext uri="{BB962C8B-B14F-4D97-AF65-F5344CB8AC3E}">
        <p14:creationId xmlns:p14="http://schemas.microsoft.com/office/powerpoint/2010/main" val="3323985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ark Photo Layout 5">
    <p:bg>
      <p:bgPr>
        <a:solidFill>
          <a:srgbClr val="012A2D"/>
        </a:solidFill>
        <a:effectLst/>
      </p:bgPr>
    </p:bg>
    <p:spTree>
      <p:nvGrpSpPr>
        <p:cNvPr id="1" name=""/>
        <p:cNvGrpSpPr/>
        <p:nvPr/>
      </p:nvGrpSpPr>
      <p:grpSpPr>
        <a:xfrm>
          <a:off x="0" y="0"/>
          <a:ext cx="0" cy="0"/>
          <a:chOff x="0" y="0"/>
          <a:chExt cx="0" cy="0"/>
        </a:xfrm>
      </p:grpSpPr>
      <p:sp>
        <p:nvSpPr>
          <p:cNvPr id="8" name="Page Number">
            <a:extLst>
              <a:ext uri="{FF2B5EF4-FFF2-40B4-BE49-F238E27FC236}">
                <a16:creationId xmlns:a16="http://schemas.microsoft.com/office/drawing/2014/main" id="{C98E66F1-6DBC-420B-A0A4-9CCF2CCB2A0A}"/>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7" name="Left Footer">
            <a:extLst>
              <a:ext uri="{FF2B5EF4-FFF2-40B4-BE49-F238E27FC236}">
                <a16:creationId xmlns:a16="http://schemas.microsoft.com/office/drawing/2014/main" id="{EAE2558A-5E81-4613-BD4F-4F510C334C4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4" name="Picture Placeholder 1">
            <a:extLst>
              <a:ext uri="{FF2B5EF4-FFF2-40B4-BE49-F238E27FC236}">
                <a16:creationId xmlns:a16="http://schemas.microsoft.com/office/drawing/2014/main" id="{1ED2B663-0A12-4E05-BFF4-4B98F51E00AD}"/>
              </a:ext>
            </a:extLst>
          </p:cNvPr>
          <p:cNvSpPr>
            <a:spLocks noGrp="1"/>
          </p:cNvSpPr>
          <p:nvPr>
            <p:ph type="pic" sz="quarter" idx="10"/>
          </p:nvPr>
        </p:nvSpPr>
        <p:spPr>
          <a:xfrm>
            <a:off x="511175" y="453969"/>
            <a:ext cx="5534024" cy="3549705"/>
          </a:xfrm>
        </p:spPr>
        <p:txBody>
          <a:bodyPr/>
          <a:lstStyle>
            <a:lvl1pPr>
              <a:defRPr>
                <a:solidFill>
                  <a:schemeClr val="bg1"/>
                </a:solidFill>
              </a:defRPr>
            </a:lvl1pPr>
          </a:lstStyle>
          <a:p>
            <a:r>
              <a:rPr lang="en-GB" dirty="0"/>
              <a:t>Click icon to add picture</a:t>
            </a:r>
          </a:p>
        </p:txBody>
      </p:sp>
      <p:sp>
        <p:nvSpPr>
          <p:cNvPr id="6" name="Content Placeholder 1">
            <a:extLst>
              <a:ext uri="{FF2B5EF4-FFF2-40B4-BE49-F238E27FC236}">
                <a16:creationId xmlns:a16="http://schemas.microsoft.com/office/drawing/2014/main" id="{7CED3D3F-E05A-43E8-8434-506C9DB8CBD0}"/>
              </a:ext>
            </a:extLst>
          </p:cNvPr>
          <p:cNvSpPr>
            <a:spLocks noGrp="1"/>
          </p:cNvSpPr>
          <p:nvPr>
            <p:ph sz="quarter" idx="11" hasCustomPrompt="1"/>
          </p:nvPr>
        </p:nvSpPr>
        <p:spPr>
          <a:xfrm>
            <a:off x="511175" y="4731764"/>
            <a:ext cx="1436687" cy="1672211"/>
          </a:xfrm>
        </p:spPr>
        <p:txBody>
          <a:bodyPr anchor="b"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8EC09833-8A7C-41EA-9003-4BEABFE05487}"/>
              </a:ext>
            </a:extLst>
          </p:cNvPr>
          <p:cNvSpPr>
            <a:spLocks noGrp="1"/>
          </p:cNvSpPr>
          <p:nvPr>
            <p:ph type="pic" sz="quarter" idx="12"/>
          </p:nvPr>
        </p:nvSpPr>
        <p:spPr>
          <a:xfrm>
            <a:off x="6146804" y="453970"/>
            <a:ext cx="5534022" cy="3549706"/>
          </a:xfrm>
        </p:spPr>
        <p:txBody>
          <a:bodyPr/>
          <a:lstStyle>
            <a:lvl1pPr marL="0" marR="0" indent="0" defTabSz="914400" eaLnBrk="1" fontAlgn="auto" latinLnBrk="0" hangingPunct="1">
              <a:lnSpc>
                <a:spcPct val="100000"/>
              </a:lnSpc>
              <a:spcBef>
                <a:spcPts val="1200"/>
              </a:spcBef>
              <a:spcAft>
                <a:spcPts val="1200"/>
              </a:spcAft>
              <a:buClrTx/>
              <a:buSzTx/>
              <a:buFontTx/>
              <a:buNone/>
              <a:tabLst/>
              <a:defRPr>
                <a:solidFill>
                  <a:schemeClr val="bg1"/>
                </a:solidFill>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9" name="Content Placeholder 2">
            <a:extLst>
              <a:ext uri="{FF2B5EF4-FFF2-40B4-BE49-F238E27FC236}">
                <a16:creationId xmlns:a16="http://schemas.microsoft.com/office/drawing/2014/main" id="{AADCA376-C974-4830-84A4-5CF228EA4B7A}"/>
              </a:ext>
            </a:extLst>
          </p:cNvPr>
          <p:cNvSpPr>
            <a:spLocks noGrp="1"/>
          </p:cNvSpPr>
          <p:nvPr>
            <p:ph sz="quarter" idx="13" hasCustomPrompt="1"/>
          </p:nvPr>
        </p:nvSpPr>
        <p:spPr>
          <a:xfrm>
            <a:off x="6146804" y="4727575"/>
            <a:ext cx="1435100" cy="1676456"/>
          </a:xfrm>
        </p:spPr>
        <p:txBody>
          <a:bodyPr anchor="b"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Tree>
    <p:extLst>
      <p:ext uri="{BB962C8B-B14F-4D97-AF65-F5344CB8AC3E}">
        <p14:creationId xmlns:p14="http://schemas.microsoft.com/office/powerpoint/2010/main" val="30567265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 Dark Photo Layout 6">
    <p:bg>
      <p:bgPr>
        <a:solidFill>
          <a:srgbClr val="012A2D"/>
        </a:solidFill>
        <a:effectLst/>
      </p:bgPr>
    </p:bg>
    <p:spTree>
      <p:nvGrpSpPr>
        <p:cNvPr id="1" name=""/>
        <p:cNvGrpSpPr/>
        <p:nvPr/>
      </p:nvGrpSpPr>
      <p:grpSpPr>
        <a:xfrm>
          <a:off x="0" y="0"/>
          <a:ext cx="0" cy="0"/>
          <a:chOff x="0" y="0"/>
          <a:chExt cx="0" cy="0"/>
        </a:xfrm>
      </p:grpSpPr>
      <p:sp>
        <p:nvSpPr>
          <p:cNvPr id="8" name="Page Number">
            <a:extLst>
              <a:ext uri="{FF2B5EF4-FFF2-40B4-BE49-F238E27FC236}">
                <a16:creationId xmlns:a16="http://schemas.microsoft.com/office/drawing/2014/main" id="{C98E66F1-6DBC-420B-A0A4-9CCF2CCB2A0A}"/>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7" name="Left Footer">
            <a:extLst>
              <a:ext uri="{FF2B5EF4-FFF2-40B4-BE49-F238E27FC236}">
                <a16:creationId xmlns:a16="http://schemas.microsoft.com/office/drawing/2014/main" id="{EAE2558A-5E81-4613-BD4F-4F510C334C4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4" name="Picture Placeholder 1">
            <a:extLst>
              <a:ext uri="{FF2B5EF4-FFF2-40B4-BE49-F238E27FC236}">
                <a16:creationId xmlns:a16="http://schemas.microsoft.com/office/drawing/2014/main" id="{1ED2B663-0A12-4E05-BFF4-4B98F51E00AD}"/>
              </a:ext>
            </a:extLst>
          </p:cNvPr>
          <p:cNvSpPr>
            <a:spLocks noGrp="1"/>
          </p:cNvSpPr>
          <p:nvPr>
            <p:ph type="pic" sz="quarter" idx="10"/>
          </p:nvPr>
        </p:nvSpPr>
        <p:spPr>
          <a:xfrm>
            <a:off x="2562225" y="452438"/>
            <a:ext cx="9118600" cy="5953124"/>
          </a:xfrm>
        </p:spPr>
        <p:txBody>
          <a:bodyPr/>
          <a:lstStyle>
            <a:lvl1pPr>
              <a:defRPr>
                <a:solidFill>
                  <a:schemeClr val="bg1"/>
                </a:solidFill>
              </a:defRPr>
            </a:lvl1pPr>
          </a:lstStyle>
          <a:p>
            <a:r>
              <a:rPr lang="en-GB" dirty="0"/>
              <a:t>Click icon to add picture</a:t>
            </a:r>
          </a:p>
        </p:txBody>
      </p:sp>
      <p:sp>
        <p:nvSpPr>
          <p:cNvPr id="6" name="Content Placeholder 1">
            <a:extLst>
              <a:ext uri="{FF2B5EF4-FFF2-40B4-BE49-F238E27FC236}">
                <a16:creationId xmlns:a16="http://schemas.microsoft.com/office/drawing/2014/main" id="{7CED3D3F-E05A-43E8-8434-506C9DB8CBD0}"/>
              </a:ext>
            </a:extLst>
          </p:cNvPr>
          <p:cNvSpPr>
            <a:spLocks noGrp="1"/>
          </p:cNvSpPr>
          <p:nvPr>
            <p:ph sz="quarter" idx="11" hasCustomPrompt="1"/>
          </p:nvPr>
        </p:nvSpPr>
        <p:spPr>
          <a:xfrm>
            <a:off x="511175" y="1601788"/>
            <a:ext cx="1436687" cy="4803774"/>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Tree>
    <p:extLst>
      <p:ext uri="{BB962C8B-B14F-4D97-AF65-F5344CB8AC3E}">
        <p14:creationId xmlns:p14="http://schemas.microsoft.com/office/powerpoint/2010/main" val="32725378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 Photo Layout 7">
    <p:bg>
      <p:bgPr>
        <a:solidFill>
          <a:srgbClr val="012A2D"/>
        </a:solidFill>
        <a:effectLst/>
      </p:bgPr>
    </p:bg>
    <p:spTree>
      <p:nvGrpSpPr>
        <p:cNvPr id="1" name=""/>
        <p:cNvGrpSpPr/>
        <p:nvPr/>
      </p:nvGrpSpPr>
      <p:grpSpPr>
        <a:xfrm>
          <a:off x="0" y="0"/>
          <a:ext cx="0" cy="0"/>
          <a:chOff x="0" y="0"/>
          <a:chExt cx="0" cy="0"/>
        </a:xfrm>
      </p:grpSpPr>
      <p:sp>
        <p:nvSpPr>
          <p:cNvPr id="8" name="Page Number">
            <a:extLst>
              <a:ext uri="{FF2B5EF4-FFF2-40B4-BE49-F238E27FC236}">
                <a16:creationId xmlns:a16="http://schemas.microsoft.com/office/drawing/2014/main" id="{C98E66F1-6DBC-420B-A0A4-9CCF2CCB2A0A}"/>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7" name="Left Footer">
            <a:extLst>
              <a:ext uri="{FF2B5EF4-FFF2-40B4-BE49-F238E27FC236}">
                <a16:creationId xmlns:a16="http://schemas.microsoft.com/office/drawing/2014/main" id="{EAE2558A-5E81-4613-BD4F-4F510C334C4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4" name="Picture Placeholder 1">
            <a:extLst>
              <a:ext uri="{FF2B5EF4-FFF2-40B4-BE49-F238E27FC236}">
                <a16:creationId xmlns:a16="http://schemas.microsoft.com/office/drawing/2014/main" id="{1ED2B663-0A12-4E05-BFF4-4B98F51E00AD}"/>
              </a:ext>
            </a:extLst>
          </p:cNvPr>
          <p:cNvSpPr>
            <a:spLocks noGrp="1"/>
          </p:cNvSpPr>
          <p:nvPr>
            <p:ph type="pic" sz="quarter" idx="10"/>
          </p:nvPr>
        </p:nvSpPr>
        <p:spPr>
          <a:xfrm>
            <a:off x="511175" y="452437"/>
            <a:ext cx="3997325" cy="5951537"/>
          </a:xfrm>
        </p:spPr>
        <p:txBody>
          <a:bodyPr/>
          <a:lstStyle>
            <a:lvl1pPr>
              <a:defRPr>
                <a:solidFill>
                  <a:schemeClr val="bg1"/>
                </a:solidFill>
              </a:defRPr>
            </a:lvl1pPr>
          </a:lstStyle>
          <a:p>
            <a:r>
              <a:rPr lang="en-GB" dirty="0"/>
              <a:t>Click icon to add picture</a:t>
            </a:r>
          </a:p>
        </p:txBody>
      </p:sp>
      <p:sp>
        <p:nvSpPr>
          <p:cNvPr id="6" name="Content Placeholder 1">
            <a:extLst>
              <a:ext uri="{FF2B5EF4-FFF2-40B4-BE49-F238E27FC236}">
                <a16:creationId xmlns:a16="http://schemas.microsoft.com/office/drawing/2014/main" id="{7CED3D3F-E05A-43E8-8434-506C9DB8CBD0}"/>
              </a:ext>
            </a:extLst>
          </p:cNvPr>
          <p:cNvSpPr>
            <a:spLocks noGrp="1"/>
          </p:cNvSpPr>
          <p:nvPr>
            <p:ph sz="quarter" idx="11" hasCustomPrompt="1"/>
          </p:nvPr>
        </p:nvSpPr>
        <p:spPr>
          <a:xfrm>
            <a:off x="4610100" y="452438"/>
            <a:ext cx="1436687" cy="2298700"/>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8EC09833-8A7C-41EA-9003-4BEABFE05487}"/>
              </a:ext>
            </a:extLst>
          </p:cNvPr>
          <p:cNvSpPr>
            <a:spLocks noGrp="1"/>
          </p:cNvSpPr>
          <p:nvPr>
            <p:ph type="pic" sz="quarter" idx="12"/>
          </p:nvPr>
        </p:nvSpPr>
        <p:spPr>
          <a:xfrm>
            <a:off x="7683500" y="452437"/>
            <a:ext cx="3997326" cy="5951537"/>
          </a:xfrm>
        </p:spPr>
        <p:txBody>
          <a:bodyPr/>
          <a:lstStyle>
            <a:lvl1pPr marL="0" marR="0" indent="0" defTabSz="914400" eaLnBrk="1" fontAlgn="auto" latinLnBrk="0" hangingPunct="1">
              <a:lnSpc>
                <a:spcPct val="100000"/>
              </a:lnSpc>
              <a:spcBef>
                <a:spcPts val="1200"/>
              </a:spcBef>
              <a:spcAft>
                <a:spcPts val="1200"/>
              </a:spcAft>
              <a:buClrTx/>
              <a:buSzTx/>
              <a:buFontTx/>
              <a:buNone/>
              <a:tabLst/>
              <a:defRPr>
                <a:solidFill>
                  <a:schemeClr val="bg1"/>
                </a:solidFill>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9" name="Content Placeholder 2">
            <a:extLst>
              <a:ext uri="{FF2B5EF4-FFF2-40B4-BE49-F238E27FC236}">
                <a16:creationId xmlns:a16="http://schemas.microsoft.com/office/drawing/2014/main" id="{AADCA376-C974-4830-84A4-5CF228EA4B7A}"/>
              </a:ext>
            </a:extLst>
          </p:cNvPr>
          <p:cNvSpPr>
            <a:spLocks noGrp="1"/>
          </p:cNvSpPr>
          <p:nvPr>
            <p:ph sz="quarter" idx="13" hasCustomPrompt="1"/>
          </p:nvPr>
        </p:nvSpPr>
        <p:spPr>
          <a:xfrm>
            <a:off x="6146804" y="452438"/>
            <a:ext cx="1435100" cy="2298700"/>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Tree>
    <p:extLst>
      <p:ext uri="{BB962C8B-B14F-4D97-AF65-F5344CB8AC3E}">
        <p14:creationId xmlns:p14="http://schemas.microsoft.com/office/powerpoint/2010/main" val="11533865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ark Photo Layout 8">
    <p:bg>
      <p:bgPr>
        <a:solidFill>
          <a:srgbClr val="012A2D"/>
        </a:solidFill>
        <a:effectLst/>
      </p:bgPr>
    </p:bg>
    <p:spTree>
      <p:nvGrpSpPr>
        <p:cNvPr id="1" name=""/>
        <p:cNvGrpSpPr/>
        <p:nvPr/>
      </p:nvGrpSpPr>
      <p:grpSpPr>
        <a:xfrm>
          <a:off x="0" y="0"/>
          <a:ext cx="0" cy="0"/>
          <a:chOff x="0" y="0"/>
          <a:chExt cx="0" cy="0"/>
        </a:xfrm>
      </p:grpSpPr>
      <p:sp>
        <p:nvSpPr>
          <p:cNvPr id="8" name="Page Number">
            <a:extLst>
              <a:ext uri="{FF2B5EF4-FFF2-40B4-BE49-F238E27FC236}">
                <a16:creationId xmlns:a16="http://schemas.microsoft.com/office/drawing/2014/main" id="{C98E66F1-6DBC-420B-A0A4-9CCF2CCB2A0A}"/>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7" name="Left Footer">
            <a:extLst>
              <a:ext uri="{FF2B5EF4-FFF2-40B4-BE49-F238E27FC236}">
                <a16:creationId xmlns:a16="http://schemas.microsoft.com/office/drawing/2014/main" id="{EAE2558A-5E81-4613-BD4F-4F510C334C4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4" name="Picture Placeholder 1">
            <a:extLst>
              <a:ext uri="{FF2B5EF4-FFF2-40B4-BE49-F238E27FC236}">
                <a16:creationId xmlns:a16="http://schemas.microsoft.com/office/drawing/2014/main" id="{1ED2B663-0A12-4E05-BFF4-4B98F51E00AD}"/>
              </a:ext>
            </a:extLst>
          </p:cNvPr>
          <p:cNvSpPr>
            <a:spLocks noGrp="1"/>
          </p:cNvSpPr>
          <p:nvPr>
            <p:ph type="pic" sz="quarter" idx="10"/>
          </p:nvPr>
        </p:nvSpPr>
        <p:spPr>
          <a:xfrm>
            <a:off x="511175" y="2227262"/>
            <a:ext cx="2971800" cy="4178428"/>
          </a:xfrm>
        </p:spPr>
        <p:txBody>
          <a:bodyPr/>
          <a:lstStyle>
            <a:lvl1pPr>
              <a:defRPr>
                <a:solidFill>
                  <a:schemeClr val="bg1"/>
                </a:solidFill>
              </a:defRPr>
            </a:lvl1pPr>
          </a:lstStyle>
          <a:p>
            <a:r>
              <a:rPr lang="en-GB" dirty="0"/>
              <a:t>Click icon to add picture</a:t>
            </a:r>
          </a:p>
        </p:txBody>
      </p:sp>
      <p:sp>
        <p:nvSpPr>
          <p:cNvPr id="6" name="Content Placeholder 1">
            <a:extLst>
              <a:ext uri="{FF2B5EF4-FFF2-40B4-BE49-F238E27FC236}">
                <a16:creationId xmlns:a16="http://schemas.microsoft.com/office/drawing/2014/main" id="{7CED3D3F-E05A-43E8-8434-506C9DB8CBD0}"/>
              </a:ext>
            </a:extLst>
          </p:cNvPr>
          <p:cNvSpPr>
            <a:spLocks noGrp="1"/>
          </p:cNvSpPr>
          <p:nvPr>
            <p:ph sz="quarter" idx="11" hasCustomPrompt="1"/>
          </p:nvPr>
        </p:nvSpPr>
        <p:spPr>
          <a:xfrm>
            <a:off x="511175" y="452432"/>
            <a:ext cx="1436687" cy="1673479"/>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8EC09833-8A7C-41EA-9003-4BEABFE05487}"/>
              </a:ext>
            </a:extLst>
          </p:cNvPr>
          <p:cNvSpPr>
            <a:spLocks noGrp="1"/>
          </p:cNvSpPr>
          <p:nvPr>
            <p:ph type="pic" sz="quarter" idx="12"/>
          </p:nvPr>
        </p:nvSpPr>
        <p:spPr>
          <a:xfrm>
            <a:off x="4610100" y="2230372"/>
            <a:ext cx="2971800" cy="4175299"/>
          </a:xfrm>
        </p:spPr>
        <p:txBody>
          <a:bodyPr/>
          <a:lstStyle>
            <a:lvl1pPr marL="0" marR="0" indent="0" defTabSz="914400" eaLnBrk="1" fontAlgn="auto" latinLnBrk="0" hangingPunct="1">
              <a:lnSpc>
                <a:spcPct val="100000"/>
              </a:lnSpc>
              <a:spcBef>
                <a:spcPts val="1200"/>
              </a:spcBef>
              <a:spcAft>
                <a:spcPts val="1200"/>
              </a:spcAft>
              <a:buClrTx/>
              <a:buSzTx/>
              <a:buFontTx/>
              <a:buNone/>
              <a:tabLst/>
              <a:defRPr>
                <a:solidFill>
                  <a:schemeClr val="bg1"/>
                </a:solidFill>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9" name="Content Placeholder 2">
            <a:extLst>
              <a:ext uri="{FF2B5EF4-FFF2-40B4-BE49-F238E27FC236}">
                <a16:creationId xmlns:a16="http://schemas.microsoft.com/office/drawing/2014/main" id="{AADCA376-C974-4830-84A4-5CF228EA4B7A}"/>
              </a:ext>
            </a:extLst>
          </p:cNvPr>
          <p:cNvSpPr>
            <a:spLocks noGrp="1"/>
          </p:cNvSpPr>
          <p:nvPr>
            <p:ph sz="quarter" idx="13" hasCustomPrompt="1"/>
          </p:nvPr>
        </p:nvSpPr>
        <p:spPr>
          <a:xfrm>
            <a:off x="4610100" y="452328"/>
            <a:ext cx="1435100" cy="1677728"/>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5" name="Picture Placeholder 3">
            <a:extLst>
              <a:ext uri="{FF2B5EF4-FFF2-40B4-BE49-F238E27FC236}">
                <a16:creationId xmlns:a16="http://schemas.microsoft.com/office/drawing/2014/main" id="{5D3782D6-4F01-4CAB-9D0C-BDEA972A9280}"/>
              </a:ext>
            </a:extLst>
          </p:cNvPr>
          <p:cNvSpPr>
            <a:spLocks noGrp="1"/>
          </p:cNvSpPr>
          <p:nvPr>
            <p:ph type="pic" sz="quarter" idx="14"/>
          </p:nvPr>
        </p:nvSpPr>
        <p:spPr>
          <a:xfrm>
            <a:off x="8709024" y="2227263"/>
            <a:ext cx="2971800" cy="4178428"/>
          </a:xfrm>
        </p:spPr>
        <p:txBody>
          <a:bodyPr/>
          <a:lstStyle>
            <a:lvl1pPr>
              <a:defRPr>
                <a:solidFill>
                  <a:schemeClr val="bg1"/>
                </a:solidFill>
              </a:defRPr>
            </a:lvl1pPr>
          </a:lstStyle>
          <a:p>
            <a:r>
              <a:rPr lang="en-GB" dirty="0"/>
              <a:t>Click icon to add picture</a:t>
            </a:r>
          </a:p>
        </p:txBody>
      </p:sp>
      <p:sp>
        <p:nvSpPr>
          <p:cNvPr id="11" name="Content Placeholder 3">
            <a:extLst>
              <a:ext uri="{FF2B5EF4-FFF2-40B4-BE49-F238E27FC236}">
                <a16:creationId xmlns:a16="http://schemas.microsoft.com/office/drawing/2014/main" id="{2521220F-8C54-4B2A-98AC-2B999019F3E3}"/>
              </a:ext>
            </a:extLst>
          </p:cNvPr>
          <p:cNvSpPr>
            <a:spLocks noGrp="1"/>
          </p:cNvSpPr>
          <p:nvPr>
            <p:ph sz="quarter" idx="15" hasCustomPrompt="1"/>
          </p:nvPr>
        </p:nvSpPr>
        <p:spPr>
          <a:xfrm>
            <a:off x="8709025" y="452438"/>
            <a:ext cx="1435100" cy="1673225"/>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Tree>
    <p:extLst>
      <p:ext uri="{BB962C8B-B14F-4D97-AF65-F5344CB8AC3E}">
        <p14:creationId xmlns:p14="http://schemas.microsoft.com/office/powerpoint/2010/main" val="40188589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ark Photo Layout 9">
    <p:bg>
      <p:bgPr>
        <a:solidFill>
          <a:srgbClr val="012A2D"/>
        </a:solidFill>
        <a:effectLst/>
      </p:bgPr>
    </p:bg>
    <p:spTree>
      <p:nvGrpSpPr>
        <p:cNvPr id="1" name=""/>
        <p:cNvGrpSpPr/>
        <p:nvPr/>
      </p:nvGrpSpPr>
      <p:grpSpPr>
        <a:xfrm>
          <a:off x="0" y="0"/>
          <a:ext cx="0" cy="0"/>
          <a:chOff x="0" y="0"/>
          <a:chExt cx="0" cy="0"/>
        </a:xfrm>
      </p:grpSpPr>
      <p:sp>
        <p:nvSpPr>
          <p:cNvPr id="8" name="Page Number">
            <a:extLst>
              <a:ext uri="{FF2B5EF4-FFF2-40B4-BE49-F238E27FC236}">
                <a16:creationId xmlns:a16="http://schemas.microsoft.com/office/drawing/2014/main" id="{C98E66F1-6DBC-420B-A0A4-9CCF2CCB2A0A}"/>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bg1"/>
                </a:solidFill>
                <a:latin typeface="+mn-lt"/>
                <a:ea typeface="+mn-ea"/>
                <a:cs typeface="+mn-cs"/>
              </a:rPr>
              <a:pPr marL="0" algn="r" defTabSz="914400" rtl="0" eaLnBrk="1" latinLnBrk="0" hangingPunct="1"/>
              <a:t>‹#›</a:t>
            </a:fld>
            <a:endParaRPr lang="en-GB" sz="800" b="0" kern="1200" cap="none" baseline="0" dirty="0">
              <a:solidFill>
                <a:schemeClr val="bg1"/>
              </a:solidFill>
              <a:latin typeface="+mn-lt"/>
              <a:ea typeface="+mn-ea"/>
              <a:cs typeface="+mn-cs"/>
            </a:endParaRPr>
          </a:p>
        </p:txBody>
      </p:sp>
      <p:sp>
        <p:nvSpPr>
          <p:cNvPr id="7" name="Left Footer">
            <a:extLst>
              <a:ext uri="{FF2B5EF4-FFF2-40B4-BE49-F238E27FC236}">
                <a16:creationId xmlns:a16="http://schemas.microsoft.com/office/drawing/2014/main" id="{EAE2558A-5E81-4613-BD4F-4F510C334C43}"/>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bg1"/>
                </a:solidFill>
                <a:latin typeface="+mn-lt"/>
                <a:ea typeface="+mn-ea"/>
                <a:cs typeface="+mn-cs"/>
              </a:rPr>
              <a:t>Confidential &amp; Proprietary | © </a:t>
            </a:r>
            <a:fld id="{B068ACA0-8C9F-4E58-A054-F52B2223E874}" type="datetimeyyyy">
              <a:rPr lang="en-GB" sz="800" b="0" kern="1200" cap="none" baseline="0" smtClean="0">
                <a:solidFill>
                  <a:schemeClr val="bg1"/>
                </a:solidFill>
                <a:latin typeface="+mn-lt"/>
                <a:ea typeface="+mn-ea"/>
                <a:cs typeface="+mn-cs"/>
              </a:rPr>
              <a:pPr marL="0" algn="l" defTabSz="914400" rtl="0" eaLnBrk="1" latinLnBrk="0" hangingPunct="1"/>
              <a:t>2024</a:t>
            </a:fld>
            <a:r>
              <a:rPr lang="en-GB" sz="800" b="0" kern="1200" cap="none" baseline="0" dirty="0">
                <a:solidFill>
                  <a:schemeClr val="bg1"/>
                </a:solidFill>
                <a:latin typeface="+mn-lt"/>
                <a:ea typeface="+mn-ea"/>
                <a:cs typeface="+mn-cs"/>
              </a:rPr>
              <a:t> CBRE, Inc.</a:t>
            </a:r>
          </a:p>
        </p:txBody>
      </p:sp>
      <p:sp>
        <p:nvSpPr>
          <p:cNvPr id="4" name="Picture Placeholder 1">
            <a:extLst>
              <a:ext uri="{FF2B5EF4-FFF2-40B4-BE49-F238E27FC236}">
                <a16:creationId xmlns:a16="http://schemas.microsoft.com/office/drawing/2014/main" id="{1ED2B663-0A12-4E05-BFF4-4B98F51E00AD}"/>
              </a:ext>
            </a:extLst>
          </p:cNvPr>
          <p:cNvSpPr>
            <a:spLocks noGrp="1"/>
          </p:cNvSpPr>
          <p:nvPr>
            <p:ph type="pic" sz="quarter" idx="10"/>
          </p:nvPr>
        </p:nvSpPr>
        <p:spPr>
          <a:xfrm>
            <a:off x="511175" y="2227262"/>
            <a:ext cx="2971800" cy="1773237"/>
          </a:xfrm>
        </p:spPr>
        <p:txBody>
          <a:bodyPr/>
          <a:lstStyle>
            <a:lvl1pPr>
              <a:defRPr>
                <a:solidFill>
                  <a:schemeClr val="bg1"/>
                </a:solidFill>
              </a:defRPr>
            </a:lvl1pPr>
          </a:lstStyle>
          <a:p>
            <a:r>
              <a:rPr lang="en-GB" dirty="0"/>
              <a:t>Click icon to add picture</a:t>
            </a:r>
          </a:p>
        </p:txBody>
      </p:sp>
      <p:sp>
        <p:nvSpPr>
          <p:cNvPr id="6" name="Content Placeholder 1">
            <a:extLst>
              <a:ext uri="{FF2B5EF4-FFF2-40B4-BE49-F238E27FC236}">
                <a16:creationId xmlns:a16="http://schemas.microsoft.com/office/drawing/2014/main" id="{7CED3D3F-E05A-43E8-8434-506C9DB8CBD0}"/>
              </a:ext>
            </a:extLst>
          </p:cNvPr>
          <p:cNvSpPr>
            <a:spLocks noGrp="1"/>
          </p:cNvSpPr>
          <p:nvPr>
            <p:ph sz="quarter" idx="11" hasCustomPrompt="1"/>
          </p:nvPr>
        </p:nvSpPr>
        <p:spPr>
          <a:xfrm>
            <a:off x="511175" y="452438"/>
            <a:ext cx="1435608" cy="1673225"/>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3" name="Picture Placeholder 2">
            <a:extLst>
              <a:ext uri="{FF2B5EF4-FFF2-40B4-BE49-F238E27FC236}">
                <a16:creationId xmlns:a16="http://schemas.microsoft.com/office/drawing/2014/main" id="{8EC09833-8A7C-41EA-9003-4BEABFE05487}"/>
              </a:ext>
            </a:extLst>
          </p:cNvPr>
          <p:cNvSpPr>
            <a:spLocks noGrp="1"/>
          </p:cNvSpPr>
          <p:nvPr>
            <p:ph type="pic" sz="quarter" idx="12"/>
          </p:nvPr>
        </p:nvSpPr>
        <p:spPr>
          <a:xfrm>
            <a:off x="4610100" y="2230373"/>
            <a:ext cx="2971800" cy="1771909"/>
          </a:xfrm>
        </p:spPr>
        <p:txBody>
          <a:bodyPr/>
          <a:lstStyle>
            <a:lvl1pPr marL="0" marR="0" indent="0" defTabSz="914400" eaLnBrk="1" fontAlgn="auto" latinLnBrk="0" hangingPunct="1">
              <a:lnSpc>
                <a:spcPct val="100000"/>
              </a:lnSpc>
              <a:spcBef>
                <a:spcPts val="1200"/>
              </a:spcBef>
              <a:spcAft>
                <a:spcPts val="1200"/>
              </a:spcAft>
              <a:buClrTx/>
              <a:buSzTx/>
              <a:buFontTx/>
              <a:buNone/>
              <a:tabLst/>
              <a:defRPr>
                <a:solidFill>
                  <a:schemeClr val="bg1"/>
                </a:solidFill>
              </a:defRPr>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icon to add picture</a:t>
            </a:r>
          </a:p>
        </p:txBody>
      </p:sp>
      <p:sp>
        <p:nvSpPr>
          <p:cNvPr id="9" name="Content Placeholder 2">
            <a:extLst>
              <a:ext uri="{FF2B5EF4-FFF2-40B4-BE49-F238E27FC236}">
                <a16:creationId xmlns:a16="http://schemas.microsoft.com/office/drawing/2014/main" id="{AADCA376-C974-4830-84A4-5CF228EA4B7A}"/>
              </a:ext>
            </a:extLst>
          </p:cNvPr>
          <p:cNvSpPr>
            <a:spLocks noGrp="1"/>
          </p:cNvSpPr>
          <p:nvPr>
            <p:ph sz="quarter" idx="13" hasCustomPrompt="1"/>
          </p:nvPr>
        </p:nvSpPr>
        <p:spPr>
          <a:xfrm>
            <a:off x="4610100" y="452438"/>
            <a:ext cx="1435608" cy="1673225"/>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
        <p:nvSpPr>
          <p:cNvPr id="5" name="Picture Placeholder 3">
            <a:extLst>
              <a:ext uri="{FF2B5EF4-FFF2-40B4-BE49-F238E27FC236}">
                <a16:creationId xmlns:a16="http://schemas.microsoft.com/office/drawing/2014/main" id="{5D3782D6-4F01-4CAB-9D0C-BDEA972A9280}"/>
              </a:ext>
            </a:extLst>
          </p:cNvPr>
          <p:cNvSpPr>
            <a:spLocks noGrp="1"/>
          </p:cNvSpPr>
          <p:nvPr>
            <p:ph type="pic" sz="quarter" idx="14"/>
          </p:nvPr>
        </p:nvSpPr>
        <p:spPr>
          <a:xfrm>
            <a:off x="8709024" y="2227263"/>
            <a:ext cx="2971800" cy="1773237"/>
          </a:xfrm>
        </p:spPr>
        <p:txBody>
          <a:bodyPr/>
          <a:lstStyle>
            <a:lvl1pPr>
              <a:defRPr>
                <a:solidFill>
                  <a:schemeClr val="bg1"/>
                </a:solidFill>
              </a:defRPr>
            </a:lvl1pPr>
          </a:lstStyle>
          <a:p>
            <a:r>
              <a:rPr lang="en-GB" dirty="0"/>
              <a:t>Click icon to add picture</a:t>
            </a:r>
          </a:p>
        </p:txBody>
      </p:sp>
      <p:sp>
        <p:nvSpPr>
          <p:cNvPr id="11" name="Content Placeholder 3">
            <a:extLst>
              <a:ext uri="{FF2B5EF4-FFF2-40B4-BE49-F238E27FC236}">
                <a16:creationId xmlns:a16="http://schemas.microsoft.com/office/drawing/2014/main" id="{2521220F-8C54-4B2A-98AC-2B999019F3E3}"/>
              </a:ext>
            </a:extLst>
          </p:cNvPr>
          <p:cNvSpPr>
            <a:spLocks noGrp="1"/>
          </p:cNvSpPr>
          <p:nvPr>
            <p:ph sz="quarter" idx="15" hasCustomPrompt="1"/>
          </p:nvPr>
        </p:nvSpPr>
        <p:spPr>
          <a:xfrm>
            <a:off x="8709025" y="452438"/>
            <a:ext cx="1435608" cy="1673225"/>
          </a:xfrm>
        </p:spPr>
        <p:txBody>
          <a:bodyPr anchor="t" anchorCtr="0"/>
          <a:lstStyle>
            <a:lvl1pPr>
              <a:spcBef>
                <a:spcPts val="600"/>
              </a:spcBef>
              <a:spcAft>
                <a:spcPts val="0"/>
              </a:spcAft>
              <a:defRPr lang="en-US" sz="1200" dirty="0" smtClean="0">
                <a:solidFill>
                  <a:schemeClr val="bg1"/>
                </a:solidFill>
                <a:latin typeface="Calibre Semibold" panose="020B0703030202060203" pitchFamily="34" charset="0"/>
                <a:ea typeface="+mn-ea"/>
                <a:cs typeface="+mn-cs"/>
              </a:defRPr>
            </a:lvl1pPr>
            <a:lvl2pPr>
              <a:spcBef>
                <a:spcPts val="0"/>
              </a:spcBef>
              <a:spcAft>
                <a:spcPts val="300"/>
              </a:spcAft>
              <a:defRPr lang="en-US" sz="1050" dirty="0" smtClean="0">
                <a:solidFill>
                  <a:schemeClr val="bg1"/>
                </a:solidFill>
                <a:latin typeface="+mn-lt"/>
                <a:ea typeface="+mn-ea"/>
                <a:cs typeface="+mn-cs"/>
              </a:defRPr>
            </a:lvl2pPr>
            <a:lvl3pPr marL="171450" indent="-171450">
              <a:spcBef>
                <a:spcPts val="0"/>
              </a:spcBef>
              <a:spcAft>
                <a:spcPts val="300"/>
              </a:spcAft>
              <a:buFont typeface="Calibre" panose="020B0503030202060203" pitchFamily="34" charset="0"/>
              <a:buChar char="–"/>
              <a:defRPr lang="en-US" sz="1050" dirty="0" smtClean="0">
                <a:solidFill>
                  <a:schemeClr val="bg1"/>
                </a:solidFill>
                <a:latin typeface="+mn-lt"/>
                <a:ea typeface="+mn-ea"/>
                <a:cs typeface="+mn-cs"/>
              </a:defRPr>
            </a:lvl3pPr>
            <a:lvl4pPr marL="356616">
              <a:spcBef>
                <a:spcPts val="0"/>
              </a:spcBef>
              <a:spcAft>
                <a:spcPts val="300"/>
              </a:spcAft>
              <a:buClr>
                <a:schemeClr val="bg1"/>
              </a:buClr>
              <a:defRPr lang="en-US" sz="1050" b="0" dirty="0" smtClean="0">
                <a:solidFill>
                  <a:schemeClr val="bg1"/>
                </a:solidFill>
                <a:latin typeface="+mn-lt"/>
                <a:ea typeface="+mn-ea"/>
                <a:cs typeface="+mn-cs"/>
              </a:defRPr>
            </a:lvl4pPr>
            <a:lvl5pPr marL="0" indent="0">
              <a:spcBef>
                <a:spcPts val="600"/>
              </a:spcBef>
              <a:spcAft>
                <a:spcPts val="0"/>
              </a:spcAft>
              <a:buFontTx/>
              <a:buNone/>
              <a:defRPr lang="en-US" sz="1200" dirty="0" smtClean="0">
                <a:solidFill>
                  <a:schemeClr val="bg1"/>
                </a:solidFill>
                <a:latin typeface="Calibre Semibold" panose="020B07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Sub heading</a:t>
            </a:r>
          </a:p>
          <a:p>
            <a:pPr lvl="1"/>
            <a:r>
              <a:rPr lang="en-GB"/>
              <a:t>Text</a:t>
            </a:r>
          </a:p>
        </p:txBody>
      </p:sp>
    </p:spTree>
    <p:extLst>
      <p:ext uri="{BB962C8B-B14F-4D97-AF65-F5344CB8AC3E}">
        <p14:creationId xmlns:p14="http://schemas.microsoft.com/office/powerpoint/2010/main" val="8990369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 Column Intro">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1601787"/>
            <a:ext cx="8092440" cy="4275137"/>
          </a:xfrm>
        </p:spPr>
        <p:txBody>
          <a:bodyPr/>
          <a:lstStyle>
            <a:lvl1pPr marL="0" indent="0">
              <a:spcBef>
                <a:spcPts val="0"/>
              </a:spcBef>
              <a:spcAft>
                <a:spcPts val="600"/>
              </a:spcAft>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7475927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 Column + Subheading">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1601787"/>
            <a:ext cx="8092440" cy="427513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3584448" y="914400"/>
            <a:ext cx="2971800"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Tree>
    <p:extLst>
      <p:ext uri="{BB962C8B-B14F-4D97-AF65-F5344CB8AC3E}">
        <p14:creationId xmlns:p14="http://schemas.microsoft.com/office/powerpoint/2010/main" val="31489466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Image Cover 2">
    <p:bg>
      <p:bgPr>
        <a:solidFill>
          <a:schemeClr val="accent6"/>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6F222E5-437D-4D26-94F0-6DA259B5944D}"/>
              </a:ext>
            </a:extLst>
          </p:cNvPr>
          <p:cNvSpPr>
            <a:spLocks noGrp="1"/>
          </p:cNvSpPr>
          <p:nvPr>
            <p:ph type="pic" sz="quarter" idx="12"/>
          </p:nvPr>
        </p:nvSpPr>
        <p:spPr>
          <a:xfrm>
            <a:off x="511176" y="1612900"/>
            <a:ext cx="2460624" cy="4775200"/>
          </a:xfrm>
        </p:spPr>
        <p:txBody>
          <a:bodyPr/>
          <a:lstStyle>
            <a:lvl1pPr>
              <a:defRPr>
                <a:solidFill>
                  <a:schemeClr val="bg1"/>
                </a:solidFill>
              </a:defRPr>
            </a:lvl1pPr>
          </a:lstStyle>
          <a:p>
            <a:r>
              <a:rPr lang="en-GB" dirty="0"/>
              <a:t>Click icon to add picture</a:t>
            </a:r>
          </a:p>
        </p:txBody>
      </p:sp>
      <p:cxnSp>
        <p:nvCxnSpPr>
          <p:cNvPr id="7" name="Straight Connector 6">
            <a:extLst>
              <a:ext uri="{FF2B5EF4-FFF2-40B4-BE49-F238E27FC236}">
                <a16:creationId xmlns:a16="http://schemas.microsoft.com/office/drawing/2014/main" id="{4B50443A-8339-4B27-B4A9-FF02F1201B4A}"/>
              </a:ext>
            </a:extLst>
          </p:cNvPr>
          <p:cNvCxnSpPr>
            <a:cxnSpLocks/>
          </p:cNvCxnSpPr>
          <p:nvPr/>
        </p:nvCxnSpPr>
        <p:spPr>
          <a:xfrm>
            <a:off x="3584575" y="576536"/>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10244137" y="6245352"/>
            <a:ext cx="1435101" cy="412100"/>
          </a:xfrm>
          <a:prstGeom prst="rect">
            <a:avLst/>
          </a:prstGeom>
        </p:spPr>
        <p:txBody>
          <a:bodyPr lIns="0" tIns="0" rIns="0" bIns="0"/>
          <a:lstStyle>
            <a:lvl1pPr marL="0" marR="0" indent="0" algn="r" defTabSz="554492" eaLnBrk="1" fontAlgn="auto" latinLnBrk="0" hangingPunct="1">
              <a:lnSpc>
                <a:spcPts val="1698"/>
              </a:lnSpc>
              <a:spcBef>
                <a:spcPts val="0"/>
              </a:spcBef>
              <a:spcAft>
                <a:spcPts val="0"/>
              </a:spcAft>
              <a:buClrTx/>
              <a:buSzTx/>
              <a:buFontTx/>
              <a:buNone/>
              <a:tabLst/>
              <a:defRPr lang="en-US" sz="1050" b="0" kern="1200" spc="-3" dirty="0" err="1" smtClean="0">
                <a:solidFill>
                  <a:srgbClr val="FFFFFF"/>
                </a:solidFill>
                <a:latin typeface="Space Mono" panose="02000509040000020004" pitchFamily="49" charset="0"/>
                <a:ea typeface="+mn-ea"/>
                <a:cs typeface="Space Mono" panose="02000509040000020004" pitchFamily="49" charset="0"/>
              </a:defRPr>
            </a:lvl1pPr>
          </a:lstStyle>
          <a:p>
            <a:r>
              <a:rPr lang="en-GB"/>
              <a:t>DATE</a:t>
            </a: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3584575" y="1556510"/>
            <a:ext cx="5022844" cy="1820100"/>
          </a:xfrm>
        </p:spPr>
        <p:txBody>
          <a:bodyPr/>
          <a:lstStyle>
            <a:lvl1pPr>
              <a:lnSpc>
                <a:spcPct val="85000"/>
              </a:lnSpc>
              <a:defRPr sz="5400">
                <a:solidFill>
                  <a:schemeClr val="bg1"/>
                </a:solidFill>
              </a:defRPr>
            </a:lvl1pPr>
          </a:lstStyle>
          <a:p>
            <a:r>
              <a:rPr lang="en-GB"/>
              <a:t>Click to edit Master title style</a:t>
            </a:r>
          </a:p>
        </p:txBody>
      </p:sp>
      <p:sp>
        <p:nvSpPr>
          <p:cNvPr id="22" name="Rectangle 21">
            <a:extLst>
              <a:ext uri="{FF2B5EF4-FFF2-40B4-BE49-F238E27FC236}">
                <a16:creationId xmlns:a16="http://schemas.microsoft.com/office/drawing/2014/main" id="{51402F92-C298-4C9D-B165-225CA6300EEC}"/>
              </a:ext>
            </a:extLst>
          </p:cNvPr>
          <p:cNvSpPr/>
          <p:nvPr/>
        </p:nvSpPr>
        <p:spPr>
          <a:xfrm>
            <a:off x="0" y="0"/>
            <a:ext cx="3584575" cy="1091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BRE Vector Logo">
            <a:extLst>
              <a:ext uri="{FF2B5EF4-FFF2-40B4-BE49-F238E27FC236}">
                <a16:creationId xmlns:a16="http://schemas.microsoft.com/office/drawing/2014/main" id="{82DBAA3F-69EC-44A9-B319-FA842EEDB687}"/>
              </a:ext>
            </a:extLst>
          </p:cNvPr>
          <p:cNvSpPr>
            <a:spLocks noChangeAspect="1"/>
          </p:cNvSpPr>
          <p:nvPr userDrawn="1"/>
        </p:nvSpPr>
        <p:spPr>
          <a:xfrm>
            <a:off x="10755020" y="457200"/>
            <a:ext cx="924217" cy="229615"/>
          </a:xfrm>
          <a:custGeom>
            <a:avLst/>
            <a:gdLst>
              <a:gd name="connsiteX0" fmla="*/ 306851 w 924217"/>
              <a:gd name="connsiteY0" fmla="*/ 137455 h 229615"/>
              <a:gd name="connsiteX1" fmla="*/ 306851 w 924217"/>
              <a:gd name="connsiteY1" fmla="*/ 175680 h 229615"/>
              <a:gd name="connsiteX2" fmla="*/ 383040 w 924217"/>
              <a:gd name="connsiteY2" fmla="*/ 175680 h 229615"/>
              <a:gd name="connsiteX3" fmla="*/ 402153 w 924217"/>
              <a:gd name="connsiteY3" fmla="*/ 156305 h 229615"/>
              <a:gd name="connsiteX4" fmla="*/ 385134 w 924217"/>
              <a:gd name="connsiteY4" fmla="*/ 137455 h 229615"/>
              <a:gd name="connsiteX5" fmla="*/ 384873 w 924217"/>
              <a:gd name="connsiteY5" fmla="*/ 137455 h 229615"/>
              <a:gd name="connsiteX6" fmla="*/ 384611 w 924217"/>
              <a:gd name="connsiteY6" fmla="*/ 137455 h 229615"/>
              <a:gd name="connsiteX7" fmla="*/ 539868 w 924217"/>
              <a:gd name="connsiteY7" fmla="*/ 50530 h 229615"/>
              <a:gd name="connsiteX8" fmla="*/ 539868 w 924217"/>
              <a:gd name="connsiteY8" fmla="*/ 87185 h 229615"/>
              <a:gd name="connsiteX9" fmla="*/ 618414 w 924217"/>
              <a:gd name="connsiteY9" fmla="*/ 87185 h 229615"/>
              <a:gd name="connsiteX10" fmla="*/ 636479 w 924217"/>
              <a:gd name="connsiteY10" fmla="*/ 71476 h 229615"/>
              <a:gd name="connsiteX11" fmla="*/ 636218 w 924217"/>
              <a:gd name="connsiteY11" fmla="*/ 71476 h 229615"/>
              <a:gd name="connsiteX12" fmla="*/ 636218 w 924217"/>
              <a:gd name="connsiteY12" fmla="*/ 66501 h 229615"/>
              <a:gd name="connsiteX13" fmla="*/ 618414 w 924217"/>
              <a:gd name="connsiteY13" fmla="*/ 50530 h 229615"/>
              <a:gd name="connsiteX14" fmla="*/ 306589 w 924217"/>
              <a:gd name="connsiteY14" fmla="*/ 49745 h 229615"/>
              <a:gd name="connsiteX15" fmla="*/ 306851 w 924217"/>
              <a:gd name="connsiteY15" fmla="*/ 87447 h 229615"/>
              <a:gd name="connsiteX16" fmla="*/ 386443 w 924217"/>
              <a:gd name="connsiteY16" fmla="*/ 87185 h 229615"/>
              <a:gd name="connsiteX17" fmla="*/ 402676 w 924217"/>
              <a:gd name="connsiteY17" fmla="*/ 68073 h 229615"/>
              <a:gd name="connsiteX18" fmla="*/ 386967 w 924217"/>
              <a:gd name="connsiteY18" fmla="*/ 49745 h 229615"/>
              <a:gd name="connsiteX19" fmla="*/ 386705 w 924217"/>
              <a:gd name="connsiteY19" fmla="*/ 49745 h 229615"/>
              <a:gd name="connsiteX20" fmla="*/ 386443 w 924217"/>
              <a:gd name="connsiteY20" fmla="*/ 49745 h 229615"/>
              <a:gd name="connsiteX21" fmla="*/ 484363 w 924217"/>
              <a:gd name="connsiteY21" fmla="*/ 261 h 229615"/>
              <a:gd name="connsiteX22" fmla="*/ 606108 w 924217"/>
              <a:gd name="connsiteY22" fmla="*/ 261 h 229615"/>
              <a:gd name="connsiteX23" fmla="*/ 688581 w 924217"/>
              <a:gd name="connsiteY23" fmla="*/ 60479 h 229615"/>
              <a:gd name="connsiteX24" fmla="*/ 654807 w 924217"/>
              <a:gd name="connsiteY24" fmla="*/ 111010 h 229615"/>
              <a:gd name="connsiteX25" fmla="*/ 687796 w 924217"/>
              <a:gd name="connsiteY25" fmla="*/ 155519 h 229615"/>
              <a:gd name="connsiteX26" fmla="*/ 687796 w 924217"/>
              <a:gd name="connsiteY26" fmla="*/ 229614 h 229615"/>
              <a:gd name="connsiteX27" fmla="*/ 633076 w 924217"/>
              <a:gd name="connsiteY27" fmla="*/ 229614 h 229615"/>
              <a:gd name="connsiteX28" fmla="*/ 633076 w 924217"/>
              <a:gd name="connsiteY28" fmla="*/ 169396 h 229615"/>
              <a:gd name="connsiteX29" fmla="*/ 601658 w 924217"/>
              <a:gd name="connsiteY29" fmla="*/ 136930 h 229615"/>
              <a:gd name="connsiteX30" fmla="*/ 540130 w 924217"/>
              <a:gd name="connsiteY30" fmla="*/ 136930 h 229615"/>
              <a:gd name="connsiteX31" fmla="*/ 540130 w 924217"/>
              <a:gd name="connsiteY31" fmla="*/ 229614 h 229615"/>
              <a:gd name="connsiteX32" fmla="*/ 484363 w 924217"/>
              <a:gd name="connsiteY32" fmla="*/ 229614 h 229615"/>
              <a:gd name="connsiteX33" fmla="*/ 722879 w 924217"/>
              <a:gd name="connsiteY33" fmla="*/ 0 h 229615"/>
              <a:gd name="connsiteX34" fmla="*/ 923955 w 924217"/>
              <a:gd name="connsiteY34" fmla="*/ 0 h 229615"/>
              <a:gd name="connsiteX35" fmla="*/ 923955 w 924217"/>
              <a:gd name="connsiteY35" fmla="*/ 50007 h 229615"/>
              <a:gd name="connsiteX36" fmla="*/ 778908 w 924217"/>
              <a:gd name="connsiteY36" fmla="*/ 50007 h 229615"/>
              <a:gd name="connsiteX37" fmla="*/ 779170 w 924217"/>
              <a:gd name="connsiteY37" fmla="*/ 86924 h 229615"/>
              <a:gd name="connsiteX38" fmla="*/ 909817 w 924217"/>
              <a:gd name="connsiteY38" fmla="*/ 86924 h 229615"/>
              <a:gd name="connsiteX39" fmla="*/ 909817 w 924217"/>
              <a:gd name="connsiteY39" fmla="*/ 137193 h 229615"/>
              <a:gd name="connsiteX40" fmla="*/ 779170 w 924217"/>
              <a:gd name="connsiteY40" fmla="*/ 137193 h 229615"/>
              <a:gd name="connsiteX41" fmla="*/ 779170 w 924217"/>
              <a:gd name="connsiteY41" fmla="*/ 177251 h 229615"/>
              <a:gd name="connsiteX42" fmla="*/ 924217 w 924217"/>
              <a:gd name="connsiteY42" fmla="*/ 177251 h 229615"/>
              <a:gd name="connsiteX43" fmla="*/ 924217 w 924217"/>
              <a:gd name="connsiteY43" fmla="*/ 229615 h 229615"/>
              <a:gd name="connsiteX44" fmla="*/ 723141 w 924217"/>
              <a:gd name="connsiteY44" fmla="*/ 229615 h 229615"/>
              <a:gd name="connsiteX45" fmla="*/ 722879 w 924217"/>
              <a:gd name="connsiteY45" fmla="*/ 0 h 229615"/>
              <a:gd name="connsiteX46" fmla="*/ 250298 w 924217"/>
              <a:gd name="connsiteY46" fmla="*/ 0 h 229615"/>
              <a:gd name="connsiteX47" fmla="*/ 369163 w 924217"/>
              <a:gd name="connsiteY47" fmla="*/ 0 h 229615"/>
              <a:gd name="connsiteX48" fmla="*/ 454254 w 924217"/>
              <a:gd name="connsiteY48" fmla="*/ 56815 h 229615"/>
              <a:gd name="connsiteX49" fmla="*/ 419956 w 924217"/>
              <a:gd name="connsiteY49" fmla="*/ 111011 h 229615"/>
              <a:gd name="connsiteX50" fmla="*/ 456611 w 924217"/>
              <a:gd name="connsiteY50" fmla="*/ 163113 h 229615"/>
              <a:gd name="connsiteX51" fmla="*/ 368902 w 924217"/>
              <a:gd name="connsiteY51" fmla="*/ 229091 h 229615"/>
              <a:gd name="connsiteX52" fmla="*/ 250298 w 924217"/>
              <a:gd name="connsiteY52" fmla="*/ 229091 h 229615"/>
              <a:gd name="connsiteX53" fmla="*/ 250298 w 924217"/>
              <a:gd name="connsiteY53" fmla="*/ 0 h 229615"/>
              <a:gd name="connsiteX54" fmla="*/ 213644 w 924217"/>
              <a:gd name="connsiteY54" fmla="*/ 0 h 229615"/>
              <a:gd name="connsiteX55" fmla="*/ 215476 w 924217"/>
              <a:gd name="connsiteY55" fmla="*/ 0 h 229615"/>
              <a:gd name="connsiteX56" fmla="*/ 215215 w 924217"/>
              <a:gd name="connsiteY56" fmla="*/ 52102 h 229615"/>
              <a:gd name="connsiteX57" fmla="*/ 213382 w 924217"/>
              <a:gd name="connsiteY57" fmla="*/ 52102 h 229615"/>
              <a:gd name="connsiteX58" fmla="*/ 109702 w 924217"/>
              <a:gd name="connsiteY58" fmla="*/ 53149 h 229615"/>
              <a:gd name="connsiteX59" fmla="*/ 54720 w 924217"/>
              <a:gd name="connsiteY59" fmla="*/ 112582 h 229615"/>
              <a:gd name="connsiteX60" fmla="*/ 111535 w 924217"/>
              <a:gd name="connsiteY60" fmla="*/ 173062 h 229615"/>
              <a:gd name="connsiteX61" fmla="*/ 213905 w 924217"/>
              <a:gd name="connsiteY61" fmla="*/ 174109 h 229615"/>
              <a:gd name="connsiteX62" fmla="*/ 216000 w 924217"/>
              <a:gd name="connsiteY62" fmla="*/ 174109 h 229615"/>
              <a:gd name="connsiteX63" fmla="*/ 215738 w 924217"/>
              <a:gd name="connsiteY63" fmla="*/ 229353 h 229615"/>
              <a:gd name="connsiteX64" fmla="*/ 213905 w 924217"/>
              <a:gd name="connsiteY64" fmla="*/ 229353 h 229615"/>
              <a:gd name="connsiteX65" fmla="*/ 145309 w 924217"/>
              <a:gd name="connsiteY65" fmla="*/ 229353 h 229615"/>
              <a:gd name="connsiteX66" fmla="*/ 126720 w 924217"/>
              <a:gd name="connsiteY66" fmla="*/ 229091 h 229615"/>
              <a:gd name="connsiteX67" fmla="*/ 64407 w 924217"/>
              <a:gd name="connsiteY67" fmla="*/ 216524 h 229615"/>
              <a:gd name="connsiteX68" fmla="*/ 1833 w 924217"/>
              <a:gd name="connsiteY68" fmla="*/ 137455 h 229615"/>
              <a:gd name="connsiteX69" fmla="*/ 0 w 924217"/>
              <a:gd name="connsiteY69" fmla="*/ 114415 h 229615"/>
              <a:gd name="connsiteX70" fmla="*/ 22516 w 924217"/>
              <a:gd name="connsiteY70" fmla="*/ 46080 h 229615"/>
              <a:gd name="connsiteX71" fmla="*/ 67811 w 924217"/>
              <a:gd name="connsiteY71" fmla="*/ 9687 h 229615"/>
              <a:gd name="connsiteX72" fmla="*/ 115462 w 924217"/>
              <a:gd name="connsiteY72" fmla="*/ 262 h 22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24217" h="229615">
                <a:moveTo>
                  <a:pt x="306851" y="137455"/>
                </a:moveTo>
                <a:lnTo>
                  <a:pt x="306851" y="175680"/>
                </a:lnTo>
                <a:lnTo>
                  <a:pt x="383040" y="175680"/>
                </a:lnTo>
                <a:cubicBezTo>
                  <a:pt x="393251" y="175680"/>
                  <a:pt x="402153" y="166778"/>
                  <a:pt x="402153" y="156305"/>
                </a:cubicBezTo>
                <a:cubicBezTo>
                  <a:pt x="402153" y="146618"/>
                  <a:pt x="394822" y="138502"/>
                  <a:pt x="385134" y="137455"/>
                </a:cubicBezTo>
                <a:lnTo>
                  <a:pt x="384873" y="137455"/>
                </a:lnTo>
                <a:lnTo>
                  <a:pt x="384611" y="137455"/>
                </a:lnTo>
                <a:close/>
                <a:moveTo>
                  <a:pt x="539868" y="50530"/>
                </a:moveTo>
                <a:lnTo>
                  <a:pt x="539868" y="87185"/>
                </a:lnTo>
                <a:lnTo>
                  <a:pt x="618414" y="87185"/>
                </a:lnTo>
                <a:cubicBezTo>
                  <a:pt x="627839" y="87185"/>
                  <a:pt x="635432" y="79068"/>
                  <a:pt x="636479" y="71476"/>
                </a:cubicBezTo>
                <a:lnTo>
                  <a:pt x="636218" y="71476"/>
                </a:lnTo>
                <a:lnTo>
                  <a:pt x="636218" y="66501"/>
                </a:lnTo>
                <a:cubicBezTo>
                  <a:pt x="635170" y="57337"/>
                  <a:pt x="627839" y="50530"/>
                  <a:pt x="618414" y="50530"/>
                </a:cubicBezTo>
                <a:close/>
                <a:moveTo>
                  <a:pt x="306589" y="49745"/>
                </a:moveTo>
                <a:lnTo>
                  <a:pt x="306851" y="87447"/>
                </a:lnTo>
                <a:lnTo>
                  <a:pt x="386443" y="87185"/>
                </a:lnTo>
                <a:cubicBezTo>
                  <a:pt x="395607" y="85876"/>
                  <a:pt x="402676" y="77236"/>
                  <a:pt x="402676" y="68073"/>
                </a:cubicBezTo>
                <a:cubicBezTo>
                  <a:pt x="402676" y="58909"/>
                  <a:pt x="396131" y="51316"/>
                  <a:pt x="386967" y="49745"/>
                </a:cubicBezTo>
                <a:lnTo>
                  <a:pt x="386705" y="49745"/>
                </a:lnTo>
                <a:lnTo>
                  <a:pt x="386443" y="49745"/>
                </a:lnTo>
                <a:close/>
                <a:moveTo>
                  <a:pt x="484363" y="261"/>
                </a:moveTo>
                <a:lnTo>
                  <a:pt x="606108" y="261"/>
                </a:lnTo>
                <a:cubicBezTo>
                  <a:pt x="645643" y="261"/>
                  <a:pt x="688319" y="10734"/>
                  <a:pt x="688581" y="60479"/>
                </a:cubicBezTo>
                <a:cubicBezTo>
                  <a:pt x="688581" y="100799"/>
                  <a:pt x="654807" y="111010"/>
                  <a:pt x="654807" y="111010"/>
                </a:cubicBezTo>
                <a:cubicBezTo>
                  <a:pt x="654807" y="111010"/>
                  <a:pt x="687796" y="121221"/>
                  <a:pt x="687796" y="155519"/>
                </a:cubicBezTo>
                <a:lnTo>
                  <a:pt x="687796" y="229614"/>
                </a:lnTo>
                <a:lnTo>
                  <a:pt x="633076" y="229614"/>
                </a:lnTo>
                <a:lnTo>
                  <a:pt x="633076" y="169396"/>
                </a:lnTo>
                <a:cubicBezTo>
                  <a:pt x="633076" y="151592"/>
                  <a:pt x="619199" y="137192"/>
                  <a:pt x="601658" y="136930"/>
                </a:cubicBezTo>
                <a:cubicBezTo>
                  <a:pt x="601658" y="136930"/>
                  <a:pt x="540130" y="136930"/>
                  <a:pt x="540130" y="136930"/>
                </a:cubicBezTo>
                <a:cubicBezTo>
                  <a:pt x="540130" y="136930"/>
                  <a:pt x="540130" y="223068"/>
                  <a:pt x="540130" y="229614"/>
                </a:cubicBezTo>
                <a:cubicBezTo>
                  <a:pt x="534370" y="229614"/>
                  <a:pt x="484363" y="229614"/>
                  <a:pt x="484363" y="229614"/>
                </a:cubicBezTo>
                <a:close/>
                <a:moveTo>
                  <a:pt x="722879" y="0"/>
                </a:moveTo>
                <a:lnTo>
                  <a:pt x="923955" y="0"/>
                </a:lnTo>
                <a:lnTo>
                  <a:pt x="923955" y="50007"/>
                </a:lnTo>
                <a:lnTo>
                  <a:pt x="778908" y="50007"/>
                </a:lnTo>
                <a:lnTo>
                  <a:pt x="779170" y="86924"/>
                </a:lnTo>
                <a:lnTo>
                  <a:pt x="909817" y="86924"/>
                </a:lnTo>
                <a:lnTo>
                  <a:pt x="909817" y="137193"/>
                </a:lnTo>
                <a:lnTo>
                  <a:pt x="779170" y="137193"/>
                </a:lnTo>
                <a:lnTo>
                  <a:pt x="779170" y="177251"/>
                </a:lnTo>
                <a:lnTo>
                  <a:pt x="924217" y="177251"/>
                </a:lnTo>
                <a:lnTo>
                  <a:pt x="924217" y="229615"/>
                </a:lnTo>
                <a:cubicBezTo>
                  <a:pt x="924217" y="229615"/>
                  <a:pt x="729948" y="229615"/>
                  <a:pt x="723141" y="229615"/>
                </a:cubicBezTo>
                <a:cubicBezTo>
                  <a:pt x="722879" y="223069"/>
                  <a:pt x="722879" y="0"/>
                  <a:pt x="722879" y="0"/>
                </a:cubicBezTo>
                <a:close/>
                <a:moveTo>
                  <a:pt x="250298" y="0"/>
                </a:moveTo>
                <a:lnTo>
                  <a:pt x="369163" y="0"/>
                </a:lnTo>
                <a:cubicBezTo>
                  <a:pt x="432785" y="0"/>
                  <a:pt x="454516" y="26444"/>
                  <a:pt x="454254" y="56815"/>
                </a:cubicBezTo>
                <a:cubicBezTo>
                  <a:pt x="454516" y="76713"/>
                  <a:pt x="449280" y="101324"/>
                  <a:pt x="419956" y="111011"/>
                </a:cubicBezTo>
                <a:cubicBezTo>
                  <a:pt x="419956" y="111011"/>
                  <a:pt x="456611" y="123316"/>
                  <a:pt x="456611" y="163113"/>
                </a:cubicBezTo>
                <a:cubicBezTo>
                  <a:pt x="456611" y="196102"/>
                  <a:pt x="433047" y="229091"/>
                  <a:pt x="368902" y="229091"/>
                </a:cubicBezTo>
                <a:cubicBezTo>
                  <a:pt x="368902" y="229091"/>
                  <a:pt x="256843" y="229091"/>
                  <a:pt x="250298" y="229091"/>
                </a:cubicBezTo>
                <a:cubicBezTo>
                  <a:pt x="250298" y="222545"/>
                  <a:pt x="250298" y="0"/>
                  <a:pt x="250298" y="0"/>
                </a:cubicBezTo>
                <a:close/>
                <a:moveTo>
                  <a:pt x="213644" y="0"/>
                </a:moveTo>
                <a:lnTo>
                  <a:pt x="215476" y="0"/>
                </a:lnTo>
                <a:lnTo>
                  <a:pt x="215215" y="52102"/>
                </a:lnTo>
                <a:lnTo>
                  <a:pt x="213382" y="52102"/>
                </a:lnTo>
                <a:cubicBezTo>
                  <a:pt x="212596" y="52102"/>
                  <a:pt x="125673" y="51055"/>
                  <a:pt x="109702" y="53149"/>
                </a:cubicBezTo>
                <a:cubicBezTo>
                  <a:pt x="76189" y="57600"/>
                  <a:pt x="54720" y="80902"/>
                  <a:pt x="54720" y="112582"/>
                </a:cubicBezTo>
                <a:cubicBezTo>
                  <a:pt x="54720" y="137978"/>
                  <a:pt x="69644" y="168873"/>
                  <a:pt x="111535" y="173062"/>
                </a:cubicBezTo>
                <a:cubicBezTo>
                  <a:pt x="137716" y="175680"/>
                  <a:pt x="213120" y="174109"/>
                  <a:pt x="213905" y="174109"/>
                </a:cubicBezTo>
                <a:lnTo>
                  <a:pt x="216000" y="174109"/>
                </a:lnTo>
                <a:lnTo>
                  <a:pt x="215738" y="229353"/>
                </a:lnTo>
                <a:lnTo>
                  <a:pt x="213905" y="229353"/>
                </a:lnTo>
                <a:cubicBezTo>
                  <a:pt x="213905" y="229353"/>
                  <a:pt x="145309" y="229353"/>
                  <a:pt x="145309" y="229353"/>
                </a:cubicBezTo>
                <a:cubicBezTo>
                  <a:pt x="145309" y="229353"/>
                  <a:pt x="126720" y="229091"/>
                  <a:pt x="126720" y="229091"/>
                </a:cubicBezTo>
                <a:cubicBezTo>
                  <a:pt x="92422" y="227258"/>
                  <a:pt x="75404" y="221498"/>
                  <a:pt x="64407" y="216524"/>
                </a:cubicBezTo>
                <a:cubicBezTo>
                  <a:pt x="31680" y="201076"/>
                  <a:pt x="8902" y="172276"/>
                  <a:pt x="1833" y="137455"/>
                </a:cubicBezTo>
                <a:cubicBezTo>
                  <a:pt x="524" y="129862"/>
                  <a:pt x="0" y="122269"/>
                  <a:pt x="0" y="114415"/>
                </a:cubicBezTo>
                <a:cubicBezTo>
                  <a:pt x="0" y="89542"/>
                  <a:pt x="7855" y="65978"/>
                  <a:pt x="22516" y="46080"/>
                </a:cubicBezTo>
                <a:cubicBezTo>
                  <a:pt x="34298" y="30371"/>
                  <a:pt x="49745" y="17804"/>
                  <a:pt x="67811" y="9687"/>
                </a:cubicBezTo>
                <a:cubicBezTo>
                  <a:pt x="86400" y="2095"/>
                  <a:pt x="104465" y="1047"/>
                  <a:pt x="115462" y="262"/>
                </a:cubicBezTo>
                <a:close/>
              </a:path>
            </a:pathLst>
          </a:custGeom>
          <a:solidFill>
            <a:schemeClr val="bg1"/>
          </a:solidFill>
          <a:ln w="2617" cap="flat">
            <a:noFill/>
            <a:prstDash val="solid"/>
            <a:miter/>
          </a:ln>
        </p:spPr>
        <p:txBody>
          <a:bodyPr wrap="square" rtlCol="0" anchor="ctr">
            <a:noAutofit/>
          </a:bodyPr>
          <a:lstStyle/>
          <a:p>
            <a:endParaRPr lang="en-GB" dirty="0"/>
          </a:p>
        </p:txBody>
      </p:sp>
    </p:spTree>
    <p:extLst>
      <p:ext uri="{BB962C8B-B14F-4D97-AF65-F5344CB8AC3E}">
        <p14:creationId xmlns:p14="http://schemas.microsoft.com/office/powerpoint/2010/main" val="1959753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250" fill="hold"/>
                                        <p:tgtEl>
                                          <p:spTgt spid="7"/>
                                        </p:tgtEl>
                                        <p:attrNameLst>
                                          <p:attrName>ppt_x</p:attrName>
                                        </p:attrNameLst>
                                      </p:cBhvr>
                                      <p:tavLst>
                                        <p:tav tm="0">
                                          <p:val>
                                            <p:strVal val="0-#ppt_w/2"/>
                                          </p:val>
                                        </p:tav>
                                        <p:tav tm="100000">
                                          <p:val>
                                            <p:strVal val="#ppt_x"/>
                                          </p:val>
                                        </p:tav>
                                      </p:tavLst>
                                    </p:anim>
                                    <p:anim calcmode="lin" valueType="num">
                                      <p:cBhvr additive="base">
                                        <p:cTn id="8" dur="22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 Column Full Content Area">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452439"/>
            <a:ext cx="8092440" cy="59529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7104602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1601787"/>
            <a:ext cx="3484690" cy="480518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Content Placeholder 2">
            <a:extLst>
              <a:ext uri="{FF2B5EF4-FFF2-40B4-BE49-F238E27FC236}">
                <a16:creationId xmlns:a16="http://schemas.microsoft.com/office/drawing/2014/main" id="{062DCBD7-5BF0-4732-A229-4209A8A6C7F1}"/>
              </a:ext>
            </a:extLst>
          </p:cNvPr>
          <p:cNvSpPr>
            <a:spLocks noGrp="1"/>
          </p:cNvSpPr>
          <p:nvPr>
            <p:ph sz="quarter" idx="13"/>
          </p:nvPr>
        </p:nvSpPr>
        <p:spPr>
          <a:xfrm>
            <a:off x="7683500" y="1601787"/>
            <a:ext cx="3482975" cy="48021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6071404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Column + Subheadings">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1601788"/>
            <a:ext cx="3997452" cy="48012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3584447" y="914400"/>
            <a:ext cx="3986633"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9" name="Content Placeholder 2">
            <a:extLst>
              <a:ext uri="{FF2B5EF4-FFF2-40B4-BE49-F238E27FC236}">
                <a16:creationId xmlns:a16="http://schemas.microsoft.com/office/drawing/2014/main" id="{42EA3364-699E-4FFA-BD42-6EF5EA1F1F61}"/>
              </a:ext>
            </a:extLst>
          </p:cNvPr>
          <p:cNvSpPr>
            <a:spLocks noGrp="1"/>
          </p:cNvSpPr>
          <p:nvPr>
            <p:ph sz="quarter" idx="14"/>
          </p:nvPr>
        </p:nvSpPr>
        <p:spPr>
          <a:xfrm>
            <a:off x="7683500" y="1601787"/>
            <a:ext cx="3995738" cy="48021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Subheading Placeholder 2">
            <a:extLst>
              <a:ext uri="{FF2B5EF4-FFF2-40B4-BE49-F238E27FC236}">
                <a16:creationId xmlns:a16="http://schemas.microsoft.com/office/drawing/2014/main" id="{6FE6ECDB-AF0B-4645-9EF8-7E58A711A6A0}"/>
              </a:ext>
            </a:extLst>
          </p:cNvPr>
          <p:cNvSpPr>
            <a:spLocks noGrp="1"/>
          </p:cNvSpPr>
          <p:nvPr>
            <p:ph type="body" sz="quarter" idx="15" hasCustomPrompt="1"/>
          </p:nvPr>
        </p:nvSpPr>
        <p:spPr>
          <a:xfrm>
            <a:off x="7683499" y="914400"/>
            <a:ext cx="3986784"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Tree>
    <p:extLst>
      <p:ext uri="{BB962C8B-B14F-4D97-AF65-F5344CB8AC3E}">
        <p14:creationId xmlns:p14="http://schemas.microsoft.com/office/powerpoint/2010/main" val="29201130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 + Subheadings + Statement">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1601787"/>
            <a:ext cx="3997452" cy="48021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3584447" y="914400"/>
            <a:ext cx="3986633"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9" name="Content Placeholder 2">
            <a:extLst>
              <a:ext uri="{FF2B5EF4-FFF2-40B4-BE49-F238E27FC236}">
                <a16:creationId xmlns:a16="http://schemas.microsoft.com/office/drawing/2014/main" id="{42EA3364-699E-4FFA-BD42-6EF5EA1F1F61}"/>
              </a:ext>
            </a:extLst>
          </p:cNvPr>
          <p:cNvSpPr>
            <a:spLocks noGrp="1"/>
          </p:cNvSpPr>
          <p:nvPr>
            <p:ph sz="quarter" idx="14"/>
          </p:nvPr>
        </p:nvSpPr>
        <p:spPr>
          <a:xfrm>
            <a:off x="7683500" y="1601787"/>
            <a:ext cx="1938528" cy="4802187"/>
          </a:xfrm>
        </p:spPr>
        <p:txBody>
          <a:bodyPr/>
          <a:lstStyle>
            <a:lvl1pPr>
              <a:defRPr lang="en-US" sz="1600" b="0" dirty="0">
                <a:solidFill>
                  <a:schemeClr val="tx1"/>
                </a:solidFill>
                <a:latin typeface="Calibre Semibold" panose="020B0703030202060203" pitchFamily="34" charset="0"/>
                <a:ea typeface="+mn-ea"/>
                <a:cs typeface="+mn-cs"/>
              </a:defRPr>
            </a:lvl1pPr>
            <a:lvl2pPr>
              <a:defRPr lang="en-US" sz="1200" dirty="0">
                <a:solidFill>
                  <a:schemeClr val="tx1"/>
                </a:solidFill>
                <a:latin typeface="+mn-lt"/>
                <a:ea typeface="+mn-ea"/>
                <a:cs typeface="+mn-cs"/>
              </a:defRPr>
            </a:lvl2pPr>
            <a:lvl3pPr marL="171450" indent="-171450">
              <a:buFont typeface="Calibre" panose="020B0503030202060203" pitchFamily="34" charset="0"/>
              <a:buChar char="–"/>
              <a:defRPr lang="en-US" sz="1200" dirty="0">
                <a:solidFill>
                  <a:schemeClr val="tx1"/>
                </a:solidFill>
                <a:latin typeface="+mn-lt"/>
                <a:ea typeface="+mn-ea"/>
                <a:cs typeface="+mn-cs"/>
              </a:defRPr>
            </a:lvl3pPr>
            <a:lvl4pPr marL="356616">
              <a:defRPr lang="en-US" sz="1200" b="0" dirty="0">
                <a:solidFill>
                  <a:schemeClr val="tx1"/>
                </a:solidFill>
                <a:latin typeface="+mn-lt"/>
                <a:ea typeface="+mn-ea"/>
                <a:cs typeface="+mn-cs"/>
              </a:defRPr>
            </a:lvl4pPr>
            <a:lvl5pPr marL="0" indent="0">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defRPr lang="en-US" sz="1050" b="0" dirty="0" smtClean="0">
                <a:solidFill>
                  <a:schemeClr val="tx1"/>
                </a:solidFill>
                <a:latin typeface="+mn-lt"/>
                <a:ea typeface="+mn-ea"/>
                <a:cs typeface="+mn-cs"/>
              </a:defRPr>
            </a:lvl7pPr>
            <a:lvl8pPr marL="171450" indent="-171450">
              <a:buFont typeface="Calibre" panose="020B0503030202060203" pitchFamily="34" charset="0"/>
              <a:buChar char="–"/>
              <a:defRPr lang="en-US" sz="1050" dirty="0" smtClean="0">
                <a:solidFill>
                  <a:schemeClr val="tx1"/>
                </a:solidFill>
                <a:latin typeface="+mn-lt"/>
                <a:ea typeface="+mn-ea"/>
                <a:cs typeface="+mn-cs"/>
              </a:defRPr>
            </a:lvl8pPr>
          </a:lstStyle>
          <a:p>
            <a:pPr lvl="0"/>
            <a:r>
              <a:rPr lang="en-GB"/>
              <a:t>Click to edit Master text styles</a:t>
            </a:r>
          </a:p>
          <a:p>
            <a:pPr lvl="1"/>
            <a:r>
              <a:rPr lang="en-GB"/>
              <a:t>Second level</a:t>
            </a:r>
          </a:p>
          <a:p>
            <a:pPr lvl="2"/>
            <a:r>
              <a:rPr lang="en-GB"/>
              <a:t>Third level</a:t>
            </a:r>
          </a:p>
          <a:p>
            <a:pPr lvl="3"/>
            <a:r>
              <a:rPr lang="en-GB"/>
              <a:t>Fourth level</a:t>
            </a:r>
          </a:p>
        </p:txBody>
      </p:sp>
      <p:sp>
        <p:nvSpPr>
          <p:cNvPr id="11" name="Subheading Placeholder 2">
            <a:extLst>
              <a:ext uri="{FF2B5EF4-FFF2-40B4-BE49-F238E27FC236}">
                <a16:creationId xmlns:a16="http://schemas.microsoft.com/office/drawing/2014/main" id="{6FE6ECDB-AF0B-4645-9EF8-7E58A711A6A0}"/>
              </a:ext>
            </a:extLst>
          </p:cNvPr>
          <p:cNvSpPr>
            <a:spLocks noGrp="1"/>
          </p:cNvSpPr>
          <p:nvPr>
            <p:ph type="body" sz="quarter" idx="15" hasCustomPrompt="1"/>
          </p:nvPr>
        </p:nvSpPr>
        <p:spPr>
          <a:xfrm>
            <a:off x="7683499" y="914400"/>
            <a:ext cx="3986784"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10" name="Content Placeholder 3">
            <a:extLst>
              <a:ext uri="{FF2B5EF4-FFF2-40B4-BE49-F238E27FC236}">
                <a16:creationId xmlns:a16="http://schemas.microsoft.com/office/drawing/2014/main" id="{BB682FBA-E10C-49A4-BDD6-259592864FE4}"/>
              </a:ext>
            </a:extLst>
          </p:cNvPr>
          <p:cNvSpPr>
            <a:spLocks noGrp="1"/>
          </p:cNvSpPr>
          <p:nvPr>
            <p:ph sz="quarter" idx="16"/>
          </p:nvPr>
        </p:nvSpPr>
        <p:spPr>
          <a:xfrm>
            <a:off x="9731755" y="1601787"/>
            <a:ext cx="1938528" cy="4802187"/>
          </a:xfrm>
        </p:spPr>
        <p:txBody>
          <a:bodyPr/>
          <a:lstStyle>
            <a:lvl1pPr>
              <a:defRPr lang="en-US" sz="1600" b="0" dirty="0">
                <a:solidFill>
                  <a:schemeClr val="tx1"/>
                </a:solidFill>
                <a:latin typeface="Calibre Semibold" panose="020B0703030202060203" pitchFamily="34" charset="0"/>
                <a:ea typeface="+mn-ea"/>
                <a:cs typeface="+mn-cs"/>
              </a:defRPr>
            </a:lvl1pPr>
            <a:lvl2pPr>
              <a:defRPr lang="en-US" sz="1200" dirty="0">
                <a:solidFill>
                  <a:schemeClr val="tx1"/>
                </a:solidFill>
                <a:latin typeface="+mn-lt"/>
                <a:ea typeface="+mn-ea"/>
                <a:cs typeface="+mn-cs"/>
              </a:defRPr>
            </a:lvl2pPr>
            <a:lvl3pPr marL="171450" indent="-171450">
              <a:buFont typeface="Calibre" panose="020B0503030202060203" pitchFamily="34" charset="0"/>
              <a:buChar char="–"/>
              <a:defRPr lang="en-US" sz="1200" dirty="0">
                <a:solidFill>
                  <a:schemeClr val="tx1"/>
                </a:solidFill>
                <a:latin typeface="+mn-lt"/>
                <a:ea typeface="+mn-ea"/>
                <a:cs typeface="+mn-cs"/>
              </a:defRPr>
            </a:lvl3pPr>
            <a:lvl4pPr marL="356616">
              <a:defRPr lang="en-US" sz="1200" b="0" dirty="0">
                <a:solidFill>
                  <a:schemeClr val="tx1"/>
                </a:solidFill>
                <a:latin typeface="+mn-lt"/>
                <a:ea typeface="+mn-ea"/>
                <a:cs typeface="+mn-cs"/>
              </a:defRPr>
            </a:lvl4pPr>
            <a:lvl5pPr marL="0" indent="0">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defRPr lang="en-US" sz="1050" b="0" dirty="0" smtClean="0">
                <a:solidFill>
                  <a:schemeClr val="tx1"/>
                </a:solidFill>
                <a:latin typeface="+mn-lt"/>
                <a:ea typeface="+mn-ea"/>
                <a:cs typeface="+mn-cs"/>
              </a:defRPr>
            </a:lvl7pPr>
            <a:lvl8pPr marL="171450" indent="-171450">
              <a:buFont typeface="Calibre" panose="020B0503030202060203" pitchFamily="34" charset="0"/>
              <a:buChar char="–"/>
              <a:defRPr lang="en-US" sz="1050" dirty="0" smtClean="0">
                <a:solidFill>
                  <a:schemeClr val="tx1"/>
                </a:solidFill>
                <a:latin typeface="+mn-lt"/>
                <a:ea typeface="+mn-ea"/>
                <a:cs typeface="+mn-cs"/>
              </a:defRPr>
            </a:lvl8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42464035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Subheadings + 2 Content">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2851983"/>
            <a:ext cx="1938528" cy="35519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3584447" y="914400"/>
            <a:ext cx="3986633"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9" name="Content Placeholder 2">
            <a:extLst>
              <a:ext uri="{FF2B5EF4-FFF2-40B4-BE49-F238E27FC236}">
                <a16:creationId xmlns:a16="http://schemas.microsoft.com/office/drawing/2014/main" id="{42EA3364-699E-4FFA-BD42-6EF5EA1F1F61}"/>
              </a:ext>
            </a:extLst>
          </p:cNvPr>
          <p:cNvSpPr>
            <a:spLocks noGrp="1"/>
          </p:cNvSpPr>
          <p:nvPr>
            <p:ph sz="quarter" idx="14"/>
          </p:nvPr>
        </p:nvSpPr>
        <p:spPr>
          <a:xfrm>
            <a:off x="5641460" y="2851983"/>
            <a:ext cx="1938528" cy="35519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Subheading Placeholder 2">
            <a:extLst>
              <a:ext uri="{FF2B5EF4-FFF2-40B4-BE49-F238E27FC236}">
                <a16:creationId xmlns:a16="http://schemas.microsoft.com/office/drawing/2014/main" id="{6FE6ECDB-AF0B-4645-9EF8-7E58A711A6A0}"/>
              </a:ext>
            </a:extLst>
          </p:cNvPr>
          <p:cNvSpPr>
            <a:spLocks noGrp="1"/>
          </p:cNvSpPr>
          <p:nvPr>
            <p:ph type="body" sz="quarter" idx="15" hasCustomPrompt="1"/>
          </p:nvPr>
        </p:nvSpPr>
        <p:spPr>
          <a:xfrm>
            <a:off x="7683499" y="914400"/>
            <a:ext cx="3986784"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Tree>
    <p:extLst>
      <p:ext uri="{BB962C8B-B14F-4D97-AF65-F5344CB8AC3E}">
        <p14:creationId xmlns:p14="http://schemas.microsoft.com/office/powerpoint/2010/main" val="27715349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 + Subheadings">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1601788"/>
            <a:ext cx="2450592" cy="479964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3584447" y="914400"/>
            <a:ext cx="2450592"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9" name="Content Placeholder 2">
            <a:extLst>
              <a:ext uri="{FF2B5EF4-FFF2-40B4-BE49-F238E27FC236}">
                <a16:creationId xmlns:a16="http://schemas.microsoft.com/office/drawing/2014/main" id="{42EA3364-699E-4FFA-BD42-6EF5EA1F1F61}"/>
              </a:ext>
            </a:extLst>
          </p:cNvPr>
          <p:cNvSpPr>
            <a:spLocks noGrp="1"/>
          </p:cNvSpPr>
          <p:nvPr>
            <p:ph sz="quarter" idx="14"/>
          </p:nvPr>
        </p:nvSpPr>
        <p:spPr>
          <a:xfrm>
            <a:off x="6146736" y="1601787"/>
            <a:ext cx="2450592" cy="480059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Subheading Placeholder 2">
            <a:extLst>
              <a:ext uri="{FF2B5EF4-FFF2-40B4-BE49-F238E27FC236}">
                <a16:creationId xmlns:a16="http://schemas.microsoft.com/office/drawing/2014/main" id="{6FE6ECDB-AF0B-4645-9EF8-7E58A711A6A0}"/>
              </a:ext>
            </a:extLst>
          </p:cNvPr>
          <p:cNvSpPr>
            <a:spLocks noGrp="1"/>
          </p:cNvSpPr>
          <p:nvPr>
            <p:ph type="body" sz="quarter" idx="15" hasCustomPrompt="1"/>
          </p:nvPr>
        </p:nvSpPr>
        <p:spPr>
          <a:xfrm>
            <a:off x="6145942" y="914400"/>
            <a:ext cx="2450592"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10" name="Content Placeholder 3">
            <a:extLst>
              <a:ext uri="{FF2B5EF4-FFF2-40B4-BE49-F238E27FC236}">
                <a16:creationId xmlns:a16="http://schemas.microsoft.com/office/drawing/2014/main" id="{96F8CE7E-C8FD-42CD-9FE2-33854B67611D}"/>
              </a:ext>
            </a:extLst>
          </p:cNvPr>
          <p:cNvSpPr>
            <a:spLocks noGrp="1"/>
          </p:cNvSpPr>
          <p:nvPr>
            <p:ph sz="quarter" idx="16"/>
          </p:nvPr>
        </p:nvSpPr>
        <p:spPr>
          <a:xfrm>
            <a:off x="8709024" y="1601787"/>
            <a:ext cx="2450592" cy="48021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ubheading Placeholder 3">
            <a:extLst>
              <a:ext uri="{FF2B5EF4-FFF2-40B4-BE49-F238E27FC236}">
                <a16:creationId xmlns:a16="http://schemas.microsoft.com/office/drawing/2014/main" id="{8D649D2F-7D7D-4802-A705-A08201E6D24D}"/>
              </a:ext>
            </a:extLst>
          </p:cNvPr>
          <p:cNvSpPr>
            <a:spLocks noGrp="1"/>
          </p:cNvSpPr>
          <p:nvPr>
            <p:ph type="body" sz="quarter" idx="17" hasCustomPrompt="1"/>
          </p:nvPr>
        </p:nvSpPr>
        <p:spPr>
          <a:xfrm>
            <a:off x="8707438" y="914400"/>
            <a:ext cx="2450592"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Tree>
    <p:extLst>
      <p:ext uri="{BB962C8B-B14F-4D97-AF65-F5344CB8AC3E}">
        <p14:creationId xmlns:p14="http://schemas.microsoft.com/office/powerpoint/2010/main" val="38064319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Column + Footnotes">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476250"/>
            <a:ext cx="2450592" cy="415137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spcBef>
                <a:spcPts val="600"/>
              </a:spcBef>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Subtext Placeholder 1">
            <a:extLst>
              <a:ext uri="{FF2B5EF4-FFF2-40B4-BE49-F238E27FC236}">
                <a16:creationId xmlns:a16="http://schemas.microsoft.com/office/drawing/2014/main" id="{6C390E93-FB47-4508-8D69-B4A57B26C511}"/>
              </a:ext>
            </a:extLst>
          </p:cNvPr>
          <p:cNvSpPr>
            <a:spLocks noGrp="1"/>
          </p:cNvSpPr>
          <p:nvPr>
            <p:ph type="body" sz="quarter" idx="15"/>
          </p:nvPr>
        </p:nvSpPr>
        <p:spPr>
          <a:xfrm>
            <a:off x="3584448" y="4727573"/>
            <a:ext cx="2450592" cy="1676401"/>
          </a:xfrm>
          <a:solidFill>
            <a:schemeClr val="accent3">
              <a:alpha val="30000"/>
            </a:schemeClr>
          </a:solidFill>
        </p:spPr>
        <p:txBody>
          <a:bodyPr lIns="73152" bIns="73152"/>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8" name="Content Placeholder 2">
            <a:extLst>
              <a:ext uri="{FF2B5EF4-FFF2-40B4-BE49-F238E27FC236}">
                <a16:creationId xmlns:a16="http://schemas.microsoft.com/office/drawing/2014/main" id="{062DCBD7-5BF0-4732-A229-4209A8A6C7F1}"/>
              </a:ext>
            </a:extLst>
          </p:cNvPr>
          <p:cNvSpPr>
            <a:spLocks noGrp="1"/>
          </p:cNvSpPr>
          <p:nvPr>
            <p:ph sz="quarter" idx="13"/>
          </p:nvPr>
        </p:nvSpPr>
        <p:spPr>
          <a:xfrm>
            <a:off x="6145943" y="476250"/>
            <a:ext cx="2450592" cy="415137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spcBef>
                <a:spcPts val="600"/>
              </a:spcBef>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ubtext Placeholder 2">
            <a:extLst>
              <a:ext uri="{FF2B5EF4-FFF2-40B4-BE49-F238E27FC236}">
                <a16:creationId xmlns:a16="http://schemas.microsoft.com/office/drawing/2014/main" id="{9CB3A31D-1A3D-45AF-840F-64EED0DF25A0}"/>
              </a:ext>
            </a:extLst>
          </p:cNvPr>
          <p:cNvSpPr>
            <a:spLocks noGrp="1"/>
          </p:cNvSpPr>
          <p:nvPr>
            <p:ph type="body" sz="quarter" idx="16"/>
          </p:nvPr>
        </p:nvSpPr>
        <p:spPr>
          <a:xfrm>
            <a:off x="6145943" y="4727573"/>
            <a:ext cx="2450592" cy="1676401"/>
          </a:xfrm>
          <a:solidFill>
            <a:schemeClr val="accent3">
              <a:alpha val="30000"/>
            </a:schemeClr>
          </a:solidFill>
        </p:spPr>
        <p:txBody>
          <a:bodyPr lIns="73152" bIns="73152"/>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9" name="Content Placeholder 3">
            <a:extLst>
              <a:ext uri="{FF2B5EF4-FFF2-40B4-BE49-F238E27FC236}">
                <a16:creationId xmlns:a16="http://schemas.microsoft.com/office/drawing/2014/main" id="{88CABEE8-2F23-4BF8-BA5A-3753F2156D11}"/>
              </a:ext>
            </a:extLst>
          </p:cNvPr>
          <p:cNvSpPr>
            <a:spLocks noGrp="1"/>
          </p:cNvSpPr>
          <p:nvPr>
            <p:ph sz="quarter" idx="14"/>
          </p:nvPr>
        </p:nvSpPr>
        <p:spPr>
          <a:xfrm>
            <a:off x="8707438" y="476250"/>
            <a:ext cx="2450592" cy="415137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spcBef>
                <a:spcPts val="600"/>
              </a:spcBef>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Subtext Placeholder 3">
            <a:extLst>
              <a:ext uri="{FF2B5EF4-FFF2-40B4-BE49-F238E27FC236}">
                <a16:creationId xmlns:a16="http://schemas.microsoft.com/office/drawing/2014/main" id="{4CF881C7-C1D5-4173-84A6-6FBF2971565A}"/>
              </a:ext>
            </a:extLst>
          </p:cNvPr>
          <p:cNvSpPr>
            <a:spLocks noGrp="1"/>
          </p:cNvSpPr>
          <p:nvPr>
            <p:ph type="body" sz="quarter" idx="17"/>
          </p:nvPr>
        </p:nvSpPr>
        <p:spPr>
          <a:xfrm>
            <a:off x="8707438" y="4724399"/>
            <a:ext cx="2450592" cy="1676401"/>
          </a:xfrm>
          <a:solidFill>
            <a:schemeClr val="accent3">
              <a:alpha val="30000"/>
            </a:schemeClr>
          </a:solidFill>
        </p:spPr>
        <p:txBody>
          <a:bodyPr lIns="73152" bIns="73152"/>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6246564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Image Column">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7" y="3492063"/>
            <a:ext cx="2450592" cy="2911912"/>
          </a:xfrm>
        </p:spPr>
        <p:txBody>
          <a:bodyPr/>
          <a:lstStyle>
            <a:lvl1pPr>
              <a:spcAft>
                <a:spcPts val="0"/>
              </a:spcAft>
              <a:defRPr>
                <a:latin typeface="Calibre Semibold" panose="020B0703030202060203" pitchFamily="34" charset="0"/>
              </a:defRPr>
            </a:lvl1pPr>
            <a:lvl2pPr>
              <a:defRPr sz="2200">
                <a:latin typeface="Calibre Light" panose="020B03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3584447" y="914400"/>
            <a:ext cx="2450592"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12" name="Picture Placeholder 1">
            <a:extLst>
              <a:ext uri="{FF2B5EF4-FFF2-40B4-BE49-F238E27FC236}">
                <a16:creationId xmlns:a16="http://schemas.microsoft.com/office/drawing/2014/main" id="{8E24196C-EDCF-4421-93F5-2F0FC09A0AC8}"/>
              </a:ext>
            </a:extLst>
          </p:cNvPr>
          <p:cNvSpPr>
            <a:spLocks noGrp="1"/>
          </p:cNvSpPr>
          <p:nvPr>
            <p:ph type="pic" sz="quarter" idx="18"/>
          </p:nvPr>
        </p:nvSpPr>
        <p:spPr>
          <a:xfrm>
            <a:off x="3584447" y="1601788"/>
            <a:ext cx="2450592" cy="1563624"/>
          </a:xfrm>
        </p:spPr>
        <p:txBody>
          <a:bodyPr/>
          <a:lstStyle/>
          <a:p>
            <a:r>
              <a:rPr lang="en-GB" dirty="0"/>
              <a:t>Click icon to add picture</a:t>
            </a:r>
            <a:endParaRPr lang="en-US" dirty="0"/>
          </a:p>
        </p:txBody>
      </p:sp>
      <p:sp>
        <p:nvSpPr>
          <p:cNvPr id="9" name="Content Placeholder 2">
            <a:extLst>
              <a:ext uri="{FF2B5EF4-FFF2-40B4-BE49-F238E27FC236}">
                <a16:creationId xmlns:a16="http://schemas.microsoft.com/office/drawing/2014/main" id="{42EA3364-699E-4FFA-BD42-6EF5EA1F1F61}"/>
              </a:ext>
            </a:extLst>
          </p:cNvPr>
          <p:cNvSpPr>
            <a:spLocks noGrp="1"/>
          </p:cNvSpPr>
          <p:nvPr>
            <p:ph sz="quarter" idx="14"/>
          </p:nvPr>
        </p:nvSpPr>
        <p:spPr>
          <a:xfrm>
            <a:off x="6146736" y="3492063"/>
            <a:ext cx="2450592" cy="2911912"/>
          </a:xfrm>
        </p:spPr>
        <p:txBody>
          <a:bodyPr/>
          <a:lstStyle>
            <a:lvl1pPr>
              <a:spcAft>
                <a:spcPts val="0"/>
              </a:spcAft>
              <a:defRPr>
                <a:latin typeface="Calibre Semibold" panose="020B0703030202060203" pitchFamily="34" charset="0"/>
              </a:defRPr>
            </a:lvl1pPr>
            <a:lvl2pPr>
              <a:defRPr sz="2200">
                <a:latin typeface="Calibre Light" panose="020B03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Subheading Placeholder 2">
            <a:extLst>
              <a:ext uri="{FF2B5EF4-FFF2-40B4-BE49-F238E27FC236}">
                <a16:creationId xmlns:a16="http://schemas.microsoft.com/office/drawing/2014/main" id="{6FE6ECDB-AF0B-4645-9EF8-7E58A711A6A0}"/>
              </a:ext>
            </a:extLst>
          </p:cNvPr>
          <p:cNvSpPr>
            <a:spLocks noGrp="1"/>
          </p:cNvSpPr>
          <p:nvPr>
            <p:ph type="body" sz="quarter" idx="15" hasCustomPrompt="1"/>
          </p:nvPr>
        </p:nvSpPr>
        <p:spPr>
          <a:xfrm>
            <a:off x="6145942" y="914400"/>
            <a:ext cx="2450592"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15" name="Picture Placeholder 2">
            <a:extLst>
              <a:ext uri="{FF2B5EF4-FFF2-40B4-BE49-F238E27FC236}">
                <a16:creationId xmlns:a16="http://schemas.microsoft.com/office/drawing/2014/main" id="{47A2DD19-B20B-483D-8660-233B1AD6C184}"/>
              </a:ext>
            </a:extLst>
          </p:cNvPr>
          <p:cNvSpPr>
            <a:spLocks noGrp="1"/>
          </p:cNvSpPr>
          <p:nvPr>
            <p:ph type="pic" sz="quarter" idx="19"/>
          </p:nvPr>
        </p:nvSpPr>
        <p:spPr>
          <a:xfrm>
            <a:off x="6145942" y="1601788"/>
            <a:ext cx="2450592" cy="1563624"/>
          </a:xfrm>
        </p:spPr>
        <p:txBody>
          <a:bodyPr/>
          <a:lstStyle/>
          <a:p>
            <a:r>
              <a:rPr lang="en-GB" dirty="0"/>
              <a:t>Click icon to add picture</a:t>
            </a:r>
            <a:endParaRPr lang="en-US" dirty="0"/>
          </a:p>
        </p:txBody>
      </p:sp>
      <p:sp>
        <p:nvSpPr>
          <p:cNvPr id="10" name="Content Placeholder 3">
            <a:extLst>
              <a:ext uri="{FF2B5EF4-FFF2-40B4-BE49-F238E27FC236}">
                <a16:creationId xmlns:a16="http://schemas.microsoft.com/office/drawing/2014/main" id="{96F8CE7E-C8FD-42CD-9FE2-33854B67611D}"/>
              </a:ext>
            </a:extLst>
          </p:cNvPr>
          <p:cNvSpPr>
            <a:spLocks noGrp="1"/>
          </p:cNvSpPr>
          <p:nvPr>
            <p:ph sz="quarter" idx="16"/>
          </p:nvPr>
        </p:nvSpPr>
        <p:spPr>
          <a:xfrm>
            <a:off x="8709024" y="3492063"/>
            <a:ext cx="2450592" cy="2911912"/>
          </a:xfrm>
        </p:spPr>
        <p:txBody>
          <a:bodyPr/>
          <a:lstStyle>
            <a:lvl1pPr>
              <a:spcAft>
                <a:spcPts val="0"/>
              </a:spcAft>
              <a:defRPr>
                <a:latin typeface="Calibre Semibold" panose="020B0703030202060203" pitchFamily="34" charset="0"/>
              </a:defRPr>
            </a:lvl1pPr>
            <a:lvl2pPr>
              <a:defRPr sz="2200">
                <a:latin typeface="Calibre Light" panose="020B03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ubheading Placeholder 3">
            <a:extLst>
              <a:ext uri="{FF2B5EF4-FFF2-40B4-BE49-F238E27FC236}">
                <a16:creationId xmlns:a16="http://schemas.microsoft.com/office/drawing/2014/main" id="{8D649D2F-7D7D-4802-A705-A08201E6D24D}"/>
              </a:ext>
            </a:extLst>
          </p:cNvPr>
          <p:cNvSpPr>
            <a:spLocks noGrp="1"/>
          </p:cNvSpPr>
          <p:nvPr>
            <p:ph type="body" sz="quarter" idx="17" hasCustomPrompt="1"/>
          </p:nvPr>
        </p:nvSpPr>
        <p:spPr>
          <a:xfrm>
            <a:off x="8707438" y="914400"/>
            <a:ext cx="2450592"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17" name="Picture Placeholder 3">
            <a:extLst>
              <a:ext uri="{FF2B5EF4-FFF2-40B4-BE49-F238E27FC236}">
                <a16:creationId xmlns:a16="http://schemas.microsoft.com/office/drawing/2014/main" id="{F87E57F0-BBA5-46F3-8D80-066C33EA828B}"/>
              </a:ext>
            </a:extLst>
          </p:cNvPr>
          <p:cNvSpPr>
            <a:spLocks noGrp="1"/>
          </p:cNvSpPr>
          <p:nvPr>
            <p:ph type="pic" sz="quarter" idx="20"/>
          </p:nvPr>
        </p:nvSpPr>
        <p:spPr>
          <a:xfrm>
            <a:off x="8707438" y="1601788"/>
            <a:ext cx="2450592" cy="1563624"/>
          </a:xfrm>
        </p:spPr>
        <p:txBody>
          <a:bodyPr/>
          <a:lstStyle/>
          <a:p>
            <a:r>
              <a:rPr lang="en-GB" dirty="0"/>
              <a:t>Click icon to add picture</a:t>
            </a:r>
            <a:endParaRPr lang="en-US" dirty="0"/>
          </a:p>
        </p:txBody>
      </p:sp>
    </p:spTree>
    <p:extLst>
      <p:ext uri="{BB962C8B-B14F-4D97-AF65-F5344CB8AC3E}">
        <p14:creationId xmlns:p14="http://schemas.microsoft.com/office/powerpoint/2010/main" val="9245106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am 1">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hasCustomPrompt="1"/>
          </p:nvPr>
        </p:nvSpPr>
        <p:spPr>
          <a:xfrm>
            <a:off x="4096512" y="3429000"/>
            <a:ext cx="1673352" cy="2167128"/>
          </a:xfrm>
        </p:spPr>
        <p:txBody>
          <a:bodyPr tIns="0"/>
          <a:lstStyle>
            <a:lvl1pPr>
              <a:spcAft>
                <a:spcPts val="0"/>
              </a:spcAft>
              <a:defRPr sz="1000" cap="all" baseline="0">
                <a:latin typeface="+mn-lt"/>
              </a:defRPr>
            </a:lvl1pPr>
            <a:lvl2pPr>
              <a:spcAft>
                <a:spcPts val="1800"/>
              </a:spcAft>
              <a:defRPr sz="1400"/>
            </a:lvl2pPr>
            <a:lvl3pPr>
              <a:spcBef>
                <a:spcPts val="600"/>
              </a:spcBef>
              <a:spcAft>
                <a:spcPts val="0"/>
              </a:spcAft>
              <a:defRPr/>
            </a:lvl3pPr>
            <a:lvl4pPr marL="0" indent="0">
              <a:spcBef>
                <a:spcPts val="0"/>
              </a:spcBef>
              <a:spcAft>
                <a:spcPts val="0"/>
              </a:spcAft>
              <a:buNone/>
              <a:defRPr/>
            </a:lvl4pPr>
            <a:lvl5pPr marL="0" indent="0">
              <a:spcBef>
                <a:spcPts val="0"/>
              </a:spcBef>
              <a:spcAft>
                <a:spcPts val="600"/>
              </a:spcAft>
              <a:buNone/>
              <a:defRPr>
                <a:latin typeface="Calibre Bold" panose="020B0803030202060203" pitchFamily="34" charset="0"/>
              </a:defRPr>
            </a:lvl5pPr>
            <a:lvl6pPr>
              <a:defRPr/>
            </a:lvl6pPr>
            <a:lvl7pPr>
              <a:defRPr/>
            </a:lvl7pPr>
            <a:lvl8pPr>
              <a:defRPr/>
            </a:lvl8pPr>
          </a:lstStyle>
          <a:p>
            <a:pPr lvl="0"/>
            <a:r>
              <a:rPr lang="en-GB"/>
              <a:t>industry</a:t>
            </a:r>
          </a:p>
          <a:p>
            <a:pPr lvl="1"/>
            <a:r>
              <a:rPr lang="en-GB"/>
              <a:t>Name Surname</a:t>
            </a:r>
          </a:p>
          <a:p>
            <a:pPr lvl="2"/>
            <a:r>
              <a:rPr lang="en-GB"/>
              <a:t>Job Title</a:t>
            </a:r>
          </a:p>
          <a:p>
            <a:pPr lvl="3"/>
            <a:r>
              <a:rPr lang="en-GB"/>
              <a:t>Phone number</a:t>
            </a:r>
          </a:p>
          <a:p>
            <a:pPr lvl="4"/>
            <a:r>
              <a:rPr lang="en-GB"/>
              <a:t>Fifth level</a:t>
            </a:r>
          </a:p>
        </p:txBody>
      </p:sp>
      <p:sp>
        <p:nvSpPr>
          <p:cNvPr id="8" name="Content Placeholder 2">
            <a:extLst>
              <a:ext uri="{FF2B5EF4-FFF2-40B4-BE49-F238E27FC236}">
                <a16:creationId xmlns:a16="http://schemas.microsoft.com/office/drawing/2014/main" id="{D2379CBC-8487-4C2E-BD6D-CAC2DD1F0623}"/>
              </a:ext>
            </a:extLst>
          </p:cNvPr>
          <p:cNvSpPr>
            <a:spLocks noGrp="1"/>
          </p:cNvSpPr>
          <p:nvPr>
            <p:ph sz="quarter" idx="13" hasCustomPrompt="1"/>
          </p:nvPr>
        </p:nvSpPr>
        <p:spPr>
          <a:xfrm>
            <a:off x="6657975" y="3429000"/>
            <a:ext cx="1673352" cy="2167128"/>
          </a:xfrm>
        </p:spPr>
        <p:txBody>
          <a:bodyPr tIns="0"/>
          <a:lstStyle>
            <a:lvl1pPr>
              <a:spcAft>
                <a:spcPts val="0"/>
              </a:spcAft>
              <a:defRPr sz="1000" cap="all" baseline="0">
                <a:latin typeface="+mn-lt"/>
              </a:defRPr>
            </a:lvl1pPr>
            <a:lvl2pPr>
              <a:spcAft>
                <a:spcPts val="1800"/>
              </a:spcAft>
              <a:defRPr sz="1400"/>
            </a:lvl2pPr>
            <a:lvl3pPr>
              <a:spcBef>
                <a:spcPts val="600"/>
              </a:spcBef>
              <a:spcAft>
                <a:spcPts val="0"/>
              </a:spcAft>
              <a:defRPr/>
            </a:lvl3pPr>
            <a:lvl4pPr marL="0" indent="0">
              <a:spcBef>
                <a:spcPts val="0"/>
              </a:spcBef>
              <a:spcAft>
                <a:spcPts val="0"/>
              </a:spcAft>
              <a:buNone/>
              <a:defRPr/>
            </a:lvl4pPr>
            <a:lvl5pPr marL="0" indent="0">
              <a:spcBef>
                <a:spcPts val="0"/>
              </a:spcBef>
              <a:spcAft>
                <a:spcPts val="600"/>
              </a:spcAft>
              <a:buNone/>
              <a:defRPr>
                <a:latin typeface="Calibre Bold" panose="020B0803030202060203" pitchFamily="34" charset="0"/>
              </a:defRPr>
            </a:lvl5pPr>
            <a:lvl6pPr>
              <a:defRPr/>
            </a:lvl6pPr>
            <a:lvl7pPr>
              <a:defRPr/>
            </a:lvl7pPr>
            <a:lvl8pPr>
              <a:defRPr/>
            </a:lvl8pPr>
          </a:lstStyle>
          <a:p>
            <a:pPr lvl="0"/>
            <a:r>
              <a:rPr lang="en-GB"/>
              <a:t>industry</a:t>
            </a:r>
          </a:p>
          <a:p>
            <a:pPr lvl="1"/>
            <a:r>
              <a:rPr lang="en-GB"/>
              <a:t>Name Surname</a:t>
            </a:r>
          </a:p>
          <a:p>
            <a:pPr lvl="2"/>
            <a:r>
              <a:rPr lang="en-GB"/>
              <a:t>Job Title</a:t>
            </a:r>
          </a:p>
          <a:p>
            <a:pPr lvl="3"/>
            <a:r>
              <a:rPr lang="en-GB"/>
              <a:t>Phone number</a:t>
            </a:r>
          </a:p>
          <a:p>
            <a:pPr lvl="4"/>
            <a:r>
              <a:rPr lang="en-GB"/>
              <a:t>Fifth level</a:t>
            </a:r>
          </a:p>
        </p:txBody>
      </p:sp>
      <p:sp>
        <p:nvSpPr>
          <p:cNvPr id="10" name="Content Placeholder 3">
            <a:extLst>
              <a:ext uri="{FF2B5EF4-FFF2-40B4-BE49-F238E27FC236}">
                <a16:creationId xmlns:a16="http://schemas.microsoft.com/office/drawing/2014/main" id="{DD037744-B022-4244-8C34-B4E5304F9796}"/>
              </a:ext>
            </a:extLst>
          </p:cNvPr>
          <p:cNvSpPr>
            <a:spLocks noGrp="1"/>
          </p:cNvSpPr>
          <p:nvPr>
            <p:ph sz="quarter" idx="14" hasCustomPrompt="1"/>
          </p:nvPr>
        </p:nvSpPr>
        <p:spPr>
          <a:xfrm>
            <a:off x="9220200" y="3429000"/>
            <a:ext cx="1673352" cy="2167128"/>
          </a:xfrm>
        </p:spPr>
        <p:txBody>
          <a:bodyPr tIns="0"/>
          <a:lstStyle>
            <a:lvl1pPr>
              <a:spcAft>
                <a:spcPts val="0"/>
              </a:spcAft>
              <a:defRPr sz="1000" cap="all" baseline="0">
                <a:latin typeface="+mn-lt"/>
              </a:defRPr>
            </a:lvl1pPr>
            <a:lvl2pPr>
              <a:spcAft>
                <a:spcPts val="1800"/>
              </a:spcAft>
              <a:defRPr sz="1400"/>
            </a:lvl2pPr>
            <a:lvl3pPr>
              <a:spcBef>
                <a:spcPts val="600"/>
              </a:spcBef>
              <a:spcAft>
                <a:spcPts val="0"/>
              </a:spcAft>
              <a:defRPr/>
            </a:lvl3pPr>
            <a:lvl4pPr marL="0" indent="0">
              <a:spcBef>
                <a:spcPts val="0"/>
              </a:spcBef>
              <a:spcAft>
                <a:spcPts val="0"/>
              </a:spcAft>
              <a:buNone/>
              <a:defRPr/>
            </a:lvl4pPr>
            <a:lvl5pPr marL="0" indent="0">
              <a:spcBef>
                <a:spcPts val="0"/>
              </a:spcBef>
              <a:spcAft>
                <a:spcPts val="600"/>
              </a:spcAft>
              <a:buNone/>
              <a:defRPr>
                <a:latin typeface="Calibre Bold" panose="020B0803030202060203" pitchFamily="34" charset="0"/>
              </a:defRPr>
            </a:lvl5pPr>
            <a:lvl6pPr>
              <a:defRPr/>
            </a:lvl6pPr>
            <a:lvl7pPr>
              <a:defRPr/>
            </a:lvl7pPr>
            <a:lvl8pPr>
              <a:defRPr/>
            </a:lvl8pPr>
          </a:lstStyle>
          <a:p>
            <a:pPr lvl="0"/>
            <a:r>
              <a:rPr lang="en-GB"/>
              <a:t>industry</a:t>
            </a:r>
          </a:p>
          <a:p>
            <a:pPr lvl="1"/>
            <a:r>
              <a:rPr lang="en-GB"/>
              <a:t>Name Surname</a:t>
            </a:r>
          </a:p>
          <a:p>
            <a:pPr lvl="2"/>
            <a:r>
              <a:rPr lang="en-GB"/>
              <a:t>Job Title</a:t>
            </a:r>
          </a:p>
          <a:p>
            <a:pPr lvl="3"/>
            <a:r>
              <a:rPr lang="en-GB"/>
              <a:t>Phone number</a:t>
            </a:r>
          </a:p>
          <a:p>
            <a:pPr lvl="4"/>
            <a:r>
              <a:rPr lang="en-GB"/>
              <a:t>Fifth level</a:t>
            </a:r>
          </a:p>
        </p:txBody>
      </p:sp>
      <p:sp>
        <p:nvSpPr>
          <p:cNvPr id="12" name="Picture Placeholder 1">
            <a:extLst>
              <a:ext uri="{FF2B5EF4-FFF2-40B4-BE49-F238E27FC236}">
                <a16:creationId xmlns:a16="http://schemas.microsoft.com/office/drawing/2014/main" id="{5AB9DF88-7CDB-43A2-834C-9ADC604F94F2}"/>
              </a:ext>
            </a:extLst>
          </p:cNvPr>
          <p:cNvSpPr>
            <a:spLocks noGrp="1"/>
          </p:cNvSpPr>
          <p:nvPr>
            <p:ph type="pic" sz="quarter" idx="15"/>
          </p:nvPr>
        </p:nvSpPr>
        <p:spPr>
          <a:xfrm>
            <a:off x="4096512" y="1601788"/>
            <a:ext cx="1426464" cy="1664208"/>
          </a:xfrm>
        </p:spPr>
        <p:txBody>
          <a:bodyPr/>
          <a:lstStyle/>
          <a:p>
            <a:r>
              <a:rPr lang="en-GB" dirty="0"/>
              <a:t>Click icon to add picture</a:t>
            </a:r>
            <a:endParaRPr lang="en-US" dirty="0"/>
          </a:p>
        </p:txBody>
      </p:sp>
      <p:sp>
        <p:nvSpPr>
          <p:cNvPr id="14" name="Picture Placeholder 2">
            <a:extLst>
              <a:ext uri="{FF2B5EF4-FFF2-40B4-BE49-F238E27FC236}">
                <a16:creationId xmlns:a16="http://schemas.microsoft.com/office/drawing/2014/main" id="{2A5DD4CB-DCEB-4140-ACD5-668399B80792}"/>
              </a:ext>
            </a:extLst>
          </p:cNvPr>
          <p:cNvSpPr>
            <a:spLocks noGrp="1"/>
          </p:cNvSpPr>
          <p:nvPr>
            <p:ph type="pic" sz="quarter" idx="16"/>
          </p:nvPr>
        </p:nvSpPr>
        <p:spPr>
          <a:xfrm>
            <a:off x="6657975" y="1601788"/>
            <a:ext cx="1426464" cy="1664208"/>
          </a:xfrm>
        </p:spPr>
        <p:txBody>
          <a:bodyPr/>
          <a:lstStyle/>
          <a:p>
            <a:r>
              <a:rPr lang="en-GB" dirty="0"/>
              <a:t>Click icon to add picture</a:t>
            </a:r>
            <a:endParaRPr lang="en-US" dirty="0"/>
          </a:p>
        </p:txBody>
      </p:sp>
      <p:sp>
        <p:nvSpPr>
          <p:cNvPr id="16" name="Picture Placeholder 3">
            <a:extLst>
              <a:ext uri="{FF2B5EF4-FFF2-40B4-BE49-F238E27FC236}">
                <a16:creationId xmlns:a16="http://schemas.microsoft.com/office/drawing/2014/main" id="{4157720F-FE81-4879-BD1A-4B07F7CB2920}"/>
              </a:ext>
            </a:extLst>
          </p:cNvPr>
          <p:cNvSpPr>
            <a:spLocks noGrp="1"/>
          </p:cNvSpPr>
          <p:nvPr>
            <p:ph type="pic" sz="quarter" idx="17"/>
          </p:nvPr>
        </p:nvSpPr>
        <p:spPr>
          <a:xfrm>
            <a:off x="9220200" y="1601788"/>
            <a:ext cx="1426464" cy="1664208"/>
          </a:xfrm>
        </p:spPr>
        <p:txBody>
          <a:bodyPr/>
          <a:lstStyle/>
          <a:p>
            <a:r>
              <a:rPr lang="en-GB" dirty="0"/>
              <a:t>Click icon to add picture</a:t>
            </a:r>
            <a:endParaRPr lang="en-US" dirty="0"/>
          </a:p>
        </p:txBody>
      </p:sp>
      <p:sp>
        <p:nvSpPr>
          <p:cNvPr id="9" name="Text Placeholder 1">
            <a:extLst>
              <a:ext uri="{FF2B5EF4-FFF2-40B4-BE49-F238E27FC236}">
                <a16:creationId xmlns:a16="http://schemas.microsoft.com/office/drawing/2014/main" id="{C64749C2-A985-44CA-AEFE-E548FAF5B3E6}"/>
              </a:ext>
            </a:extLst>
          </p:cNvPr>
          <p:cNvSpPr>
            <a:spLocks noGrp="1"/>
          </p:cNvSpPr>
          <p:nvPr userDrawn="1">
            <p:ph type="body" sz="quarter" idx="18" hasCustomPrompt="1"/>
          </p:nvPr>
        </p:nvSpPr>
        <p:spPr>
          <a:xfrm>
            <a:off x="4093505" y="6250245"/>
            <a:ext cx="1673352" cy="192024"/>
          </a:xfrm>
        </p:spPr>
        <p:txBody>
          <a:bodyPr rIns="0" anchor="b" anchorCtr="0"/>
          <a:lstStyle>
            <a:lvl1pPr>
              <a:defRPr sz="1200" b="1" cap="all" baseline="0">
                <a:latin typeface="+mn-lt"/>
              </a:defRPr>
            </a:lvl1pPr>
          </a:lstStyle>
          <a:p>
            <a:pPr lvl="0"/>
            <a:r>
              <a:rPr lang="en-GB"/>
              <a:t>Division name</a:t>
            </a:r>
          </a:p>
        </p:txBody>
      </p:sp>
      <p:sp>
        <p:nvSpPr>
          <p:cNvPr id="18" name="Text Placeholder 2">
            <a:extLst>
              <a:ext uri="{FF2B5EF4-FFF2-40B4-BE49-F238E27FC236}">
                <a16:creationId xmlns:a16="http://schemas.microsoft.com/office/drawing/2014/main" id="{8705AF12-00A4-4943-8DFF-6065C6A5EC52}"/>
              </a:ext>
            </a:extLst>
          </p:cNvPr>
          <p:cNvSpPr>
            <a:spLocks noGrp="1"/>
          </p:cNvSpPr>
          <p:nvPr userDrawn="1">
            <p:ph type="body" sz="quarter" idx="19" hasCustomPrompt="1"/>
          </p:nvPr>
        </p:nvSpPr>
        <p:spPr>
          <a:xfrm>
            <a:off x="5845639" y="6250245"/>
            <a:ext cx="5047913" cy="192024"/>
          </a:xfrm>
        </p:spPr>
        <p:txBody>
          <a:bodyPr rIns="0" anchor="b" anchorCtr="0"/>
          <a:lstStyle>
            <a:lvl1pPr>
              <a:defRPr sz="1200">
                <a:latin typeface="Calibre" panose="020B0503030202060203" pitchFamily="34" charset="0"/>
              </a:defRPr>
            </a:lvl1pPr>
          </a:lstStyle>
          <a:p>
            <a:pPr lvl="0"/>
            <a:r>
              <a:rPr lang="en-GB"/>
              <a:t>Division address</a:t>
            </a:r>
          </a:p>
        </p:txBody>
      </p:sp>
    </p:spTree>
    <p:extLst>
      <p:ext uri="{BB962C8B-B14F-4D97-AF65-F5344CB8AC3E}">
        <p14:creationId xmlns:p14="http://schemas.microsoft.com/office/powerpoint/2010/main" val="30063084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am 2">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hasCustomPrompt="1"/>
          </p:nvPr>
        </p:nvSpPr>
        <p:spPr>
          <a:xfrm>
            <a:off x="5540185" y="429768"/>
            <a:ext cx="2048256" cy="1069848"/>
          </a:xfrm>
        </p:spPr>
        <p:txBody>
          <a:bodyPr tIns="0"/>
          <a:lstStyle>
            <a:lvl1pPr>
              <a:spcAft>
                <a:spcPts val="0"/>
              </a:spcAft>
              <a:defRPr sz="1000" cap="all" baseline="0">
                <a:latin typeface="+mn-lt"/>
              </a:defRPr>
            </a:lvl1pPr>
            <a:lvl2pPr>
              <a:spcAft>
                <a:spcPts val="1800"/>
              </a:spcAft>
              <a:defRPr sz="1400"/>
            </a:lvl2pPr>
            <a:lvl3pPr>
              <a:spcBef>
                <a:spcPts val="600"/>
              </a:spcBef>
              <a:spcAft>
                <a:spcPts val="0"/>
              </a:spcAft>
              <a:defRPr/>
            </a:lvl3pPr>
            <a:lvl4pPr marL="0" indent="0">
              <a:spcBef>
                <a:spcPts val="0"/>
              </a:spcBef>
              <a:spcAft>
                <a:spcPts val="0"/>
              </a:spcAft>
              <a:buNone/>
              <a:defRPr/>
            </a:lvl4pPr>
            <a:lvl5pPr marL="0" indent="0">
              <a:spcBef>
                <a:spcPts val="0"/>
              </a:spcBef>
              <a:spcAft>
                <a:spcPts val="600"/>
              </a:spcAft>
              <a:buNone/>
              <a:defRPr>
                <a:latin typeface="Calibre Bold" panose="020B0803030202060203" pitchFamily="34" charset="0"/>
              </a:defRPr>
            </a:lvl5pPr>
            <a:lvl6pPr>
              <a:defRPr/>
            </a:lvl6pPr>
            <a:lvl7pPr>
              <a:defRPr/>
            </a:lvl7pPr>
            <a:lvl8pPr>
              <a:defRPr/>
            </a:lvl8pPr>
          </a:lstStyle>
          <a:p>
            <a:pPr lvl="0"/>
            <a:r>
              <a:rPr lang="en-GB"/>
              <a:t>industry</a:t>
            </a:r>
          </a:p>
          <a:p>
            <a:pPr lvl="1"/>
            <a:r>
              <a:rPr lang="en-GB"/>
              <a:t>Name Surname</a:t>
            </a:r>
          </a:p>
          <a:p>
            <a:pPr lvl="2"/>
            <a:r>
              <a:rPr lang="en-GB"/>
              <a:t>Job Title</a:t>
            </a:r>
          </a:p>
          <a:p>
            <a:pPr lvl="3"/>
            <a:r>
              <a:rPr lang="en-GB"/>
              <a:t>Phone number</a:t>
            </a:r>
          </a:p>
          <a:p>
            <a:pPr lvl="4"/>
            <a:r>
              <a:rPr lang="en-GB"/>
              <a:t>Fifth level</a:t>
            </a:r>
          </a:p>
        </p:txBody>
      </p:sp>
      <p:sp>
        <p:nvSpPr>
          <p:cNvPr id="8" name="Content Placeholder 2">
            <a:extLst>
              <a:ext uri="{FF2B5EF4-FFF2-40B4-BE49-F238E27FC236}">
                <a16:creationId xmlns:a16="http://schemas.microsoft.com/office/drawing/2014/main" id="{D2379CBC-8487-4C2E-BD6D-CAC2DD1F0623}"/>
              </a:ext>
            </a:extLst>
          </p:cNvPr>
          <p:cNvSpPr>
            <a:spLocks noGrp="1"/>
          </p:cNvSpPr>
          <p:nvPr>
            <p:ph sz="quarter" idx="13" hasCustomPrompt="1"/>
          </p:nvPr>
        </p:nvSpPr>
        <p:spPr>
          <a:xfrm>
            <a:off x="9629775" y="429768"/>
            <a:ext cx="2048256" cy="1069848"/>
          </a:xfrm>
        </p:spPr>
        <p:txBody>
          <a:bodyPr tIns="0"/>
          <a:lstStyle>
            <a:lvl1pPr>
              <a:spcAft>
                <a:spcPts val="0"/>
              </a:spcAft>
              <a:defRPr sz="1000" cap="all" baseline="0">
                <a:latin typeface="+mn-lt"/>
              </a:defRPr>
            </a:lvl1pPr>
            <a:lvl2pPr>
              <a:spcAft>
                <a:spcPts val="1800"/>
              </a:spcAft>
              <a:defRPr sz="1400"/>
            </a:lvl2pPr>
            <a:lvl3pPr>
              <a:spcBef>
                <a:spcPts val="600"/>
              </a:spcBef>
              <a:spcAft>
                <a:spcPts val="0"/>
              </a:spcAft>
              <a:defRPr/>
            </a:lvl3pPr>
            <a:lvl4pPr marL="0" indent="0">
              <a:spcBef>
                <a:spcPts val="0"/>
              </a:spcBef>
              <a:spcAft>
                <a:spcPts val="0"/>
              </a:spcAft>
              <a:buNone/>
              <a:defRPr/>
            </a:lvl4pPr>
            <a:lvl5pPr marL="0" indent="0">
              <a:spcBef>
                <a:spcPts val="0"/>
              </a:spcBef>
              <a:spcAft>
                <a:spcPts val="600"/>
              </a:spcAft>
              <a:buNone/>
              <a:defRPr>
                <a:latin typeface="Calibre Bold" panose="020B0803030202060203" pitchFamily="34" charset="0"/>
              </a:defRPr>
            </a:lvl5pPr>
            <a:lvl6pPr>
              <a:defRPr/>
            </a:lvl6pPr>
            <a:lvl7pPr>
              <a:defRPr/>
            </a:lvl7pPr>
            <a:lvl8pPr>
              <a:defRPr/>
            </a:lvl8pPr>
          </a:lstStyle>
          <a:p>
            <a:pPr lvl="0"/>
            <a:r>
              <a:rPr lang="en-GB"/>
              <a:t>industry</a:t>
            </a:r>
          </a:p>
          <a:p>
            <a:pPr lvl="1"/>
            <a:r>
              <a:rPr lang="en-GB"/>
              <a:t>Name Surname</a:t>
            </a:r>
          </a:p>
          <a:p>
            <a:pPr lvl="2"/>
            <a:r>
              <a:rPr lang="en-GB"/>
              <a:t>Job Title</a:t>
            </a:r>
          </a:p>
          <a:p>
            <a:pPr lvl="3"/>
            <a:r>
              <a:rPr lang="en-GB"/>
              <a:t>Phone number</a:t>
            </a:r>
          </a:p>
          <a:p>
            <a:pPr lvl="4"/>
            <a:r>
              <a:rPr lang="en-GB"/>
              <a:t>Fifth level</a:t>
            </a:r>
          </a:p>
        </p:txBody>
      </p:sp>
      <p:sp>
        <p:nvSpPr>
          <p:cNvPr id="12" name="Picture Placeholder 1">
            <a:extLst>
              <a:ext uri="{FF2B5EF4-FFF2-40B4-BE49-F238E27FC236}">
                <a16:creationId xmlns:a16="http://schemas.microsoft.com/office/drawing/2014/main" id="{5AB9DF88-7CDB-43A2-834C-9ADC604F94F2}"/>
              </a:ext>
            </a:extLst>
          </p:cNvPr>
          <p:cNvSpPr>
            <a:spLocks noGrp="1"/>
          </p:cNvSpPr>
          <p:nvPr>
            <p:ph type="pic" sz="quarter" idx="15"/>
          </p:nvPr>
        </p:nvSpPr>
        <p:spPr>
          <a:xfrm>
            <a:off x="4096512" y="484632"/>
            <a:ext cx="1014984" cy="1325880"/>
          </a:xfrm>
        </p:spPr>
        <p:txBody>
          <a:bodyPr/>
          <a:lstStyle/>
          <a:p>
            <a:r>
              <a:rPr lang="en-GB" dirty="0"/>
              <a:t>Click icon to add picture</a:t>
            </a:r>
            <a:endParaRPr lang="en-US" dirty="0"/>
          </a:p>
        </p:txBody>
      </p:sp>
      <p:sp>
        <p:nvSpPr>
          <p:cNvPr id="14" name="Picture Placeholder 2">
            <a:extLst>
              <a:ext uri="{FF2B5EF4-FFF2-40B4-BE49-F238E27FC236}">
                <a16:creationId xmlns:a16="http://schemas.microsoft.com/office/drawing/2014/main" id="{2A5DD4CB-DCEB-4140-ACD5-668399B80792}"/>
              </a:ext>
            </a:extLst>
          </p:cNvPr>
          <p:cNvSpPr>
            <a:spLocks noGrp="1"/>
          </p:cNvSpPr>
          <p:nvPr>
            <p:ph type="pic" sz="quarter" idx="16"/>
          </p:nvPr>
        </p:nvSpPr>
        <p:spPr>
          <a:xfrm>
            <a:off x="8194675" y="484632"/>
            <a:ext cx="1014984" cy="1325880"/>
          </a:xfrm>
        </p:spPr>
        <p:txBody>
          <a:bodyPr/>
          <a:lstStyle/>
          <a:p>
            <a:r>
              <a:rPr lang="en-GB" dirty="0"/>
              <a:t>Click icon to add picture</a:t>
            </a:r>
            <a:endParaRPr lang="en-US" dirty="0"/>
          </a:p>
        </p:txBody>
      </p:sp>
      <p:sp>
        <p:nvSpPr>
          <p:cNvPr id="11" name="Content Placeholder 3">
            <a:extLst>
              <a:ext uri="{FF2B5EF4-FFF2-40B4-BE49-F238E27FC236}">
                <a16:creationId xmlns:a16="http://schemas.microsoft.com/office/drawing/2014/main" id="{554C6034-081A-4BFE-B2CE-602FEB37E894}"/>
              </a:ext>
            </a:extLst>
          </p:cNvPr>
          <p:cNvSpPr>
            <a:spLocks noGrp="1"/>
          </p:cNvSpPr>
          <p:nvPr>
            <p:ph sz="quarter" idx="20"/>
          </p:nvPr>
        </p:nvSpPr>
        <p:spPr>
          <a:xfrm>
            <a:off x="5540185" y="2130552"/>
            <a:ext cx="2048256" cy="426110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Content Placeholder 4">
            <a:extLst>
              <a:ext uri="{FF2B5EF4-FFF2-40B4-BE49-F238E27FC236}">
                <a16:creationId xmlns:a16="http://schemas.microsoft.com/office/drawing/2014/main" id="{67A48D65-8A27-42AE-A0D1-EE0630EC7252}"/>
              </a:ext>
            </a:extLst>
          </p:cNvPr>
          <p:cNvSpPr>
            <a:spLocks noGrp="1"/>
          </p:cNvSpPr>
          <p:nvPr>
            <p:ph sz="quarter" idx="21"/>
          </p:nvPr>
        </p:nvSpPr>
        <p:spPr>
          <a:xfrm>
            <a:off x="9629775" y="2130552"/>
            <a:ext cx="2048256" cy="4261104"/>
          </a:xfrm>
        </p:spPr>
        <p:txBody>
          <a:bodyPr/>
          <a:lstStyle>
            <a:lvl1pPr>
              <a:spcAft>
                <a:spcPts val="600"/>
              </a:spcAft>
              <a:defRPr lang="en-US" sz="15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Subtext Placeholder 1">
            <a:extLst>
              <a:ext uri="{FF2B5EF4-FFF2-40B4-BE49-F238E27FC236}">
                <a16:creationId xmlns:a16="http://schemas.microsoft.com/office/drawing/2014/main" id="{12865E1C-6DA8-498A-81C7-FD8C577ABDB4}"/>
              </a:ext>
            </a:extLst>
          </p:cNvPr>
          <p:cNvSpPr>
            <a:spLocks noGrp="1"/>
          </p:cNvSpPr>
          <p:nvPr>
            <p:ph type="body" sz="quarter" idx="22" hasCustomPrompt="1"/>
          </p:nvPr>
        </p:nvSpPr>
        <p:spPr>
          <a:xfrm>
            <a:off x="4096512" y="2852928"/>
            <a:ext cx="1014984" cy="3557016"/>
          </a:xfrm>
        </p:spPr>
        <p:txBody>
          <a:bodyPr tIns="0"/>
          <a:lstStyle>
            <a:lvl1pPr>
              <a:spcBef>
                <a:spcPts val="1800"/>
              </a:spcBef>
              <a:spcAft>
                <a:spcPts val="0"/>
              </a:spcAft>
              <a:defRPr sz="1050" b="1" cap="all" baseline="0">
                <a:latin typeface="Barlow Condensed" panose="00000506000000000000" pitchFamily="2" charset="0"/>
              </a:defRPr>
            </a:lvl1pPr>
            <a:lvl2pPr>
              <a:spcAft>
                <a:spcPts val="0"/>
              </a:spcAft>
              <a:defRPr sz="1050">
                <a:latin typeface="Barlow Condensed" panose="00000506000000000000" pitchFamily="2" charset="0"/>
              </a:defRPr>
            </a:lvl2pPr>
            <a:lvl3pPr marL="90488" indent="-90488">
              <a:spcBef>
                <a:spcPts val="0"/>
              </a:spcBef>
              <a:spcAft>
                <a:spcPts val="0"/>
              </a:spcAft>
              <a:buFont typeface="+mn-lt" panose="04000400000000000000" pitchFamily="82" charset="0"/>
              <a:buChar char="–"/>
              <a:defRPr sz="1050">
                <a:latin typeface="Barlow Condensed" panose="00000506000000000000" pitchFamily="2" charset="0"/>
              </a:defRPr>
            </a:lvl3pPr>
            <a:lvl5pPr>
              <a:defRPr>
                <a:latin typeface="Calibre Bold" panose="020B0803030202060203" pitchFamily="34" charset="0"/>
              </a:defRPr>
            </a:lvl5pPr>
          </a:lstStyle>
          <a:p>
            <a:pPr lvl="0"/>
            <a:r>
              <a:rPr lang="en-GB"/>
              <a:t>subheading</a:t>
            </a:r>
          </a:p>
          <a:p>
            <a:pPr lvl="1"/>
            <a:r>
              <a:rPr lang="en-GB"/>
              <a:t>Second level</a:t>
            </a:r>
          </a:p>
          <a:p>
            <a:pPr lvl="2"/>
            <a:r>
              <a:rPr lang="en-GB"/>
              <a:t>Third level</a:t>
            </a:r>
          </a:p>
        </p:txBody>
      </p:sp>
      <p:sp>
        <p:nvSpPr>
          <p:cNvPr id="21" name="Subtext Placeholder 2">
            <a:extLst>
              <a:ext uri="{FF2B5EF4-FFF2-40B4-BE49-F238E27FC236}">
                <a16:creationId xmlns:a16="http://schemas.microsoft.com/office/drawing/2014/main" id="{C6251289-5F50-41B5-B26E-DBEFC133FB8A}"/>
              </a:ext>
            </a:extLst>
          </p:cNvPr>
          <p:cNvSpPr>
            <a:spLocks noGrp="1"/>
          </p:cNvSpPr>
          <p:nvPr>
            <p:ph type="body" sz="quarter" idx="23" hasCustomPrompt="1"/>
          </p:nvPr>
        </p:nvSpPr>
        <p:spPr>
          <a:xfrm>
            <a:off x="8194675" y="2852928"/>
            <a:ext cx="1014984" cy="3557016"/>
          </a:xfrm>
        </p:spPr>
        <p:txBody>
          <a:bodyPr tIns="0"/>
          <a:lstStyle>
            <a:lvl1pPr>
              <a:spcBef>
                <a:spcPts val="1800"/>
              </a:spcBef>
              <a:spcAft>
                <a:spcPts val="0"/>
              </a:spcAft>
              <a:defRPr sz="1050" b="1" cap="all" baseline="0">
                <a:latin typeface="Barlow Condensed" panose="00000506000000000000" pitchFamily="2" charset="0"/>
              </a:defRPr>
            </a:lvl1pPr>
            <a:lvl2pPr>
              <a:spcAft>
                <a:spcPts val="0"/>
              </a:spcAft>
              <a:defRPr sz="1050">
                <a:latin typeface="Barlow Condensed" panose="00000506000000000000" pitchFamily="2" charset="0"/>
              </a:defRPr>
            </a:lvl2pPr>
            <a:lvl3pPr marL="90488" indent="-90488">
              <a:spcBef>
                <a:spcPts val="0"/>
              </a:spcBef>
              <a:spcAft>
                <a:spcPts val="0"/>
              </a:spcAft>
              <a:buFont typeface="+mn-lt" panose="04000400000000000000" pitchFamily="82" charset="0"/>
              <a:buChar char="–"/>
              <a:defRPr sz="1050">
                <a:latin typeface="Barlow Condensed" panose="00000506000000000000" pitchFamily="2" charset="0"/>
              </a:defRPr>
            </a:lvl3pPr>
            <a:lvl5pPr>
              <a:defRPr>
                <a:latin typeface="Calibre Bold" panose="020B0803030202060203" pitchFamily="34" charset="0"/>
              </a:defRPr>
            </a:lvl5pPr>
          </a:lstStyle>
          <a:p>
            <a:pPr lvl="0"/>
            <a:r>
              <a:rPr lang="en-GB"/>
              <a:t>subheading</a:t>
            </a:r>
          </a:p>
          <a:p>
            <a:pPr lvl="1"/>
            <a:r>
              <a:rPr lang="en-GB"/>
              <a:t>Second level</a:t>
            </a:r>
          </a:p>
          <a:p>
            <a:pPr lvl="2"/>
            <a:r>
              <a:rPr lang="en-GB"/>
              <a:t>Third level</a:t>
            </a:r>
          </a:p>
        </p:txBody>
      </p:sp>
    </p:spTree>
    <p:extLst>
      <p:ext uri="{BB962C8B-B14F-4D97-AF65-F5344CB8AC3E}">
        <p14:creationId xmlns:p14="http://schemas.microsoft.com/office/powerpoint/2010/main" val="4293964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Image Cover 3">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6F222E5-437D-4D26-94F0-6DA259B5944D}"/>
              </a:ext>
            </a:extLst>
          </p:cNvPr>
          <p:cNvSpPr>
            <a:spLocks noGrp="1"/>
          </p:cNvSpPr>
          <p:nvPr>
            <p:ph type="pic" sz="quarter" idx="12"/>
          </p:nvPr>
        </p:nvSpPr>
        <p:spPr>
          <a:xfrm>
            <a:off x="3584575" y="1606550"/>
            <a:ext cx="8094663" cy="4775200"/>
          </a:xfrm>
        </p:spPr>
        <p:txBody>
          <a:bodyPr/>
          <a:lstStyle>
            <a:lvl1pPr>
              <a:defRPr>
                <a:solidFill>
                  <a:schemeClr val="accent3"/>
                </a:solidFill>
              </a:defRPr>
            </a:lvl1pPr>
          </a:lstStyle>
          <a:p>
            <a:r>
              <a:rPr lang="en-GB" dirty="0"/>
              <a:t>Click icon to add picture</a:t>
            </a:r>
          </a:p>
        </p:txBody>
      </p:sp>
      <p:cxnSp>
        <p:nvCxnSpPr>
          <p:cNvPr id="7" name="Straight Connector 6">
            <a:extLst>
              <a:ext uri="{FF2B5EF4-FFF2-40B4-BE49-F238E27FC236}">
                <a16:creationId xmlns:a16="http://schemas.microsoft.com/office/drawing/2014/main" id="{4B50443A-8339-4B27-B4A9-FF02F1201B4A}"/>
              </a:ext>
            </a:extLst>
          </p:cNvPr>
          <p:cNvCxnSpPr>
            <a:cxnSpLocks/>
          </p:cNvCxnSpPr>
          <p:nvPr userDrawn="1"/>
        </p:nvCxnSpPr>
        <p:spPr>
          <a:xfrm>
            <a:off x="3584575" y="571774"/>
            <a:ext cx="6558602"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511174" y="6244042"/>
            <a:ext cx="1435101" cy="412100"/>
          </a:xfrm>
          <a:prstGeom prst="rect">
            <a:avLst/>
          </a:prstGeom>
        </p:spPr>
        <p:txBody>
          <a:bodyPr lIns="0" tIns="0" rIns="0" bIns="0"/>
          <a:lstStyle>
            <a:lvl1pPr marL="0" marR="0" indent="0" defTabSz="554492" eaLnBrk="1" fontAlgn="auto" latinLnBrk="0" hangingPunct="1">
              <a:lnSpc>
                <a:spcPts val="1698"/>
              </a:lnSpc>
              <a:spcBef>
                <a:spcPts val="0"/>
              </a:spcBef>
              <a:spcAft>
                <a:spcPts val="0"/>
              </a:spcAft>
              <a:buClrTx/>
              <a:buSzTx/>
              <a:buFontTx/>
              <a:buNone/>
              <a:tabLst/>
              <a:defRPr lang="en-US" sz="1050" b="0" kern="1200" spc="-3" dirty="0" err="1" smtClean="0">
                <a:solidFill>
                  <a:schemeClr val="accent6"/>
                </a:solidFill>
                <a:latin typeface="Space Mono" panose="02000509040000020004" pitchFamily="49" charset="0"/>
                <a:ea typeface="+mn-ea"/>
                <a:cs typeface="Space Mono" panose="02000509040000020004" pitchFamily="49" charset="0"/>
              </a:defRPr>
            </a:lvl1pPr>
          </a:lstStyle>
          <a:p>
            <a:r>
              <a:rPr lang="en-GB"/>
              <a:t>DATE</a:t>
            </a: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511175" y="1548314"/>
            <a:ext cx="2761488" cy="1929899"/>
          </a:xfrm>
        </p:spPr>
        <p:txBody>
          <a:bodyPr/>
          <a:lstStyle>
            <a:lvl1pPr>
              <a:lnSpc>
                <a:spcPct val="85000"/>
              </a:lnSpc>
              <a:defRPr sz="4400">
                <a:solidFill>
                  <a:schemeClr val="accent6"/>
                </a:solidFill>
              </a:defRPr>
            </a:lvl1pPr>
          </a:lstStyle>
          <a:p>
            <a:r>
              <a:rPr lang="en-GB"/>
              <a:t>Click to edit Master title style</a:t>
            </a:r>
          </a:p>
        </p:txBody>
      </p:sp>
      <p:sp>
        <p:nvSpPr>
          <p:cNvPr id="10" name="Content Placeholder 9">
            <a:extLst>
              <a:ext uri="{FF2B5EF4-FFF2-40B4-BE49-F238E27FC236}">
                <a16:creationId xmlns:a16="http://schemas.microsoft.com/office/drawing/2014/main" id="{7D9956ED-0AB6-478A-B82C-B67610F4E3D0}"/>
              </a:ext>
            </a:extLst>
          </p:cNvPr>
          <p:cNvSpPr>
            <a:spLocks noGrp="1"/>
          </p:cNvSpPr>
          <p:nvPr>
            <p:ph sz="quarter" idx="11" hasCustomPrompt="1"/>
          </p:nvPr>
        </p:nvSpPr>
        <p:spPr>
          <a:xfrm>
            <a:off x="511175" y="4129156"/>
            <a:ext cx="2761488" cy="1122293"/>
          </a:xfrm>
        </p:spPr>
        <p:txBody>
          <a:bodyPr tIns="0">
            <a:noAutofit/>
          </a:bodyPr>
          <a:lstStyle>
            <a:lvl1pPr>
              <a:spcAft>
                <a:spcPts val="0"/>
              </a:spcAft>
              <a:defRPr sz="1700">
                <a:solidFill>
                  <a:schemeClr val="tx1"/>
                </a:solidFill>
                <a:latin typeface="+mn-lt"/>
              </a:defRPr>
            </a:lvl1pPr>
            <a:lvl2pPr>
              <a:defRPr sz="1700">
                <a:solidFill>
                  <a:schemeClr val="tx1"/>
                </a:solidFill>
              </a:defRPr>
            </a:lvl2pPr>
            <a:lvl3pPr>
              <a:defRPr>
                <a:solidFill>
                  <a:schemeClr val="bg1"/>
                </a:solidFill>
              </a:defRPr>
            </a:lvl3pPr>
            <a:lvl4pPr>
              <a:defRPr>
                <a:solidFill>
                  <a:schemeClr val="bg1"/>
                </a:solidFill>
              </a:defRPr>
            </a:lvl4pPr>
            <a:lvl5pPr>
              <a:defRPr sz="1700" b="0">
                <a:solidFill>
                  <a:schemeClr val="accent6"/>
                </a:solidFill>
                <a:latin typeface="+mn-lt"/>
              </a:defRPr>
            </a:lvl5pPr>
          </a:lstStyle>
          <a:p>
            <a:pPr lvl="0"/>
            <a:r>
              <a:rPr lang="en-GB"/>
              <a:t>Subheading</a:t>
            </a:r>
          </a:p>
        </p:txBody>
      </p:sp>
      <p:sp>
        <p:nvSpPr>
          <p:cNvPr id="22" name="Rectangle 21">
            <a:extLst>
              <a:ext uri="{FF2B5EF4-FFF2-40B4-BE49-F238E27FC236}">
                <a16:creationId xmlns:a16="http://schemas.microsoft.com/office/drawing/2014/main" id="{51402F92-C298-4C9D-B165-225CA6300EEC}"/>
              </a:ext>
            </a:extLst>
          </p:cNvPr>
          <p:cNvSpPr/>
          <p:nvPr/>
        </p:nvSpPr>
        <p:spPr>
          <a:xfrm>
            <a:off x="0" y="0"/>
            <a:ext cx="3584575" cy="1091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CBRE Vector Logo">
            <a:extLst>
              <a:ext uri="{FF2B5EF4-FFF2-40B4-BE49-F238E27FC236}">
                <a16:creationId xmlns:a16="http://schemas.microsoft.com/office/drawing/2014/main" id="{C56BE5B1-7E5E-48E5-86EF-238C8C404F73}"/>
              </a:ext>
            </a:extLst>
          </p:cNvPr>
          <p:cNvSpPr>
            <a:spLocks noChangeAspect="1"/>
          </p:cNvSpPr>
          <p:nvPr userDrawn="1"/>
        </p:nvSpPr>
        <p:spPr>
          <a:xfrm>
            <a:off x="10755020" y="452438"/>
            <a:ext cx="924217" cy="229615"/>
          </a:xfrm>
          <a:custGeom>
            <a:avLst/>
            <a:gdLst>
              <a:gd name="connsiteX0" fmla="*/ 306851 w 924217"/>
              <a:gd name="connsiteY0" fmla="*/ 137455 h 229615"/>
              <a:gd name="connsiteX1" fmla="*/ 306851 w 924217"/>
              <a:gd name="connsiteY1" fmla="*/ 175680 h 229615"/>
              <a:gd name="connsiteX2" fmla="*/ 383040 w 924217"/>
              <a:gd name="connsiteY2" fmla="*/ 175680 h 229615"/>
              <a:gd name="connsiteX3" fmla="*/ 402153 w 924217"/>
              <a:gd name="connsiteY3" fmla="*/ 156305 h 229615"/>
              <a:gd name="connsiteX4" fmla="*/ 385134 w 924217"/>
              <a:gd name="connsiteY4" fmla="*/ 137455 h 229615"/>
              <a:gd name="connsiteX5" fmla="*/ 384873 w 924217"/>
              <a:gd name="connsiteY5" fmla="*/ 137455 h 229615"/>
              <a:gd name="connsiteX6" fmla="*/ 384611 w 924217"/>
              <a:gd name="connsiteY6" fmla="*/ 137455 h 229615"/>
              <a:gd name="connsiteX7" fmla="*/ 539868 w 924217"/>
              <a:gd name="connsiteY7" fmla="*/ 50530 h 229615"/>
              <a:gd name="connsiteX8" fmla="*/ 539868 w 924217"/>
              <a:gd name="connsiteY8" fmla="*/ 87185 h 229615"/>
              <a:gd name="connsiteX9" fmla="*/ 618414 w 924217"/>
              <a:gd name="connsiteY9" fmla="*/ 87185 h 229615"/>
              <a:gd name="connsiteX10" fmla="*/ 636479 w 924217"/>
              <a:gd name="connsiteY10" fmla="*/ 71476 h 229615"/>
              <a:gd name="connsiteX11" fmla="*/ 636218 w 924217"/>
              <a:gd name="connsiteY11" fmla="*/ 71476 h 229615"/>
              <a:gd name="connsiteX12" fmla="*/ 636218 w 924217"/>
              <a:gd name="connsiteY12" fmla="*/ 66501 h 229615"/>
              <a:gd name="connsiteX13" fmla="*/ 618414 w 924217"/>
              <a:gd name="connsiteY13" fmla="*/ 50530 h 229615"/>
              <a:gd name="connsiteX14" fmla="*/ 306589 w 924217"/>
              <a:gd name="connsiteY14" fmla="*/ 49745 h 229615"/>
              <a:gd name="connsiteX15" fmla="*/ 306851 w 924217"/>
              <a:gd name="connsiteY15" fmla="*/ 87447 h 229615"/>
              <a:gd name="connsiteX16" fmla="*/ 386443 w 924217"/>
              <a:gd name="connsiteY16" fmla="*/ 87185 h 229615"/>
              <a:gd name="connsiteX17" fmla="*/ 402676 w 924217"/>
              <a:gd name="connsiteY17" fmla="*/ 68073 h 229615"/>
              <a:gd name="connsiteX18" fmla="*/ 386967 w 924217"/>
              <a:gd name="connsiteY18" fmla="*/ 49745 h 229615"/>
              <a:gd name="connsiteX19" fmla="*/ 386705 w 924217"/>
              <a:gd name="connsiteY19" fmla="*/ 49745 h 229615"/>
              <a:gd name="connsiteX20" fmla="*/ 386443 w 924217"/>
              <a:gd name="connsiteY20" fmla="*/ 49745 h 229615"/>
              <a:gd name="connsiteX21" fmla="*/ 484363 w 924217"/>
              <a:gd name="connsiteY21" fmla="*/ 261 h 229615"/>
              <a:gd name="connsiteX22" fmla="*/ 606108 w 924217"/>
              <a:gd name="connsiteY22" fmla="*/ 261 h 229615"/>
              <a:gd name="connsiteX23" fmla="*/ 688581 w 924217"/>
              <a:gd name="connsiteY23" fmla="*/ 60479 h 229615"/>
              <a:gd name="connsiteX24" fmla="*/ 654807 w 924217"/>
              <a:gd name="connsiteY24" fmla="*/ 111010 h 229615"/>
              <a:gd name="connsiteX25" fmla="*/ 687796 w 924217"/>
              <a:gd name="connsiteY25" fmla="*/ 155519 h 229615"/>
              <a:gd name="connsiteX26" fmla="*/ 687796 w 924217"/>
              <a:gd name="connsiteY26" fmla="*/ 229614 h 229615"/>
              <a:gd name="connsiteX27" fmla="*/ 633076 w 924217"/>
              <a:gd name="connsiteY27" fmla="*/ 229614 h 229615"/>
              <a:gd name="connsiteX28" fmla="*/ 633076 w 924217"/>
              <a:gd name="connsiteY28" fmla="*/ 169396 h 229615"/>
              <a:gd name="connsiteX29" fmla="*/ 601658 w 924217"/>
              <a:gd name="connsiteY29" fmla="*/ 136930 h 229615"/>
              <a:gd name="connsiteX30" fmla="*/ 540130 w 924217"/>
              <a:gd name="connsiteY30" fmla="*/ 136930 h 229615"/>
              <a:gd name="connsiteX31" fmla="*/ 540130 w 924217"/>
              <a:gd name="connsiteY31" fmla="*/ 229614 h 229615"/>
              <a:gd name="connsiteX32" fmla="*/ 484363 w 924217"/>
              <a:gd name="connsiteY32" fmla="*/ 229614 h 229615"/>
              <a:gd name="connsiteX33" fmla="*/ 722879 w 924217"/>
              <a:gd name="connsiteY33" fmla="*/ 0 h 229615"/>
              <a:gd name="connsiteX34" fmla="*/ 923955 w 924217"/>
              <a:gd name="connsiteY34" fmla="*/ 0 h 229615"/>
              <a:gd name="connsiteX35" fmla="*/ 923955 w 924217"/>
              <a:gd name="connsiteY35" fmla="*/ 50007 h 229615"/>
              <a:gd name="connsiteX36" fmla="*/ 778908 w 924217"/>
              <a:gd name="connsiteY36" fmla="*/ 50007 h 229615"/>
              <a:gd name="connsiteX37" fmla="*/ 779170 w 924217"/>
              <a:gd name="connsiteY37" fmla="*/ 86924 h 229615"/>
              <a:gd name="connsiteX38" fmla="*/ 909817 w 924217"/>
              <a:gd name="connsiteY38" fmla="*/ 86924 h 229615"/>
              <a:gd name="connsiteX39" fmla="*/ 909817 w 924217"/>
              <a:gd name="connsiteY39" fmla="*/ 137193 h 229615"/>
              <a:gd name="connsiteX40" fmla="*/ 779170 w 924217"/>
              <a:gd name="connsiteY40" fmla="*/ 137193 h 229615"/>
              <a:gd name="connsiteX41" fmla="*/ 779170 w 924217"/>
              <a:gd name="connsiteY41" fmla="*/ 177251 h 229615"/>
              <a:gd name="connsiteX42" fmla="*/ 924217 w 924217"/>
              <a:gd name="connsiteY42" fmla="*/ 177251 h 229615"/>
              <a:gd name="connsiteX43" fmla="*/ 924217 w 924217"/>
              <a:gd name="connsiteY43" fmla="*/ 229615 h 229615"/>
              <a:gd name="connsiteX44" fmla="*/ 723141 w 924217"/>
              <a:gd name="connsiteY44" fmla="*/ 229615 h 229615"/>
              <a:gd name="connsiteX45" fmla="*/ 722879 w 924217"/>
              <a:gd name="connsiteY45" fmla="*/ 0 h 229615"/>
              <a:gd name="connsiteX46" fmla="*/ 250298 w 924217"/>
              <a:gd name="connsiteY46" fmla="*/ 0 h 229615"/>
              <a:gd name="connsiteX47" fmla="*/ 369163 w 924217"/>
              <a:gd name="connsiteY47" fmla="*/ 0 h 229615"/>
              <a:gd name="connsiteX48" fmla="*/ 454254 w 924217"/>
              <a:gd name="connsiteY48" fmla="*/ 56815 h 229615"/>
              <a:gd name="connsiteX49" fmla="*/ 419956 w 924217"/>
              <a:gd name="connsiteY49" fmla="*/ 111011 h 229615"/>
              <a:gd name="connsiteX50" fmla="*/ 456611 w 924217"/>
              <a:gd name="connsiteY50" fmla="*/ 163113 h 229615"/>
              <a:gd name="connsiteX51" fmla="*/ 368902 w 924217"/>
              <a:gd name="connsiteY51" fmla="*/ 229091 h 229615"/>
              <a:gd name="connsiteX52" fmla="*/ 250298 w 924217"/>
              <a:gd name="connsiteY52" fmla="*/ 229091 h 229615"/>
              <a:gd name="connsiteX53" fmla="*/ 250298 w 924217"/>
              <a:gd name="connsiteY53" fmla="*/ 0 h 229615"/>
              <a:gd name="connsiteX54" fmla="*/ 213644 w 924217"/>
              <a:gd name="connsiteY54" fmla="*/ 0 h 229615"/>
              <a:gd name="connsiteX55" fmla="*/ 215476 w 924217"/>
              <a:gd name="connsiteY55" fmla="*/ 0 h 229615"/>
              <a:gd name="connsiteX56" fmla="*/ 215215 w 924217"/>
              <a:gd name="connsiteY56" fmla="*/ 52102 h 229615"/>
              <a:gd name="connsiteX57" fmla="*/ 213382 w 924217"/>
              <a:gd name="connsiteY57" fmla="*/ 52102 h 229615"/>
              <a:gd name="connsiteX58" fmla="*/ 109702 w 924217"/>
              <a:gd name="connsiteY58" fmla="*/ 53149 h 229615"/>
              <a:gd name="connsiteX59" fmla="*/ 54720 w 924217"/>
              <a:gd name="connsiteY59" fmla="*/ 112582 h 229615"/>
              <a:gd name="connsiteX60" fmla="*/ 111535 w 924217"/>
              <a:gd name="connsiteY60" fmla="*/ 173062 h 229615"/>
              <a:gd name="connsiteX61" fmla="*/ 213905 w 924217"/>
              <a:gd name="connsiteY61" fmla="*/ 174109 h 229615"/>
              <a:gd name="connsiteX62" fmla="*/ 216000 w 924217"/>
              <a:gd name="connsiteY62" fmla="*/ 174109 h 229615"/>
              <a:gd name="connsiteX63" fmla="*/ 215738 w 924217"/>
              <a:gd name="connsiteY63" fmla="*/ 229353 h 229615"/>
              <a:gd name="connsiteX64" fmla="*/ 213905 w 924217"/>
              <a:gd name="connsiteY64" fmla="*/ 229353 h 229615"/>
              <a:gd name="connsiteX65" fmla="*/ 145309 w 924217"/>
              <a:gd name="connsiteY65" fmla="*/ 229353 h 229615"/>
              <a:gd name="connsiteX66" fmla="*/ 126720 w 924217"/>
              <a:gd name="connsiteY66" fmla="*/ 229091 h 229615"/>
              <a:gd name="connsiteX67" fmla="*/ 64407 w 924217"/>
              <a:gd name="connsiteY67" fmla="*/ 216524 h 229615"/>
              <a:gd name="connsiteX68" fmla="*/ 1833 w 924217"/>
              <a:gd name="connsiteY68" fmla="*/ 137455 h 229615"/>
              <a:gd name="connsiteX69" fmla="*/ 0 w 924217"/>
              <a:gd name="connsiteY69" fmla="*/ 114415 h 229615"/>
              <a:gd name="connsiteX70" fmla="*/ 22516 w 924217"/>
              <a:gd name="connsiteY70" fmla="*/ 46080 h 229615"/>
              <a:gd name="connsiteX71" fmla="*/ 67811 w 924217"/>
              <a:gd name="connsiteY71" fmla="*/ 9687 h 229615"/>
              <a:gd name="connsiteX72" fmla="*/ 115462 w 924217"/>
              <a:gd name="connsiteY72" fmla="*/ 262 h 22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24217" h="229615">
                <a:moveTo>
                  <a:pt x="306851" y="137455"/>
                </a:moveTo>
                <a:lnTo>
                  <a:pt x="306851" y="175680"/>
                </a:lnTo>
                <a:lnTo>
                  <a:pt x="383040" y="175680"/>
                </a:lnTo>
                <a:cubicBezTo>
                  <a:pt x="393251" y="175680"/>
                  <a:pt x="402153" y="166778"/>
                  <a:pt x="402153" y="156305"/>
                </a:cubicBezTo>
                <a:cubicBezTo>
                  <a:pt x="402153" y="146618"/>
                  <a:pt x="394822" y="138502"/>
                  <a:pt x="385134" y="137455"/>
                </a:cubicBezTo>
                <a:lnTo>
                  <a:pt x="384873" y="137455"/>
                </a:lnTo>
                <a:lnTo>
                  <a:pt x="384611" y="137455"/>
                </a:lnTo>
                <a:close/>
                <a:moveTo>
                  <a:pt x="539868" y="50530"/>
                </a:moveTo>
                <a:lnTo>
                  <a:pt x="539868" y="87185"/>
                </a:lnTo>
                <a:lnTo>
                  <a:pt x="618414" y="87185"/>
                </a:lnTo>
                <a:cubicBezTo>
                  <a:pt x="627839" y="87185"/>
                  <a:pt x="635432" y="79068"/>
                  <a:pt x="636479" y="71476"/>
                </a:cubicBezTo>
                <a:lnTo>
                  <a:pt x="636218" y="71476"/>
                </a:lnTo>
                <a:lnTo>
                  <a:pt x="636218" y="66501"/>
                </a:lnTo>
                <a:cubicBezTo>
                  <a:pt x="635170" y="57337"/>
                  <a:pt x="627839" y="50530"/>
                  <a:pt x="618414" y="50530"/>
                </a:cubicBezTo>
                <a:close/>
                <a:moveTo>
                  <a:pt x="306589" y="49745"/>
                </a:moveTo>
                <a:lnTo>
                  <a:pt x="306851" y="87447"/>
                </a:lnTo>
                <a:lnTo>
                  <a:pt x="386443" y="87185"/>
                </a:lnTo>
                <a:cubicBezTo>
                  <a:pt x="395607" y="85876"/>
                  <a:pt x="402676" y="77236"/>
                  <a:pt x="402676" y="68073"/>
                </a:cubicBezTo>
                <a:cubicBezTo>
                  <a:pt x="402676" y="58909"/>
                  <a:pt x="396131" y="51316"/>
                  <a:pt x="386967" y="49745"/>
                </a:cubicBezTo>
                <a:lnTo>
                  <a:pt x="386705" y="49745"/>
                </a:lnTo>
                <a:lnTo>
                  <a:pt x="386443" y="49745"/>
                </a:lnTo>
                <a:close/>
                <a:moveTo>
                  <a:pt x="484363" y="261"/>
                </a:moveTo>
                <a:lnTo>
                  <a:pt x="606108" y="261"/>
                </a:lnTo>
                <a:cubicBezTo>
                  <a:pt x="645643" y="261"/>
                  <a:pt x="688319" y="10734"/>
                  <a:pt x="688581" y="60479"/>
                </a:cubicBezTo>
                <a:cubicBezTo>
                  <a:pt x="688581" y="100799"/>
                  <a:pt x="654807" y="111010"/>
                  <a:pt x="654807" y="111010"/>
                </a:cubicBezTo>
                <a:cubicBezTo>
                  <a:pt x="654807" y="111010"/>
                  <a:pt x="687796" y="121221"/>
                  <a:pt x="687796" y="155519"/>
                </a:cubicBezTo>
                <a:lnTo>
                  <a:pt x="687796" y="229614"/>
                </a:lnTo>
                <a:lnTo>
                  <a:pt x="633076" y="229614"/>
                </a:lnTo>
                <a:lnTo>
                  <a:pt x="633076" y="169396"/>
                </a:lnTo>
                <a:cubicBezTo>
                  <a:pt x="633076" y="151592"/>
                  <a:pt x="619199" y="137192"/>
                  <a:pt x="601658" y="136930"/>
                </a:cubicBezTo>
                <a:cubicBezTo>
                  <a:pt x="601658" y="136930"/>
                  <a:pt x="540130" y="136930"/>
                  <a:pt x="540130" y="136930"/>
                </a:cubicBezTo>
                <a:cubicBezTo>
                  <a:pt x="540130" y="136930"/>
                  <a:pt x="540130" y="223068"/>
                  <a:pt x="540130" y="229614"/>
                </a:cubicBezTo>
                <a:cubicBezTo>
                  <a:pt x="534370" y="229614"/>
                  <a:pt x="484363" y="229614"/>
                  <a:pt x="484363" y="229614"/>
                </a:cubicBezTo>
                <a:close/>
                <a:moveTo>
                  <a:pt x="722879" y="0"/>
                </a:moveTo>
                <a:lnTo>
                  <a:pt x="923955" y="0"/>
                </a:lnTo>
                <a:lnTo>
                  <a:pt x="923955" y="50007"/>
                </a:lnTo>
                <a:lnTo>
                  <a:pt x="778908" y="50007"/>
                </a:lnTo>
                <a:lnTo>
                  <a:pt x="779170" y="86924"/>
                </a:lnTo>
                <a:lnTo>
                  <a:pt x="909817" y="86924"/>
                </a:lnTo>
                <a:lnTo>
                  <a:pt x="909817" y="137193"/>
                </a:lnTo>
                <a:lnTo>
                  <a:pt x="779170" y="137193"/>
                </a:lnTo>
                <a:lnTo>
                  <a:pt x="779170" y="177251"/>
                </a:lnTo>
                <a:lnTo>
                  <a:pt x="924217" y="177251"/>
                </a:lnTo>
                <a:lnTo>
                  <a:pt x="924217" y="229615"/>
                </a:lnTo>
                <a:cubicBezTo>
                  <a:pt x="924217" y="229615"/>
                  <a:pt x="729948" y="229615"/>
                  <a:pt x="723141" y="229615"/>
                </a:cubicBezTo>
                <a:cubicBezTo>
                  <a:pt x="722879" y="223069"/>
                  <a:pt x="722879" y="0"/>
                  <a:pt x="722879" y="0"/>
                </a:cubicBezTo>
                <a:close/>
                <a:moveTo>
                  <a:pt x="250298" y="0"/>
                </a:moveTo>
                <a:lnTo>
                  <a:pt x="369163" y="0"/>
                </a:lnTo>
                <a:cubicBezTo>
                  <a:pt x="432785" y="0"/>
                  <a:pt x="454516" y="26444"/>
                  <a:pt x="454254" y="56815"/>
                </a:cubicBezTo>
                <a:cubicBezTo>
                  <a:pt x="454516" y="76713"/>
                  <a:pt x="449280" y="101324"/>
                  <a:pt x="419956" y="111011"/>
                </a:cubicBezTo>
                <a:cubicBezTo>
                  <a:pt x="419956" y="111011"/>
                  <a:pt x="456611" y="123316"/>
                  <a:pt x="456611" y="163113"/>
                </a:cubicBezTo>
                <a:cubicBezTo>
                  <a:pt x="456611" y="196102"/>
                  <a:pt x="433047" y="229091"/>
                  <a:pt x="368902" y="229091"/>
                </a:cubicBezTo>
                <a:cubicBezTo>
                  <a:pt x="368902" y="229091"/>
                  <a:pt x="256843" y="229091"/>
                  <a:pt x="250298" y="229091"/>
                </a:cubicBezTo>
                <a:cubicBezTo>
                  <a:pt x="250298" y="222545"/>
                  <a:pt x="250298" y="0"/>
                  <a:pt x="250298" y="0"/>
                </a:cubicBezTo>
                <a:close/>
                <a:moveTo>
                  <a:pt x="213644" y="0"/>
                </a:moveTo>
                <a:lnTo>
                  <a:pt x="215476" y="0"/>
                </a:lnTo>
                <a:lnTo>
                  <a:pt x="215215" y="52102"/>
                </a:lnTo>
                <a:lnTo>
                  <a:pt x="213382" y="52102"/>
                </a:lnTo>
                <a:cubicBezTo>
                  <a:pt x="212596" y="52102"/>
                  <a:pt x="125673" y="51055"/>
                  <a:pt x="109702" y="53149"/>
                </a:cubicBezTo>
                <a:cubicBezTo>
                  <a:pt x="76189" y="57600"/>
                  <a:pt x="54720" y="80902"/>
                  <a:pt x="54720" y="112582"/>
                </a:cubicBezTo>
                <a:cubicBezTo>
                  <a:pt x="54720" y="137978"/>
                  <a:pt x="69644" y="168873"/>
                  <a:pt x="111535" y="173062"/>
                </a:cubicBezTo>
                <a:cubicBezTo>
                  <a:pt x="137716" y="175680"/>
                  <a:pt x="213120" y="174109"/>
                  <a:pt x="213905" y="174109"/>
                </a:cubicBezTo>
                <a:lnTo>
                  <a:pt x="216000" y="174109"/>
                </a:lnTo>
                <a:lnTo>
                  <a:pt x="215738" y="229353"/>
                </a:lnTo>
                <a:lnTo>
                  <a:pt x="213905" y="229353"/>
                </a:lnTo>
                <a:cubicBezTo>
                  <a:pt x="213905" y="229353"/>
                  <a:pt x="145309" y="229353"/>
                  <a:pt x="145309" y="229353"/>
                </a:cubicBezTo>
                <a:cubicBezTo>
                  <a:pt x="145309" y="229353"/>
                  <a:pt x="126720" y="229091"/>
                  <a:pt x="126720" y="229091"/>
                </a:cubicBezTo>
                <a:cubicBezTo>
                  <a:pt x="92422" y="227258"/>
                  <a:pt x="75404" y="221498"/>
                  <a:pt x="64407" y="216524"/>
                </a:cubicBezTo>
                <a:cubicBezTo>
                  <a:pt x="31680" y="201076"/>
                  <a:pt x="8902" y="172276"/>
                  <a:pt x="1833" y="137455"/>
                </a:cubicBezTo>
                <a:cubicBezTo>
                  <a:pt x="524" y="129862"/>
                  <a:pt x="0" y="122269"/>
                  <a:pt x="0" y="114415"/>
                </a:cubicBezTo>
                <a:cubicBezTo>
                  <a:pt x="0" y="89542"/>
                  <a:pt x="7855" y="65978"/>
                  <a:pt x="22516" y="46080"/>
                </a:cubicBezTo>
                <a:cubicBezTo>
                  <a:pt x="34298" y="30371"/>
                  <a:pt x="49745" y="17804"/>
                  <a:pt x="67811" y="9687"/>
                </a:cubicBezTo>
                <a:cubicBezTo>
                  <a:pt x="86400" y="2095"/>
                  <a:pt x="104465" y="1047"/>
                  <a:pt x="115462" y="262"/>
                </a:cubicBezTo>
                <a:close/>
              </a:path>
            </a:pathLst>
          </a:custGeom>
          <a:solidFill>
            <a:srgbClr val="003F2D"/>
          </a:solidFill>
          <a:ln w="2617" cap="flat">
            <a:noFill/>
            <a:prstDash val="solid"/>
            <a:miter/>
          </a:ln>
        </p:spPr>
        <p:txBody>
          <a:bodyPr wrap="square" rtlCol="0" anchor="ctr">
            <a:noAutofit/>
          </a:bodyPr>
          <a:lstStyle/>
          <a:p>
            <a:endParaRPr lang="en-GB" dirty="0"/>
          </a:p>
        </p:txBody>
      </p:sp>
    </p:spTree>
    <p:extLst>
      <p:ext uri="{BB962C8B-B14F-4D97-AF65-F5344CB8AC3E}">
        <p14:creationId xmlns:p14="http://schemas.microsoft.com/office/powerpoint/2010/main" val="3511121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250" fill="hold"/>
                                        <p:tgtEl>
                                          <p:spTgt spid="7"/>
                                        </p:tgtEl>
                                        <p:attrNameLst>
                                          <p:attrName>ppt_x</p:attrName>
                                        </p:attrNameLst>
                                      </p:cBhvr>
                                      <p:tavLst>
                                        <p:tav tm="0">
                                          <p:val>
                                            <p:strVal val="0-#ppt_w/2"/>
                                          </p:val>
                                        </p:tav>
                                        <p:tav tm="100000">
                                          <p:val>
                                            <p:strVal val="#ppt_x"/>
                                          </p:val>
                                        </p:tav>
                                      </p:tavLst>
                                    </p:anim>
                                    <p:anim calcmode="lin" valueType="num">
                                      <p:cBhvr additive="base">
                                        <p:cTn id="8" dur="22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rofile">
    <p:spTree>
      <p:nvGrpSpPr>
        <p:cNvPr id="1" name=""/>
        <p:cNvGrpSpPr/>
        <p:nvPr/>
      </p:nvGrpSpPr>
      <p:grpSpPr>
        <a:xfrm>
          <a:off x="0" y="0"/>
          <a:ext cx="0" cy="0"/>
          <a:chOff x="0" y="0"/>
          <a:chExt cx="0" cy="0"/>
        </a:xfrm>
      </p:grpSpPr>
      <p:sp>
        <p:nvSpPr>
          <p:cNvPr id="24" name="Content Placeholder 4">
            <a:extLst>
              <a:ext uri="{FF2B5EF4-FFF2-40B4-BE49-F238E27FC236}">
                <a16:creationId xmlns:a16="http://schemas.microsoft.com/office/drawing/2014/main" id="{3BF08F72-5DA5-4CDC-BD31-56B19D41274D}"/>
              </a:ext>
            </a:extLst>
          </p:cNvPr>
          <p:cNvSpPr>
            <a:spLocks noGrp="1"/>
          </p:cNvSpPr>
          <p:nvPr>
            <p:ph sz="quarter" idx="20"/>
          </p:nvPr>
        </p:nvSpPr>
        <p:spPr>
          <a:xfrm>
            <a:off x="9731375" y="4730749"/>
            <a:ext cx="1949450" cy="1673225"/>
          </a:xfrm>
          <a:solidFill>
            <a:srgbClr val="CAD1D3">
              <a:alpha val="50000"/>
            </a:srgbClr>
          </a:solidFill>
        </p:spPr>
        <p:txBody>
          <a:bodyPr lIns="91440" tIns="54864" rIns="91440"/>
          <a:lstStyle>
            <a:lvl1pPr>
              <a:spcBef>
                <a:spcPts val="900"/>
              </a:spcBef>
              <a:spcAft>
                <a:spcPts val="0"/>
              </a:spcAft>
              <a:defRPr sz="1200">
                <a:latin typeface="Calibre Semibold" panose="020B0703030202060203" pitchFamily="34" charset="0"/>
              </a:defRPr>
            </a:lvl1pPr>
            <a:lvl2pPr>
              <a:spcBef>
                <a:spcPts val="600"/>
              </a:spcBef>
              <a:spcAft>
                <a:spcPts val="300"/>
              </a:spcAft>
              <a:defRPr sz="1200">
                <a:latin typeface="+mn-lt"/>
              </a:defRPr>
            </a:lvl2pPr>
            <a:lvl3pPr marL="171450" indent="-171450">
              <a:spcBef>
                <a:spcPts val="0"/>
              </a:spcBef>
              <a:buFont typeface="Financier Display" panose="02020503070506060203" pitchFamily="18" charset="0"/>
              <a:buChar char="—"/>
              <a:defRPr>
                <a:latin typeface="Calibre Light" panose="020B0303030202060203" pitchFamily="34" charset="0"/>
              </a:defRPr>
            </a:lvl3pPr>
            <a:lvl4pPr marL="342900" indent="-171450">
              <a:spcBef>
                <a:spcPts val="0"/>
              </a:spcBef>
              <a:buFont typeface="Financier Display" panose="02020503070506060203" pitchFamily="18" charset="0"/>
              <a:buChar char="—"/>
              <a:defRPr>
                <a:latin typeface="Calibre Light" panose="020B030303020206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2" name="Content Placeholder 3">
            <a:extLst>
              <a:ext uri="{FF2B5EF4-FFF2-40B4-BE49-F238E27FC236}">
                <a16:creationId xmlns:a16="http://schemas.microsoft.com/office/drawing/2014/main" id="{FF7615E5-57D3-4615-A52B-F47F9839A106}"/>
              </a:ext>
            </a:extLst>
          </p:cNvPr>
          <p:cNvSpPr>
            <a:spLocks noGrp="1"/>
          </p:cNvSpPr>
          <p:nvPr>
            <p:ph sz="quarter" idx="19"/>
          </p:nvPr>
        </p:nvSpPr>
        <p:spPr>
          <a:xfrm>
            <a:off x="9731375" y="1601787"/>
            <a:ext cx="1949450" cy="3028951"/>
          </a:xfrm>
          <a:solidFill>
            <a:srgbClr val="C0D4CB"/>
          </a:solidFill>
        </p:spPr>
        <p:txBody>
          <a:bodyPr lIns="91440" tIns="54864" rIns="91440"/>
          <a:lstStyle>
            <a:lvl1pPr>
              <a:spcBef>
                <a:spcPts val="900"/>
              </a:spcBef>
              <a:spcAft>
                <a:spcPts val="0"/>
              </a:spcAft>
              <a:defRPr sz="1200">
                <a:solidFill>
                  <a:srgbClr val="012A2D"/>
                </a:solidFill>
                <a:latin typeface="Calibre Semibold" panose="020B0703030202060203" pitchFamily="34" charset="0"/>
              </a:defRPr>
            </a:lvl1pPr>
            <a:lvl2pPr>
              <a:spcBef>
                <a:spcPts val="600"/>
              </a:spcBef>
              <a:spcAft>
                <a:spcPts val="300"/>
              </a:spcAft>
              <a:defRPr sz="1200">
                <a:solidFill>
                  <a:srgbClr val="012A2D"/>
                </a:solidFill>
                <a:latin typeface="+mn-lt"/>
              </a:defRPr>
            </a:lvl2pPr>
            <a:lvl3pPr marL="171450" indent="-171450">
              <a:spcBef>
                <a:spcPts val="0"/>
              </a:spcBef>
              <a:buFont typeface="Financier Display" panose="02020503070506060203" pitchFamily="18" charset="0"/>
              <a:buChar char="—"/>
              <a:defRPr>
                <a:solidFill>
                  <a:srgbClr val="012A2D"/>
                </a:solidFill>
                <a:latin typeface="Calibre Light" panose="020B0303030202060203" pitchFamily="34" charset="0"/>
              </a:defRPr>
            </a:lvl3pPr>
            <a:lvl4pPr marL="342900" indent="-171450">
              <a:spcBef>
                <a:spcPts val="0"/>
              </a:spcBef>
              <a:buFont typeface="Financier Display" panose="02020503070506060203" pitchFamily="18" charset="0"/>
              <a:buChar char="—"/>
              <a:defRPr>
                <a:solidFill>
                  <a:srgbClr val="012A2D"/>
                </a:solidFill>
                <a:latin typeface="Calibre Light" panose="020B030303020206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20" name="Content Placeholder 2">
            <a:extLst>
              <a:ext uri="{FF2B5EF4-FFF2-40B4-BE49-F238E27FC236}">
                <a16:creationId xmlns:a16="http://schemas.microsoft.com/office/drawing/2014/main" id="{C3F90BDD-7ED1-4CD6-81EA-BFD58FE03CBD}"/>
              </a:ext>
            </a:extLst>
          </p:cNvPr>
          <p:cNvSpPr>
            <a:spLocks noGrp="1"/>
          </p:cNvSpPr>
          <p:nvPr>
            <p:ph sz="quarter" idx="18"/>
          </p:nvPr>
        </p:nvSpPr>
        <p:spPr>
          <a:xfrm>
            <a:off x="5119688" y="4105275"/>
            <a:ext cx="4511675" cy="2276475"/>
          </a:xfrm>
        </p:spPr>
        <p:txBody>
          <a:bodyPr/>
          <a:lstStyle>
            <a:lvl1pPr>
              <a:spcBef>
                <a:spcPts val="900"/>
              </a:spcBef>
              <a:spcAft>
                <a:spcPts val="0"/>
              </a:spcAft>
              <a:defRPr sz="1200">
                <a:latin typeface="Calibre Semibold" panose="020B0703030202060203" pitchFamily="34" charset="0"/>
              </a:defRPr>
            </a:lvl1pPr>
            <a:lvl2pPr>
              <a:spcBef>
                <a:spcPts val="600"/>
              </a:spcBef>
              <a:spcAft>
                <a:spcPts val="300"/>
              </a:spcAft>
              <a:defRPr sz="1200">
                <a:latin typeface="+mn-lt"/>
              </a:defRPr>
            </a:lvl2pPr>
            <a:lvl3pPr marL="171450" indent="-171450">
              <a:spcBef>
                <a:spcPts val="0"/>
              </a:spcBef>
              <a:buFont typeface="Financier Display" panose="02020503070506060203" pitchFamily="18" charset="0"/>
              <a:buChar char="—"/>
              <a:defRPr>
                <a:latin typeface="Calibre Light" panose="020B0303030202060203" pitchFamily="34" charset="0"/>
              </a:defRPr>
            </a:lvl3pPr>
            <a:lvl4pPr marL="342900" indent="-171450">
              <a:spcBef>
                <a:spcPts val="0"/>
              </a:spcBef>
              <a:buFont typeface="Financier Display" panose="02020503070506060203" pitchFamily="18" charset="0"/>
              <a:buChar char="—"/>
              <a:defRPr>
                <a:latin typeface="Calibre Light" panose="020B030303020206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6" name="Table Placeholder 1">
            <a:extLst>
              <a:ext uri="{FF2B5EF4-FFF2-40B4-BE49-F238E27FC236}">
                <a16:creationId xmlns:a16="http://schemas.microsoft.com/office/drawing/2014/main" id="{146D3712-06DF-4D30-8F2A-CC5D2D7B0B37}"/>
              </a:ext>
            </a:extLst>
          </p:cNvPr>
          <p:cNvSpPr>
            <a:spLocks noGrp="1"/>
          </p:cNvSpPr>
          <p:nvPr>
            <p:ph type="tbl" sz="quarter" idx="17" hasCustomPrompt="1"/>
          </p:nvPr>
        </p:nvSpPr>
        <p:spPr>
          <a:xfrm>
            <a:off x="5119688" y="2852738"/>
            <a:ext cx="4511675" cy="1149350"/>
          </a:xfrm>
        </p:spPr>
        <p:txBody>
          <a:bodyPr/>
          <a:lstStyle>
            <a:lvl1pPr>
              <a:defRPr sz="1200"/>
            </a:lvl1pPr>
          </a:lstStyle>
          <a:p>
            <a:r>
              <a:rPr lang="en-GB" dirty="0"/>
              <a:t>Insert table here as needed</a:t>
            </a:r>
          </a:p>
        </p:txBody>
      </p:sp>
      <p:sp>
        <p:nvSpPr>
          <p:cNvPr id="8" name="Content Placeholder 1">
            <a:extLst>
              <a:ext uri="{FF2B5EF4-FFF2-40B4-BE49-F238E27FC236}">
                <a16:creationId xmlns:a16="http://schemas.microsoft.com/office/drawing/2014/main" id="{26CBCABB-0850-4F03-9016-D2536E7E069E}"/>
              </a:ext>
            </a:extLst>
          </p:cNvPr>
          <p:cNvSpPr>
            <a:spLocks noGrp="1"/>
          </p:cNvSpPr>
          <p:nvPr>
            <p:ph sz="quarter" idx="16"/>
          </p:nvPr>
        </p:nvSpPr>
        <p:spPr>
          <a:xfrm>
            <a:off x="5119688" y="1601788"/>
            <a:ext cx="4511675" cy="1149350"/>
          </a:xfrm>
        </p:spPr>
        <p:txBody>
          <a:bodyPr/>
          <a:lstStyle>
            <a:lvl1pPr>
              <a:spcBef>
                <a:spcPts val="900"/>
              </a:spcBef>
              <a:spcAft>
                <a:spcPts val="0"/>
              </a:spcAft>
              <a:defRPr sz="1200">
                <a:latin typeface="Calibre Semibold" panose="020B0703030202060203" pitchFamily="34" charset="0"/>
              </a:defRPr>
            </a:lvl1pPr>
            <a:lvl2pPr>
              <a:spcBef>
                <a:spcPts val="600"/>
              </a:spcBef>
              <a:spcAft>
                <a:spcPts val="300"/>
              </a:spcAft>
              <a:defRPr sz="1200">
                <a:latin typeface="+mn-lt"/>
              </a:defRPr>
            </a:lvl2pPr>
            <a:lvl3pPr marL="171450" indent="-171450">
              <a:spcBef>
                <a:spcPts val="0"/>
              </a:spcBef>
              <a:buFont typeface="Financier Display" panose="02020503070506060203" pitchFamily="18" charset="0"/>
              <a:buChar char="—"/>
              <a:defRPr>
                <a:latin typeface="Calibre Light" panose="020B0303030202060203" pitchFamily="34" charset="0"/>
              </a:defRPr>
            </a:lvl3pPr>
            <a:lvl4pPr marL="342900" indent="-171450">
              <a:spcBef>
                <a:spcPts val="0"/>
              </a:spcBef>
              <a:buFont typeface="Financier Display" panose="02020503070506060203" pitchFamily="18" charset="0"/>
              <a:buChar char="—"/>
              <a:defRPr>
                <a:latin typeface="Calibre Light" panose="020B0303030202060203" pitchFamily="34" charset="0"/>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Speaker Placeholder 1">
            <a:extLst>
              <a:ext uri="{FF2B5EF4-FFF2-40B4-BE49-F238E27FC236}">
                <a16:creationId xmlns:a16="http://schemas.microsoft.com/office/drawing/2014/main" id="{1580652B-9E6F-4260-9DEC-3A38C7F88E83}"/>
              </a:ext>
            </a:extLst>
          </p:cNvPr>
          <p:cNvSpPr>
            <a:spLocks noGrp="1"/>
          </p:cNvSpPr>
          <p:nvPr>
            <p:ph sz="quarter" idx="15" hasCustomPrompt="1"/>
          </p:nvPr>
        </p:nvSpPr>
        <p:spPr>
          <a:xfrm>
            <a:off x="3584575" y="3478213"/>
            <a:ext cx="1435100" cy="2903354"/>
          </a:xfrm>
        </p:spPr>
        <p:txBody>
          <a:bodyPr/>
          <a:lstStyle>
            <a:lvl1pPr>
              <a:spcBef>
                <a:spcPts val="0"/>
              </a:spcBef>
              <a:spcAft>
                <a:spcPts val="0"/>
              </a:spcAft>
              <a:defRPr sz="1200">
                <a:latin typeface="Calibre Semibold" panose="020B0703030202060203" pitchFamily="34" charset="0"/>
              </a:defRPr>
            </a:lvl1pPr>
            <a:lvl2pPr>
              <a:spcAft>
                <a:spcPts val="300"/>
              </a:spcAft>
              <a:defRPr sz="1200">
                <a:latin typeface="+mn-lt"/>
              </a:defRPr>
            </a:lvl2pPr>
            <a:lvl3pPr>
              <a:spcBef>
                <a:spcPts val="0"/>
              </a:spcBef>
              <a:spcAft>
                <a:spcPts val="0"/>
              </a:spcAft>
              <a:defRPr sz="1200">
                <a:latin typeface="Calibre Light" panose="020B0303030202060203" pitchFamily="34" charset="0"/>
              </a:defRPr>
            </a:lvl3pPr>
            <a:lvl4pPr>
              <a:defRPr sz="1050">
                <a:latin typeface="Calibre Light" panose="020B0303030202060203" pitchFamily="34" charset="0"/>
              </a:defRPr>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5" name="Headshot Placeholder 1">
            <a:extLst>
              <a:ext uri="{FF2B5EF4-FFF2-40B4-BE49-F238E27FC236}">
                <a16:creationId xmlns:a16="http://schemas.microsoft.com/office/drawing/2014/main" id="{D1623E2B-E1E3-403F-AC41-B00361F97368}"/>
              </a:ext>
            </a:extLst>
          </p:cNvPr>
          <p:cNvSpPr>
            <a:spLocks noGrp="1" noChangeAspect="1"/>
          </p:cNvSpPr>
          <p:nvPr>
            <p:ph type="pic" sz="quarter" idx="12" hasCustomPrompt="1"/>
          </p:nvPr>
        </p:nvSpPr>
        <p:spPr>
          <a:xfrm>
            <a:off x="3584575" y="1601788"/>
            <a:ext cx="1435100" cy="1676148"/>
          </a:xfrm>
          <a:solidFill>
            <a:srgbClr val="F6F6F6"/>
          </a:solidFill>
        </p:spPr>
        <p:txBody>
          <a:bodyPr rIns="0" anchor="ctr" anchorCtr="0"/>
          <a:lstStyle>
            <a:lvl1pPr algn="ctr">
              <a:defRPr sz="1600"/>
            </a:lvl1pPr>
          </a:lstStyle>
          <a:p>
            <a:r>
              <a:rPr lang="en-GB" dirty="0"/>
              <a:t>Click here to insert headshot</a:t>
            </a:r>
          </a:p>
        </p:txBody>
      </p:sp>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p:txBody>
          <a:bodyPr/>
          <a:lstStyle/>
          <a:p>
            <a:r>
              <a:rPr lang="en-GB"/>
              <a:t>Click to edit Master title style</a:t>
            </a:r>
          </a:p>
        </p:txBody>
      </p: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8902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2851983"/>
            <a:ext cx="1947672" cy="35519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Content Placeholder 2">
            <a:extLst>
              <a:ext uri="{FF2B5EF4-FFF2-40B4-BE49-F238E27FC236}">
                <a16:creationId xmlns:a16="http://schemas.microsoft.com/office/drawing/2014/main" id="{062DCBD7-5BF0-4732-A229-4209A8A6C7F1}"/>
              </a:ext>
            </a:extLst>
          </p:cNvPr>
          <p:cNvSpPr>
            <a:spLocks noGrp="1"/>
          </p:cNvSpPr>
          <p:nvPr>
            <p:ph sz="quarter" idx="13"/>
          </p:nvPr>
        </p:nvSpPr>
        <p:spPr>
          <a:xfrm>
            <a:off x="5631346" y="2851983"/>
            <a:ext cx="1947672" cy="35519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Content Placeholder 3">
            <a:extLst>
              <a:ext uri="{FF2B5EF4-FFF2-40B4-BE49-F238E27FC236}">
                <a16:creationId xmlns:a16="http://schemas.microsoft.com/office/drawing/2014/main" id="{9EADD532-B75A-4258-AC29-C8D025BF20A7}"/>
              </a:ext>
            </a:extLst>
          </p:cNvPr>
          <p:cNvSpPr>
            <a:spLocks noGrp="1"/>
          </p:cNvSpPr>
          <p:nvPr>
            <p:ph sz="quarter" idx="14"/>
          </p:nvPr>
        </p:nvSpPr>
        <p:spPr>
          <a:xfrm>
            <a:off x="7678244" y="2851983"/>
            <a:ext cx="1947672" cy="35519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Content Placeholder 4">
            <a:extLst>
              <a:ext uri="{FF2B5EF4-FFF2-40B4-BE49-F238E27FC236}">
                <a16:creationId xmlns:a16="http://schemas.microsoft.com/office/drawing/2014/main" id="{24BB281D-39A9-4C36-9770-9CE2852F74CE}"/>
              </a:ext>
            </a:extLst>
          </p:cNvPr>
          <p:cNvSpPr>
            <a:spLocks noGrp="1"/>
          </p:cNvSpPr>
          <p:nvPr>
            <p:ph sz="quarter" idx="15"/>
          </p:nvPr>
        </p:nvSpPr>
        <p:spPr>
          <a:xfrm>
            <a:off x="9725143" y="2851983"/>
            <a:ext cx="1947672" cy="355199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4220893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Column + 2 Subheadings">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1601787"/>
            <a:ext cx="1947672" cy="48021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3584447" y="914400"/>
            <a:ext cx="3986633"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9" name="Content Placeholder 2">
            <a:extLst>
              <a:ext uri="{FF2B5EF4-FFF2-40B4-BE49-F238E27FC236}">
                <a16:creationId xmlns:a16="http://schemas.microsoft.com/office/drawing/2014/main" id="{42EA3364-699E-4FFA-BD42-6EF5EA1F1F61}"/>
              </a:ext>
            </a:extLst>
          </p:cNvPr>
          <p:cNvSpPr>
            <a:spLocks noGrp="1"/>
          </p:cNvSpPr>
          <p:nvPr>
            <p:ph sz="quarter" idx="14"/>
          </p:nvPr>
        </p:nvSpPr>
        <p:spPr>
          <a:xfrm>
            <a:off x="5635245" y="1601787"/>
            <a:ext cx="1947672" cy="48021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Subheading Placeholder 2">
            <a:extLst>
              <a:ext uri="{FF2B5EF4-FFF2-40B4-BE49-F238E27FC236}">
                <a16:creationId xmlns:a16="http://schemas.microsoft.com/office/drawing/2014/main" id="{6FE6ECDB-AF0B-4645-9EF8-7E58A711A6A0}"/>
              </a:ext>
            </a:extLst>
          </p:cNvPr>
          <p:cNvSpPr>
            <a:spLocks noGrp="1"/>
          </p:cNvSpPr>
          <p:nvPr>
            <p:ph type="body" sz="quarter" idx="15" hasCustomPrompt="1"/>
          </p:nvPr>
        </p:nvSpPr>
        <p:spPr>
          <a:xfrm>
            <a:off x="7683499" y="914400"/>
            <a:ext cx="3986784"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10" name="Content Placeholder 3">
            <a:extLst>
              <a:ext uri="{FF2B5EF4-FFF2-40B4-BE49-F238E27FC236}">
                <a16:creationId xmlns:a16="http://schemas.microsoft.com/office/drawing/2014/main" id="{BB682FBA-E10C-49A4-BDD6-259592864FE4}"/>
              </a:ext>
            </a:extLst>
          </p:cNvPr>
          <p:cNvSpPr>
            <a:spLocks noGrp="1"/>
          </p:cNvSpPr>
          <p:nvPr>
            <p:ph sz="quarter" idx="16"/>
          </p:nvPr>
        </p:nvSpPr>
        <p:spPr>
          <a:xfrm>
            <a:off x="7683500" y="1601787"/>
            <a:ext cx="1947672" cy="480218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4">
            <a:extLst>
              <a:ext uri="{FF2B5EF4-FFF2-40B4-BE49-F238E27FC236}">
                <a16:creationId xmlns:a16="http://schemas.microsoft.com/office/drawing/2014/main" id="{492675E5-115E-49D4-9D4F-88FD98AD1529}"/>
              </a:ext>
            </a:extLst>
          </p:cNvPr>
          <p:cNvSpPr>
            <a:spLocks noGrp="1"/>
          </p:cNvSpPr>
          <p:nvPr>
            <p:ph sz="quarter" idx="17"/>
          </p:nvPr>
        </p:nvSpPr>
        <p:spPr>
          <a:xfrm>
            <a:off x="9722611" y="1601788"/>
            <a:ext cx="1947672" cy="480454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268574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Image Column">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7" y="3492063"/>
            <a:ext cx="1947991" cy="2911912"/>
          </a:xfrm>
        </p:spPr>
        <p:txBody>
          <a:bodyPr/>
          <a:lstStyle>
            <a:lvl1pPr>
              <a:spcAft>
                <a:spcPts val="0"/>
              </a:spcAft>
              <a:defRPr>
                <a:latin typeface="Calibre Semibold" panose="020B0703030202060203" pitchFamily="34" charset="0"/>
              </a:defRPr>
            </a:lvl1pPr>
            <a:lvl2pPr>
              <a:defRPr sz="2200">
                <a:latin typeface="Calibre Light" panose="020B03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Picture Placeholder 1">
            <a:extLst>
              <a:ext uri="{FF2B5EF4-FFF2-40B4-BE49-F238E27FC236}">
                <a16:creationId xmlns:a16="http://schemas.microsoft.com/office/drawing/2014/main" id="{8E24196C-EDCF-4421-93F5-2F0FC09A0AC8}"/>
              </a:ext>
            </a:extLst>
          </p:cNvPr>
          <p:cNvSpPr>
            <a:spLocks noGrp="1"/>
          </p:cNvSpPr>
          <p:nvPr>
            <p:ph type="pic" sz="quarter" idx="18"/>
          </p:nvPr>
        </p:nvSpPr>
        <p:spPr>
          <a:xfrm>
            <a:off x="3584447" y="1601788"/>
            <a:ext cx="1947991" cy="1563624"/>
          </a:xfrm>
        </p:spPr>
        <p:txBody>
          <a:bodyPr/>
          <a:lstStyle/>
          <a:p>
            <a:r>
              <a:rPr lang="en-GB" dirty="0"/>
              <a:t>Click icon to add picture</a:t>
            </a:r>
            <a:endParaRPr lang="en-US" dirty="0"/>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3584447" y="914400"/>
            <a:ext cx="1947991"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9" name="Content Placeholder 2">
            <a:extLst>
              <a:ext uri="{FF2B5EF4-FFF2-40B4-BE49-F238E27FC236}">
                <a16:creationId xmlns:a16="http://schemas.microsoft.com/office/drawing/2014/main" id="{42EA3364-699E-4FFA-BD42-6EF5EA1F1F61}"/>
              </a:ext>
            </a:extLst>
          </p:cNvPr>
          <p:cNvSpPr>
            <a:spLocks noGrp="1"/>
          </p:cNvSpPr>
          <p:nvPr>
            <p:ph sz="quarter" idx="14"/>
          </p:nvPr>
        </p:nvSpPr>
        <p:spPr>
          <a:xfrm>
            <a:off x="5633909" y="3492063"/>
            <a:ext cx="1947991" cy="2911912"/>
          </a:xfrm>
        </p:spPr>
        <p:txBody>
          <a:bodyPr/>
          <a:lstStyle>
            <a:lvl1pPr>
              <a:spcAft>
                <a:spcPts val="0"/>
              </a:spcAft>
              <a:defRPr>
                <a:latin typeface="Calibre Semibold" panose="020B0703030202060203" pitchFamily="34" charset="0"/>
              </a:defRPr>
            </a:lvl1pPr>
            <a:lvl2pPr>
              <a:defRPr sz="2200">
                <a:latin typeface="Calibre Light" panose="020B03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2">
            <a:extLst>
              <a:ext uri="{FF2B5EF4-FFF2-40B4-BE49-F238E27FC236}">
                <a16:creationId xmlns:a16="http://schemas.microsoft.com/office/drawing/2014/main" id="{47A2DD19-B20B-483D-8660-233B1AD6C184}"/>
              </a:ext>
            </a:extLst>
          </p:cNvPr>
          <p:cNvSpPr>
            <a:spLocks noGrp="1"/>
          </p:cNvSpPr>
          <p:nvPr>
            <p:ph type="pic" sz="quarter" idx="19"/>
          </p:nvPr>
        </p:nvSpPr>
        <p:spPr>
          <a:xfrm>
            <a:off x="5633115" y="1601788"/>
            <a:ext cx="1947991" cy="1563624"/>
          </a:xfrm>
        </p:spPr>
        <p:txBody>
          <a:bodyPr/>
          <a:lstStyle/>
          <a:p>
            <a:r>
              <a:rPr lang="en-GB" dirty="0"/>
              <a:t>Click icon to add picture</a:t>
            </a:r>
            <a:endParaRPr lang="en-US" dirty="0"/>
          </a:p>
        </p:txBody>
      </p:sp>
      <p:sp>
        <p:nvSpPr>
          <p:cNvPr id="11" name="Subheading Placeholder 2">
            <a:extLst>
              <a:ext uri="{FF2B5EF4-FFF2-40B4-BE49-F238E27FC236}">
                <a16:creationId xmlns:a16="http://schemas.microsoft.com/office/drawing/2014/main" id="{6FE6ECDB-AF0B-4645-9EF8-7E58A711A6A0}"/>
              </a:ext>
            </a:extLst>
          </p:cNvPr>
          <p:cNvSpPr>
            <a:spLocks noGrp="1"/>
          </p:cNvSpPr>
          <p:nvPr>
            <p:ph type="body" sz="quarter" idx="15" hasCustomPrompt="1"/>
          </p:nvPr>
        </p:nvSpPr>
        <p:spPr>
          <a:xfrm>
            <a:off x="5633115" y="914400"/>
            <a:ext cx="1947991"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10" name="Content Placeholder 3">
            <a:extLst>
              <a:ext uri="{FF2B5EF4-FFF2-40B4-BE49-F238E27FC236}">
                <a16:creationId xmlns:a16="http://schemas.microsoft.com/office/drawing/2014/main" id="{96F8CE7E-C8FD-42CD-9FE2-33854B67611D}"/>
              </a:ext>
            </a:extLst>
          </p:cNvPr>
          <p:cNvSpPr>
            <a:spLocks noGrp="1"/>
          </p:cNvSpPr>
          <p:nvPr>
            <p:ph sz="quarter" idx="16"/>
          </p:nvPr>
        </p:nvSpPr>
        <p:spPr>
          <a:xfrm>
            <a:off x="7683372" y="3492063"/>
            <a:ext cx="1947991" cy="2911912"/>
          </a:xfrm>
        </p:spPr>
        <p:txBody>
          <a:bodyPr/>
          <a:lstStyle>
            <a:lvl1pPr>
              <a:spcAft>
                <a:spcPts val="0"/>
              </a:spcAft>
              <a:defRPr>
                <a:latin typeface="Calibre Semibold" panose="020B0703030202060203" pitchFamily="34" charset="0"/>
              </a:defRPr>
            </a:lvl1pPr>
            <a:lvl2pPr>
              <a:defRPr sz="2200">
                <a:latin typeface="Calibre Light" panose="020B03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3">
            <a:extLst>
              <a:ext uri="{FF2B5EF4-FFF2-40B4-BE49-F238E27FC236}">
                <a16:creationId xmlns:a16="http://schemas.microsoft.com/office/drawing/2014/main" id="{F87E57F0-BBA5-46F3-8D80-066C33EA828B}"/>
              </a:ext>
            </a:extLst>
          </p:cNvPr>
          <p:cNvSpPr>
            <a:spLocks noGrp="1"/>
          </p:cNvSpPr>
          <p:nvPr>
            <p:ph type="pic" sz="quarter" idx="20"/>
          </p:nvPr>
        </p:nvSpPr>
        <p:spPr>
          <a:xfrm>
            <a:off x="7681786" y="1601788"/>
            <a:ext cx="1947991" cy="1563624"/>
          </a:xfrm>
        </p:spPr>
        <p:txBody>
          <a:bodyPr/>
          <a:lstStyle/>
          <a:p>
            <a:r>
              <a:rPr lang="en-GB" dirty="0"/>
              <a:t>Click icon to add picture</a:t>
            </a:r>
            <a:endParaRPr lang="en-US" dirty="0"/>
          </a:p>
        </p:txBody>
      </p:sp>
      <p:sp>
        <p:nvSpPr>
          <p:cNvPr id="13" name="Subheading Placeholder 3">
            <a:extLst>
              <a:ext uri="{FF2B5EF4-FFF2-40B4-BE49-F238E27FC236}">
                <a16:creationId xmlns:a16="http://schemas.microsoft.com/office/drawing/2014/main" id="{8D649D2F-7D7D-4802-A705-A08201E6D24D}"/>
              </a:ext>
            </a:extLst>
          </p:cNvPr>
          <p:cNvSpPr>
            <a:spLocks noGrp="1"/>
          </p:cNvSpPr>
          <p:nvPr>
            <p:ph type="body" sz="quarter" idx="17" hasCustomPrompt="1"/>
          </p:nvPr>
        </p:nvSpPr>
        <p:spPr>
          <a:xfrm>
            <a:off x="7681786" y="914400"/>
            <a:ext cx="1947991"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20" name="Content Placeholder 4">
            <a:extLst>
              <a:ext uri="{FF2B5EF4-FFF2-40B4-BE49-F238E27FC236}">
                <a16:creationId xmlns:a16="http://schemas.microsoft.com/office/drawing/2014/main" id="{E8AF4775-5960-4028-BD81-98CE17CB9110}"/>
              </a:ext>
            </a:extLst>
          </p:cNvPr>
          <p:cNvSpPr>
            <a:spLocks noGrp="1"/>
          </p:cNvSpPr>
          <p:nvPr>
            <p:ph sz="quarter" idx="23"/>
          </p:nvPr>
        </p:nvSpPr>
        <p:spPr>
          <a:xfrm>
            <a:off x="9731375" y="3492500"/>
            <a:ext cx="1947863" cy="2911475"/>
          </a:xfrm>
        </p:spPr>
        <p:txBody>
          <a:bodyPr/>
          <a:lstStyle>
            <a:lvl1pPr>
              <a:spcAft>
                <a:spcPts val="0"/>
              </a:spcAft>
              <a:defRPr>
                <a:latin typeface="Calibre Semibold" panose="020B0703030202060203" pitchFamily="34" charset="0"/>
              </a:defRPr>
            </a:lvl1pPr>
            <a:lvl2pPr>
              <a:defRPr sz="2200">
                <a:latin typeface="Calibre Light" panose="020B0303030202060203" pitchFamily="34"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Picture Placeholder 4">
            <a:extLst>
              <a:ext uri="{FF2B5EF4-FFF2-40B4-BE49-F238E27FC236}">
                <a16:creationId xmlns:a16="http://schemas.microsoft.com/office/drawing/2014/main" id="{90576EDB-876E-43D9-B5AB-42B0946B0D46}"/>
              </a:ext>
            </a:extLst>
          </p:cNvPr>
          <p:cNvSpPr>
            <a:spLocks noGrp="1"/>
          </p:cNvSpPr>
          <p:nvPr>
            <p:ph type="pic" sz="quarter" idx="22"/>
          </p:nvPr>
        </p:nvSpPr>
        <p:spPr>
          <a:xfrm>
            <a:off x="9731375" y="1601788"/>
            <a:ext cx="1947991" cy="1563687"/>
          </a:xfrm>
        </p:spPr>
        <p:txBody>
          <a:bodyPr/>
          <a:lstStyle/>
          <a:p>
            <a:r>
              <a:rPr lang="en-GB" dirty="0"/>
              <a:t>Click icon to add picture</a:t>
            </a:r>
          </a:p>
        </p:txBody>
      </p:sp>
      <p:sp>
        <p:nvSpPr>
          <p:cNvPr id="14" name="Subheading Placeholder 4">
            <a:extLst>
              <a:ext uri="{FF2B5EF4-FFF2-40B4-BE49-F238E27FC236}">
                <a16:creationId xmlns:a16="http://schemas.microsoft.com/office/drawing/2014/main" id="{8747FC40-DD0F-400B-B030-B52E1E681067}"/>
              </a:ext>
            </a:extLst>
          </p:cNvPr>
          <p:cNvSpPr>
            <a:spLocks noGrp="1"/>
          </p:cNvSpPr>
          <p:nvPr>
            <p:ph type="body" sz="quarter" idx="21" hasCustomPrompt="1"/>
          </p:nvPr>
        </p:nvSpPr>
        <p:spPr>
          <a:xfrm>
            <a:off x="9731375" y="914400"/>
            <a:ext cx="1947991" cy="584200"/>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Tree>
    <p:extLst>
      <p:ext uri="{BB962C8B-B14F-4D97-AF65-F5344CB8AC3E}">
        <p14:creationId xmlns:p14="http://schemas.microsoft.com/office/powerpoint/2010/main" val="40648152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 Column Infographic">
    <p:spTree>
      <p:nvGrpSpPr>
        <p:cNvPr id="1" name=""/>
        <p:cNvGrpSpPr/>
        <p:nvPr/>
      </p:nvGrpSpPr>
      <p:grpSpPr>
        <a:xfrm>
          <a:off x="0" y="0"/>
          <a:ext cx="0" cy="0"/>
          <a:chOff x="0" y="0"/>
          <a:chExt cx="0" cy="0"/>
        </a:xfrm>
      </p:grpSpPr>
      <p:sp>
        <p:nvSpPr>
          <p:cNvPr id="8" name="GFX BG">
            <a:extLst>
              <a:ext uri="{FF2B5EF4-FFF2-40B4-BE49-F238E27FC236}">
                <a16:creationId xmlns:a16="http://schemas.microsoft.com/office/drawing/2014/main" id="{5D5A16FE-A1C9-492B-8503-3E55B28F933A}"/>
              </a:ext>
            </a:extLst>
          </p:cNvPr>
          <p:cNvSpPr/>
          <p:nvPr userDrawn="1"/>
        </p:nvSpPr>
        <p:spPr>
          <a:xfrm>
            <a:off x="511177" y="2852739"/>
            <a:ext cx="11168062" cy="3529012"/>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1601788"/>
            <a:ext cx="7068312" cy="113385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308270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 Infographic">
    <p:spTree>
      <p:nvGrpSpPr>
        <p:cNvPr id="1" name=""/>
        <p:cNvGrpSpPr/>
        <p:nvPr/>
      </p:nvGrpSpPr>
      <p:grpSpPr>
        <a:xfrm>
          <a:off x="0" y="0"/>
          <a:ext cx="0" cy="0"/>
          <a:chOff x="0" y="0"/>
          <a:chExt cx="0" cy="0"/>
        </a:xfrm>
      </p:grpSpPr>
      <p:sp>
        <p:nvSpPr>
          <p:cNvPr id="8" name="GFX BG">
            <a:extLst>
              <a:ext uri="{FF2B5EF4-FFF2-40B4-BE49-F238E27FC236}">
                <a16:creationId xmlns:a16="http://schemas.microsoft.com/office/drawing/2014/main" id="{5D5A16FE-A1C9-492B-8503-3E55B28F933A}"/>
              </a:ext>
            </a:extLst>
          </p:cNvPr>
          <p:cNvSpPr/>
          <p:nvPr userDrawn="1"/>
        </p:nvSpPr>
        <p:spPr>
          <a:xfrm>
            <a:off x="511177" y="2852739"/>
            <a:ext cx="11168062" cy="3529012"/>
          </a:xfrm>
          <a:prstGeom prst="rect">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1601788"/>
            <a:ext cx="3483864" cy="113385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spcBef>
                <a:spcPts val="600"/>
              </a:spcBef>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Content Placeholder 6">
            <a:extLst>
              <a:ext uri="{FF2B5EF4-FFF2-40B4-BE49-F238E27FC236}">
                <a16:creationId xmlns:a16="http://schemas.microsoft.com/office/drawing/2014/main" id="{D56F0673-94EF-48CC-9CE4-73C172F82EC0}"/>
              </a:ext>
            </a:extLst>
          </p:cNvPr>
          <p:cNvSpPr>
            <a:spLocks noGrp="1"/>
          </p:cNvSpPr>
          <p:nvPr>
            <p:ph sz="quarter" idx="13"/>
          </p:nvPr>
        </p:nvSpPr>
        <p:spPr>
          <a:xfrm>
            <a:off x="7169784" y="1601788"/>
            <a:ext cx="3483864" cy="113385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spcBef>
                <a:spcPts val="600"/>
              </a:spcBef>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80598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Stats">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6" y="1601788"/>
            <a:ext cx="2971800" cy="1325563"/>
          </a:xfrm>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3584448" y="4983479"/>
            <a:ext cx="7589010" cy="899795"/>
          </a:xfrm>
        </p:spPr>
        <p:txBody>
          <a:bodyPr tIns="100584"/>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Click to edit Master text styles</a:t>
            </a:r>
          </a:p>
          <a:p>
            <a:pPr lvl="1"/>
            <a:r>
              <a:rPr lang="en-GB"/>
              <a:t>Second level</a:t>
            </a:r>
          </a:p>
        </p:txBody>
      </p:sp>
      <p:sp>
        <p:nvSpPr>
          <p:cNvPr id="8" name="Stat Placeholder 1">
            <a:extLst>
              <a:ext uri="{FF2B5EF4-FFF2-40B4-BE49-F238E27FC236}">
                <a16:creationId xmlns:a16="http://schemas.microsoft.com/office/drawing/2014/main" id="{BD5B0268-6D86-4322-907B-D2857B858C19}"/>
              </a:ext>
            </a:extLst>
          </p:cNvPr>
          <p:cNvSpPr>
            <a:spLocks noGrp="1"/>
          </p:cNvSpPr>
          <p:nvPr>
            <p:ph sz="quarter" idx="13" hasCustomPrompt="1"/>
          </p:nvPr>
        </p:nvSpPr>
        <p:spPr>
          <a:xfrm>
            <a:off x="3584448" y="1601788"/>
            <a:ext cx="2459736" cy="3026664"/>
          </a:xfrm>
          <a:solidFill>
            <a:schemeClr val="bg2"/>
          </a:solidFill>
        </p:spPr>
        <p:txBody>
          <a:bodyPr lIns="182880" tIns="182880" rIns="182880" bIns="182880"/>
          <a:lstStyle>
            <a:lvl1pPr marL="0" indent="0">
              <a:spcAft>
                <a:spcPts val="0"/>
              </a:spcAft>
              <a:buFontTx/>
              <a:buNone/>
              <a:defRPr lang="en-US" sz="6000" b="0" dirty="0" smtClean="0">
                <a:solidFill>
                  <a:srgbClr val="012A2D"/>
                </a:solidFill>
                <a:latin typeface="Calibre Light" panose="020B0303030202060203" pitchFamily="34" charset="0"/>
                <a:ea typeface="+mn-ea"/>
                <a:cs typeface="+mn-cs"/>
              </a:defRPr>
            </a:lvl1pPr>
            <a:lvl2pPr>
              <a:spcBef>
                <a:spcPts val="0"/>
              </a:spcBef>
              <a:spcAft>
                <a:spcPts val="600"/>
              </a:spcAft>
              <a:defRPr lang="en-US" sz="2200" dirty="0" smtClean="0">
                <a:solidFill>
                  <a:srgbClr val="012A2D"/>
                </a:solidFill>
                <a:latin typeface="Calibre Light" panose="020B0303030202060203" pitchFamily="34" charset="0"/>
                <a:ea typeface="+mn-ea"/>
                <a:cs typeface="+mn-cs"/>
              </a:defRPr>
            </a:lvl2pPr>
            <a:lvl3pPr marL="0" indent="0">
              <a:spcBef>
                <a:spcPts val="3400"/>
              </a:spcBef>
              <a:spcAft>
                <a:spcPts val="600"/>
              </a:spcAft>
              <a:buFontTx/>
              <a:buNone/>
              <a:defRPr lang="en-US" sz="1600" dirty="0" smtClean="0">
                <a:solidFill>
                  <a:srgbClr val="012A2D"/>
                </a:solidFill>
                <a:latin typeface="Calibre Semibold" panose="020B0703030202060203" pitchFamily="34" charset="0"/>
                <a:ea typeface="+mn-ea"/>
                <a:cs typeface="+mn-cs"/>
              </a:defRPr>
            </a:lvl3pPr>
            <a:lvl4pPr marL="173736">
              <a:spcBef>
                <a:spcPts val="300"/>
              </a:spcBef>
              <a:spcAft>
                <a:spcPts val="300"/>
              </a:spcAft>
              <a:defRPr lang="en-US" sz="1200" b="0" dirty="0">
                <a:solidFill>
                  <a:schemeClr val="tx1"/>
                </a:solidFill>
                <a:latin typeface="+mn-lt"/>
                <a:ea typeface="+mn-ea"/>
                <a:cs typeface="+mn-cs"/>
              </a:defRPr>
            </a:lvl4pPr>
            <a:lvl5pPr marL="356616" indent="-171450">
              <a:spcBef>
                <a:spcPts val="600"/>
              </a:spcBef>
              <a:spcAft>
                <a:spcPts val="0"/>
              </a:spcAft>
              <a:buFont typeface="Calibre" panose="020B0503030202060203" pitchFamily="34" charset="0"/>
              <a:buChar char="–"/>
              <a:defRPr lang="en-US" sz="1200" dirty="0" smtClean="0">
                <a:solidFill>
                  <a:schemeClr val="tx1"/>
                </a:solidFill>
                <a:latin typeface="Calibre" panose="020B05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value</a:t>
            </a:r>
          </a:p>
          <a:p>
            <a:pPr lvl="1"/>
            <a:r>
              <a:rPr lang="en-GB"/>
              <a:t>unit</a:t>
            </a:r>
          </a:p>
          <a:p>
            <a:pPr lvl="2"/>
            <a:r>
              <a:rPr lang="en-GB"/>
              <a:t>Description</a:t>
            </a:r>
          </a:p>
        </p:txBody>
      </p:sp>
      <p:sp>
        <p:nvSpPr>
          <p:cNvPr id="10" name="Stat Placeholder 2">
            <a:extLst>
              <a:ext uri="{FF2B5EF4-FFF2-40B4-BE49-F238E27FC236}">
                <a16:creationId xmlns:a16="http://schemas.microsoft.com/office/drawing/2014/main" id="{59502AB8-1EEA-43E9-995E-A64DEF4206AF}"/>
              </a:ext>
            </a:extLst>
          </p:cNvPr>
          <p:cNvSpPr>
            <a:spLocks noGrp="1"/>
          </p:cNvSpPr>
          <p:nvPr>
            <p:ph sz="quarter" idx="14" hasCustomPrompt="1"/>
          </p:nvPr>
        </p:nvSpPr>
        <p:spPr>
          <a:xfrm>
            <a:off x="6149085" y="1601788"/>
            <a:ext cx="2459736" cy="3026664"/>
          </a:xfrm>
          <a:solidFill>
            <a:schemeClr val="tx1"/>
          </a:solidFill>
        </p:spPr>
        <p:txBody>
          <a:bodyPr lIns="182880" tIns="182880" rIns="182880" bIns="182880"/>
          <a:lstStyle>
            <a:lvl1pPr marL="0" indent="0">
              <a:spcAft>
                <a:spcPts val="0"/>
              </a:spcAft>
              <a:buFontTx/>
              <a:buNone/>
              <a:defRPr lang="en-US" sz="6000" b="0" dirty="0" smtClean="0">
                <a:solidFill>
                  <a:schemeClr val="bg1"/>
                </a:solidFill>
                <a:latin typeface="Calibre Light" panose="020B0303030202060203" pitchFamily="34" charset="0"/>
                <a:ea typeface="+mn-ea"/>
                <a:cs typeface="+mn-cs"/>
              </a:defRPr>
            </a:lvl1pPr>
            <a:lvl2pPr>
              <a:spcBef>
                <a:spcPts val="0"/>
              </a:spcBef>
              <a:spcAft>
                <a:spcPts val="600"/>
              </a:spcAft>
              <a:defRPr lang="en-US" sz="2200" dirty="0" smtClean="0">
                <a:solidFill>
                  <a:schemeClr val="bg1"/>
                </a:solidFill>
                <a:latin typeface="Calibre Light" panose="020B0303030202060203" pitchFamily="34" charset="0"/>
                <a:ea typeface="+mn-ea"/>
                <a:cs typeface="+mn-cs"/>
              </a:defRPr>
            </a:lvl2pPr>
            <a:lvl3pPr marL="0" indent="0">
              <a:spcBef>
                <a:spcPts val="3400"/>
              </a:spcBef>
              <a:spcAft>
                <a:spcPts val="600"/>
              </a:spcAft>
              <a:buFontTx/>
              <a:buNone/>
              <a:defRPr lang="en-US" sz="1600" dirty="0" smtClean="0">
                <a:solidFill>
                  <a:schemeClr val="bg1"/>
                </a:solidFill>
                <a:latin typeface="Calibre Semibold" panose="020B0703030202060203" pitchFamily="34" charset="0"/>
                <a:ea typeface="+mn-ea"/>
                <a:cs typeface="+mn-cs"/>
              </a:defRPr>
            </a:lvl3pPr>
            <a:lvl4pPr marL="173736">
              <a:spcBef>
                <a:spcPts val="300"/>
              </a:spcBef>
              <a:spcAft>
                <a:spcPts val="300"/>
              </a:spcAft>
              <a:buClr>
                <a:schemeClr val="bg1"/>
              </a:buClr>
              <a:defRPr lang="en-US" sz="1200" b="0" dirty="0">
                <a:solidFill>
                  <a:schemeClr val="bg1"/>
                </a:solidFill>
                <a:latin typeface="+mn-lt"/>
                <a:ea typeface="+mn-ea"/>
                <a:cs typeface="+mn-cs"/>
              </a:defRPr>
            </a:lvl4pPr>
            <a:lvl5pPr marL="356616" indent="-171450">
              <a:spcBef>
                <a:spcPts val="600"/>
              </a:spcBef>
              <a:spcAft>
                <a:spcPts val="0"/>
              </a:spcAft>
              <a:buFont typeface="Calibre" panose="020B0503030202060203" pitchFamily="34" charset="0"/>
              <a:buChar char="–"/>
              <a:defRPr lang="en-US" sz="1200" dirty="0" smtClean="0">
                <a:solidFill>
                  <a:schemeClr val="bg1"/>
                </a:solidFill>
                <a:latin typeface="Calibre" panose="020B0503030202060203" pitchFamily="34" charset="0"/>
                <a:ea typeface="+mn-ea"/>
                <a:cs typeface="+mn-cs"/>
              </a:defRPr>
            </a:lvl5pPr>
            <a:lvl6pPr>
              <a:defRPr>
                <a:solidFill>
                  <a:schemeClr val="bg1"/>
                </a:solidFill>
              </a:defRPr>
            </a:lvl6pPr>
            <a:lvl7pPr>
              <a:spcBef>
                <a:spcPts val="300"/>
              </a:spcBef>
              <a:spcAft>
                <a:spcPts val="300"/>
              </a:spcAft>
              <a:defRPr lang="en-US" sz="1050" dirty="0" smtClean="0">
                <a:solidFill>
                  <a:schemeClr val="bg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bg1"/>
                </a:solidFill>
                <a:latin typeface="+mn-lt"/>
                <a:ea typeface="+mn-ea"/>
                <a:cs typeface="+mn-cs"/>
              </a:defRPr>
            </a:lvl8pPr>
            <a:lvl9pPr>
              <a:defRPr>
                <a:solidFill>
                  <a:schemeClr val="bg1"/>
                </a:solidFill>
              </a:defRPr>
            </a:lvl9pPr>
          </a:lstStyle>
          <a:p>
            <a:pPr lvl="0"/>
            <a:r>
              <a:rPr lang="en-GB"/>
              <a:t>#value</a:t>
            </a:r>
          </a:p>
          <a:p>
            <a:pPr lvl="1"/>
            <a:r>
              <a:rPr lang="en-GB"/>
              <a:t>unit</a:t>
            </a:r>
          </a:p>
          <a:p>
            <a:pPr lvl="2"/>
            <a:r>
              <a:rPr lang="en-GB"/>
              <a:t>Description</a:t>
            </a:r>
          </a:p>
        </p:txBody>
      </p:sp>
      <p:sp>
        <p:nvSpPr>
          <p:cNvPr id="12" name="Stat Placeholder 3">
            <a:extLst>
              <a:ext uri="{FF2B5EF4-FFF2-40B4-BE49-F238E27FC236}">
                <a16:creationId xmlns:a16="http://schemas.microsoft.com/office/drawing/2014/main" id="{24107E57-4088-4008-A2A0-5AE3E7C5938D}"/>
              </a:ext>
            </a:extLst>
          </p:cNvPr>
          <p:cNvSpPr>
            <a:spLocks noGrp="1"/>
          </p:cNvSpPr>
          <p:nvPr>
            <p:ph sz="quarter" idx="15" hasCustomPrompt="1"/>
          </p:nvPr>
        </p:nvSpPr>
        <p:spPr>
          <a:xfrm>
            <a:off x="8713722" y="1601788"/>
            <a:ext cx="2459736" cy="3026664"/>
          </a:xfrm>
          <a:solidFill>
            <a:schemeClr val="tx2"/>
          </a:solidFill>
        </p:spPr>
        <p:txBody>
          <a:bodyPr lIns="182880" tIns="182880" rIns="182880" bIns="182880"/>
          <a:lstStyle>
            <a:lvl1pPr marL="0" indent="0">
              <a:spcAft>
                <a:spcPts val="0"/>
              </a:spcAft>
              <a:buFontTx/>
              <a:buNone/>
              <a:defRPr lang="en-US" sz="6000" b="0" dirty="0" smtClean="0">
                <a:solidFill>
                  <a:schemeClr val="tx1"/>
                </a:solidFill>
                <a:latin typeface="Calibre Light" panose="020B0303030202060203" pitchFamily="34" charset="0"/>
                <a:ea typeface="+mn-ea"/>
                <a:cs typeface="+mn-cs"/>
              </a:defRPr>
            </a:lvl1pPr>
            <a:lvl2pPr>
              <a:spcBef>
                <a:spcPts val="0"/>
              </a:spcBef>
              <a:spcAft>
                <a:spcPts val="600"/>
              </a:spcAft>
              <a:defRPr lang="en-US" sz="2200" dirty="0" smtClean="0">
                <a:solidFill>
                  <a:schemeClr val="tx1"/>
                </a:solidFill>
                <a:latin typeface="Calibre Light" panose="020B0303030202060203" pitchFamily="34" charset="0"/>
                <a:ea typeface="+mn-ea"/>
                <a:cs typeface="+mn-cs"/>
              </a:defRPr>
            </a:lvl2pPr>
            <a:lvl3pPr marL="0" indent="0">
              <a:spcBef>
                <a:spcPts val="3400"/>
              </a:spcBef>
              <a:spcAft>
                <a:spcPts val="600"/>
              </a:spcAft>
              <a:buFontTx/>
              <a:buNone/>
              <a:defRPr lang="en-US" sz="1600" dirty="0" smtClean="0">
                <a:solidFill>
                  <a:schemeClr val="tx1"/>
                </a:solidFill>
                <a:latin typeface="Calibre Semibold" panose="020B0703030202060203" pitchFamily="34" charset="0"/>
                <a:ea typeface="+mn-ea"/>
                <a:cs typeface="+mn-cs"/>
              </a:defRPr>
            </a:lvl3pPr>
            <a:lvl4pPr marL="173736">
              <a:spcBef>
                <a:spcPts val="300"/>
              </a:spcBef>
              <a:spcAft>
                <a:spcPts val="300"/>
              </a:spcAft>
              <a:defRPr lang="en-US" sz="1200" b="0" dirty="0">
                <a:solidFill>
                  <a:schemeClr val="tx1"/>
                </a:solidFill>
                <a:latin typeface="+mn-lt"/>
                <a:ea typeface="+mn-ea"/>
                <a:cs typeface="+mn-cs"/>
              </a:defRPr>
            </a:lvl4pPr>
            <a:lvl5pPr marL="356616" indent="-171450">
              <a:spcBef>
                <a:spcPts val="600"/>
              </a:spcBef>
              <a:spcAft>
                <a:spcPts val="0"/>
              </a:spcAft>
              <a:buFont typeface="Calibre" panose="020B0503030202060203" pitchFamily="34" charset="0"/>
              <a:buChar char="–"/>
              <a:defRPr lang="en-US" sz="1200" dirty="0" smtClean="0">
                <a:solidFill>
                  <a:schemeClr val="tx1"/>
                </a:solidFill>
                <a:latin typeface="Calibre" panose="020B0503030202060203" pitchFamily="34" charset="0"/>
                <a:ea typeface="+mn-ea"/>
                <a:cs typeface="+mn-cs"/>
              </a:defRPr>
            </a:lvl5pPr>
            <a:lvl7pPr>
              <a:spcBef>
                <a:spcPts val="300"/>
              </a:spcBef>
              <a:spcAft>
                <a:spcPts val="300"/>
              </a:spcAft>
              <a:defRPr lang="en-US" sz="1050" dirty="0" smtClean="0">
                <a:solidFill>
                  <a:schemeClr val="tx1"/>
                </a:solidFill>
                <a:latin typeface="Calibre Semibold" panose="020B0703030202060203" pitchFamily="34" charset="0"/>
                <a:ea typeface="+mn-ea"/>
                <a:cs typeface="+mn-cs"/>
              </a:defRPr>
            </a:lvl7pPr>
            <a:lvl8pPr>
              <a:spcBef>
                <a:spcPts val="300"/>
              </a:spcBef>
              <a:spcAft>
                <a:spcPts val="300"/>
              </a:spcAft>
              <a:defRPr lang="en-US" sz="1050" dirty="0" smtClean="0">
                <a:solidFill>
                  <a:schemeClr val="tx1"/>
                </a:solidFill>
                <a:latin typeface="+mn-lt"/>
                <a:ea typeface="+mn-ea"/>
                <a:cs typeface="+mn-cs"/>
              </a:defRPr>
            </a:lvl8pPr>
          </a:lstStyle>
          <a:p>
            <a:pPr lvl="0"/>
            <a:r>
              <a:rPr lang="en-GB"/>
              <a:t>#value</a:t>
            </a:r>
          </a:p>
          <a:p>
            <a:pPr lvl="1"/>
            <a:r>
              <a:rPr lang="en-GB"/>
              <a:t>unit</a:t>
            </a:r>
          </a:p>
          <a:p>
            <a:pPr lvl="2"/>
            <a:r>
              <a:rPr lang="en-GB"/>
              <a:t>Description</a:t>
            </a:r>
          </a:p>
        </p:txBody>
      </p:sp>
    </p:spTree>
    <p:extLst>
      <p:ext uri="{BB962C8B-B14F-4D97-AF65-F5344CB8AC3E}">
        <p14:creationId xmlns:p14="http://schemas.microsoft.com/office/powerpoint/2010/main" val="12286973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hasCustomPrompt="1"/>
          </p:nvPr>
        </p:nvSpPr>
        <p:spPr>
          <a:xfrm>
            <a:off x="511175" y="1984248"/>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4097338" y="914400"/>
            <a:ext cx="2971800" cy="585216"/>
          </a:xfrm>
        </p:spPr>
        <p:txBody>
          <a:bodyPr/>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13" name="Content Placeholder 2">
            <a:extLst>
              <a:ext uri="{FF2B5EF4-FFF2-40B4-BE49-F238E27FC236}">
                <a16:creationId xmlns:a16="http://schemas.microsoft.com/office/drawing/2014/main" id="{D109E005-B2BA-4999-8A04-E6B566F973B6}"/>
              </a:ext>
            </a:extLst>
          </p:cNvPr>
          <p:cNvSpPr>
            <a:spLocks noGrp="1"/>
          </p:cNvSpPr>
          <p:nvPr>
            <p:ph sz="quarter" idx="14" hasCustomPrompt="1"/>
          </p:nvPr>
        </p:nvSpPr>
        <p:spPr>
          <a:xfrm>
            <a:off x="2430234" y="1984248"/>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
        <p:nvSpPr>
          <p:cNvPr id="15" name="Content Placeholder 3">
            <a:extLst>
              <a:ext uri="{FF2B5EF4-FFF2-40B4-BE49-F238E27FC236}">
                <a16:creationId xmlns:a16="http://schemas.microsoft.com/office/drawing/2014/main" id="{F45962CF-14ED-433A-BEBC-3DEED0C8B537}"/>
              </a:ext>
            </a:extLst>
          </p:cNvPr>
          <p:cNvSpPr>
            <a:spLocks noGrp="1"/>
          </p:cNvSpPr>
          <p:nvPr>
            <p:ph sz="quarter" idx="15" hasCustomPrompt="1"/>
          </p:nvPr>
        </p:nvSpPr>
        <p:spPr>
          <a:xfrm>
            <a:off x="4349293" y="1984248"/>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
        <p:nvSpPr>
          <p:cNvPr id="17" name="Content Placeholder 4">
            <a:extLst>
              <a:ext uri="{FF2B5EF4-FFF2-40B4-BE49-F238E27FC236}">
                <a16:creationId xmlns:a16="http://schemas.microsoft.com/office/drawing/2014/main" id="{518F096B-0147-4946-81A3-07EB1711EDC7}"/>
              </a:ext>
            </a:extLst>
          </p:cNvPr>
          <p:cNvSpPr>
            <a:spLocks noGrp="1"/>
          </p:cNvSpPr>
          <p:nvPr>
            <p:ph sz="quarter" idx="16" hasCustomPrompt="1"/>
          </p:nvPr>
        </p:nvSpPr>
        <p:spPr>
          <a:xfrm>
            <a:off x="6268352" y="1984248"/>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
        <p:nvSpPr>
          <p:cNvPr id="19" name="Content Placeholder 5">
            <a:extLst>
              <a:ext uri="{FF2B5EF4-FFF2-40B4-BE49-F238E27FC236}">
                <a16:creationId xmlns:a16="http://schemas.microsoft.com/office/drawing/2014/main" id="{EA40C76A-4A1B-426F-A0F3-27766FBEEA41}"/>
              </a:ext>
            </a:extLst>
          </p:cNvPr>
          <p:cNvSpPr>
            <a:spLocks noGrp="1"/>
          </p:cNvSpPr>
          <p:nvPr>
            <p:ph sz="quarter" idx="17" hasCustomPrompt="1"/>
          </p:nvPr>
        </p:nvSpPr>
        <p:spPr>
          <a:xfrm>
            <a:off x="8187411" y="1984248"/>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
        <p:nvSpPr>
          <p:cNvPr id="21" name="Content Placeholder 6">
            <a:extLst>
              <a:ext uri="{FF2B5EF4-FFF2-40B4-BE49-F238E27FC236}">
                <a16:creationId xmlns:a16="http://schemas.microsoft.com/office/drawing/2014/main" id="{00880DC7-B2DC-443C-BD83-32F04028CCEB}"/>
              </a:ext>
            </a:extLst>
          </p:cNvPr>
          <p:cNvSpPr>
            <a:spLocks noGrp="1"/>
          </p:cNvSpPr>
          <p:nvPr>
            <p:ph sz="quarter" idx="18" hasCustomPrompt="1"/>
          </p:nvPr>
        </p:nvSpPr>
        <p:spPr>
          <a:xfrm>
            <a:off x="10106470" y="1984248"/>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
        <p:nvSpPr>
          <p:cNvPr id="23" name="Content Placeholder 7">
            <a:extLst>
              <a:ext uri="{FF2B5EF4-FFF2-40B4-BE49-F238E27FC236}">
                <a16:creationId xmlns:a16="http://schemas.microsoft.com/office/drawing/2014/main" id="{6DDE0339-BB90-41F5-96AE-14CB971FF015}"/>
              </a:ext>
            </a:extLst>
          </p:cNvPr>
          <p:cNvSpPr>
            <a:spLocks noGrp="1"/>
          </p:cNvSpPr>
          <p:nvPr>
            <p:ph sz="quarter" idx="19" hasCustomPrompt="1"/>
          </p:nvPr>
        </p:nvSpPr>
        <p:spPr>
          <a:xfrm>
            <a:off x="511175" y="4626864"/>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
        <p:nvSpPr>
          <p:cNvPr id="25" name="Content Placeholder 8">
            <a:extLst>
              <a:ext uri="{FF2B5EF4-FFF2-40B4-BE49-F238E27FC236}">
                <a16:creationId xmlns:a16="http://schemas.microsoft.com/office/drawing/2014/main" id="{A1F04957-65BD-46E7-8548-07F8CDAC2190}"/>
              </a:ext>
            </a:extLst>
          </p:cNvPr>
          <p:cNvSpPr>
            <a:spLocks noGrp="1"/>
          </p:cNvSpPr>
          <p:nvPr>
            <p:ph sz="quarter" idx="20" hasCustomPrompt="1"/>
          </p:nvPr>
        </p:nvSpPr>
        <p:spPr>
          <a:xfrm>
            <a:off x="2430234" y="4626864"/>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
        <p:nvSpPr>
          <p:cNvPr id="27" name="Content Placeholder 9">
            <a:extLst>
              <a:ext uri="{FF2B5EF4-FFF2-40B4-BE49-F238E27FC236}">
                <a16:creationId xmlns:a16="http://schemas.microsoft.com/office/drawing/2014/main" id="{740494B8-C381-414A-BB7A-A8D06AE30DB3}"/>
              </a:ext>
            </a:extLst>
          </p:cNvPr>
          <p:cNvSpPr>
            <a:spLocks noGrp="1"/>
          </p:cNvSpPr>
          <p:nvPr>
            <p:ph sz="quarter" idx="21" hasCustomPrompt="1"/>
          </p:nvPr>
        </p:nvSpPr>
        <p:spPr>
          <a:xfrm>
            <a:off x="4349293" y="4626864"/>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
        <p:nvSpPr>
          <p:cNvPr id="29" name="Content Placeholder 10">
            <a:extLst>
              <a:ext uri="{FF2B5EF4-FFF2-40B4-BE49-F238E27FC236}">
                <a16:creationId xmlns:a16="http://schemas.microsoft.com/office/drawing/2014/main" id="{2C81939D-325D-4011-9F79-84C4BFECFDF8}"/>
              </a:ext>
            </a:extLst>
          </p:cNvPr>
          <p:cNvSpPr>
            <a:spLocks noGrp="1"/>
          </p:cNvSpPr>
          <p:nvPr>
            <p:ph sz="quarter" idx="22" hasCustomPrompt="1"/>
          </p:nvPr>
        </p:nvSpPr>
        <p:spPr>
          <a:xfrm>
            <a:off x="6268352" y="4626864"/>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
        <p:nvSpPr>
          <p:cNvPr id="31" name="Content Placeholder 11">
            <a:extLst>
              <a:ext uri="{FF2B5EF4-FFF2-40B4-BE49-F238E27FC236}">
                <a16:creationId xmlns:a16="http://schemas.microsoft.com/office/drawing/2014/main" id="{756E2DB3-5433-44FE-AD07-FBBE3D440AB4}"/>
              </a:ext>
            </a:extLst>
          </p:cNvPr>
          <p:cNvSpPr>
            <a:spLocks noGrp="1"/>
          </p:cNvSpPr>
          <p:nvPr>
            <p:ph sz="quarter" idx="23" hasCustomPrompt="1"/>
          </p:nvPr>
        </p:nvSpPr>
        <p:spPr>
          <a:xfrm>
            <a:off x="8187411" y="4626864"/>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
        <p:nvSpPr>
          <p:cNvPr id="33" name="Content Placeholder 12">
            <a:extLst>
              <a:ext uri="{FF2B5EF4-FFF2-40B4-BE49-F238E27FC236}">
                <a16:creationId xmlns:a16="http://schemas.microsoft.com/office/drawing/2014/main" id="{357A8F6B-63E2-4777-82D3-6D7B324D3ED2}"/>
              </a:ext>
            </a:extLst>
          </p:cNvPr>
          <p:cNvSpPr>
            <a:spLocks noGrp="1"/>
          </p:cNvSpPr>
          <p:nvPr>
            <p:ph sz="quarter" idx="24" hasCustomPrompt="1"/>
          </p:nvPr>
        </p:nvSpPr>
        <p:spPr>
          <a:xfrm>
            <a:off x="10106470" y="4626864"/>
            <a:ext cx="1572768" cy="1883664"/>
          </a:xfrm>
          <a:ln w="12700">
            <a:solidFill>
              <a:schemeClr val="accent3"/>
            </a:solidFill>
          </a:ln>
        </p:spPr>
        <p:txBody>
          <a:bodyPr wrap="square" lIns="72000" tIns="72000" rIns="72000" bIns="72000">
            <a:noAutofit/>
          </a:bodyPr>
          <a:lstStyle>
            <a:lvl1pPr>
              <a:spcAft>
                <a:spcPts val="600"/>
              </a:spcAft>
              <a:defRPr sz="900" cap="all" baseline="0">
                <a:latin typeface="Calibre Semibold" panose="020B0703030202060203" pitchFamily="34" charset="0"/>
              </a:defRPr>
            </a:lvl1pPr>
            <a:lvl2pPr>
              <a:spcAft>
                <a:spcPts val="600"/>
              </a:spcAft>
              <a:defRPr sz="900"/>
            </a:lvl2pPr>
            <a:lvl3pPr>
              <a:spcBef>
                <a:spcPts val="200"/>
              </a:spcBef>
              <a:spcAft>
                <a:spcPts val="200"/>
              </a:spcAft>
              <a:defRPr sz="800"/>
            </a:lvl3pPr>
            <a:lvl4pPr>
              <a:spcBef>
                <a:spcPts val="200"/>
              </a:spcBef>
              <a:spcAft>
                <a:spcPts val="200"/>
              </a:spcAft>
              <a:defRPr sz="800"/>
            </a:lvl4pPr>
            <a:lvl5pPr>
              <a:defRPr sz="800"/>
            </a:lvl5pPr>
          </a:lstStyle>
          <a:p>
            <a:pPr lvl="0"/>
            <a:r>
              <a:rPr lang="en-GB"/>
              <a:t>subtitle</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5523783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Notes">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Tree>
    <p:extLst>
      <p:ext uri="{BB962C8B-B14F-4D97-AF65-F5344CB8AC3E}">
        <p14:creationId xmlns:p14="http://schemas.microsoft.com/office/powerpoint/2010/main" val="14000847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199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Image Cover 4">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6F222E5-437D-4D26-94F0-6DA259B5944D}"/>
              </a:ext>
            </a:extLst>
          </p:cNvPr>
          <p:cNvSpPr>
            <a:spLocks noGrp="1"/>
          </p:cNvSpPr>
          <p:nvPr>
            <p:ph type="pic" sz="quarter" idx="12"/>
          </p:nvPr>
        </p:nvSpPr>
        <p:spPr>
          <a:xfrm>
            <a:off x="511176" y="1612900"/>
            <a:ext cx="2460624" cy="4775200"/>
          </a:xfrm>
        </p:spPr>
        <p:txBody>
          <a:bodyPr/>
          <a:lstStyle>
            <a:lvl1pPr>
              <a:defRPr>
                <a:solidFill>
                  <a:schemeClr val="accent6"/>
                </a:solidFill>
              </a:defRPr>
            </a:lvl1pPr>
          </a:lstStyle>
          <a:p>
            <a:r>
              <a:rPr lang="en-GB" dirty="0"/>
              <a:t>Click icon to add picture</a:t>
            </a:r>
          </a:p>
        </p:txBody>
      </p:sp>
      <p:cxnSp>
        <p:nvCxnSpPr>
          <p:cNvPr id="7" name="Straight Connector 6">
            <a:extLst>
              <a:ext uri="{FF2B5EF4-FFF2-40B4-BE49-F238E27FC236}">
                <a16:creationId xmlns:a16="http://schemas.microsoft.com/office/drawing/2014/main" id="{4B50443A-8339-4B27-B4A9-FF02F1201B4A}"/>
              </a:ext>
            </a:extLst>
          </p:cNvPr>
          <p:cNvCxnSpPr>
            <a:cxnSpLocks/>
          </p:cNvCxnSpPr>
          <p:nvPr userDrawn="1"/>
        </p:nvCxnSpPr>
        <p:spPr>
          <a:xfrm>
            <a:off x="3584576" y="571774"/>
            <a:ext cx="6558601"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26" name="Holder 3">
            <a:extLst>
              <a:ext uri="{FF2B5EF4-FFF2-40B4-BE49-F238E27FC236}">
                <a16:creationId xmlns:a16="http://schemas.microsoft.com/office/drawing/2014/main" id="{76276979-8C48-B54F-A483-0C1D538B4166}"/>
              </a:ext>
            </a:extLst>
          </p:cNvPr>
          <p:cNvSpPr>
            <a:spLocks noGrp="1"/>
          </p:cNvSpPr>
          <p:nvPr>
            <p:ph type="body" idx="10" hasCustomPrompt="1"/>
          </p:nvPr>
        </p:nvSpPr>
        <p:spPr>
          <a:xfrm>
            <a:off x="10244137" y="6245352"/>
            <a:ext cx="1435101" cy="412100"/>
          </a:xfrm>
          <a:prstGeom prst="rect">
            <a:avLst/>
          </a:prstGeom>
        </p:spPr>
        <p:txBody>
          <a:bodyPr lIns="0" tIns="0" rIns="0" bIns="0"/>
          <a:lstStyle>
            <a:lvl1pPr marL="0" marR="0" indent="0" algn="r" defTabSz="554492" eaLnBrk="1" fontAlgn="auto" latinLnBrk="0" hangingPunct="1">
              <a:lnSpc>
                <a:spcPts val="1698"/>
              </a:lnSpc>
              <a:spcBef>
                <a:spcPts val="0"/>
              </a:spcBef>
              <a:spcAft>
                <a:spcPts val="0"/>
              </a:spcAft>
              <a:buClrTx/>
              <a:buSzTx/>
              <a:buFontTx/>
              <a:buNone/>
              <a:tabLst/>
              <a:defRPr lang="en-US" sz="1050" b="0" kern="1200" spc="-3" dirty="0" err="1" smtClean="0">
                <a:solidFill>
                  <a:schemeClr val="tx1"/>
                </a:solidFill>
                <a:latin typeface="Space Mono" panose="02000509040000020004" pitchFamily="49" charset="0"/>
                <a:ea typeface="+mn-ea"/>
                <a:cs typeface="Space Mono" panose="02000509040000020004" pitchFamily="49" charset="0"/>
              </a:defRPr>
            </a:lvl1pPr>
          </a:lstStyle>
          <a:p>
            <a:r>
              <a:rPr lang="en-GB"/>
              <a:t>DATE</a:t>
            </a:r>
          </a:p>
        </p:txBody>
      </p:sp>
      <p:sp>
        <p:nvSpPr>
          <p:cNvPr id="8" name="Title 7">
            <a:extLst>
              <a:ext uri="{FF2B5EF4-FFF2-40B4-BE49-F238E27FC236}">
                <a16:creationId xmlns:a16="http://schemas.microsoft.com/office/drawing/2014/main" id="{51B9FA0E-E9B2-48CD-AB3E-621C23814C7E}"/>
              </a:ext>
            </a:extLst>
          </p:cNvPr>
          <p:cNvSpPr>
            <a:spLocks noGrp="1"/>
          </p:cNvSpPr>
          <p:nvPr>
            <p:ph type="title"/>
          </p:nvPr>
        </p:nvSpPr>
        <p:spPr>
          <a:xfrm>
            <a:off x="3584576" y="1556510"/>
            <a:ext cx="5022844" cy="1820100"/>
          </a:xfrm>
        </p:spPr>
        <p:txBody>
          <a:bodyPr/>
          <a:lstStyle>
            <a:lvl1pPr>
              <a:lnSpc>
                <a:spcPct val="85000"/>
              </a:lnSpc>
              <a:defRPr sz="5400">
                <a:solidFill>
                  <a:schemeClr val="accent6"/>
                </a:solidFill>
              </a:defRPr>
            </a:lvl1pPr>
          </a:lstStyle>
          <a:p>
            <a:r>
              <a:rPr lang="en-GB"/>
              <a:t>Click to edit Master title style</a:t>
            </a:r>
          </a:p>
        </p:txBody>
      </p:sp>
      <p:sp>
        <p:nvSpPr>
          <p:cNvPr id="22" name="Rectangle 21">
            <a:extLst>
              <a:ext uri="{FF2B5EF4-FFF2-40B4-BE49-F238E27FC236}">
                <a16:creationId xmlns:a16="http://schemas.microsoft.com/office/drawing/2014/main" id="{51402F92-C298-4C9D-B165-225CA6300EEC}"/>
              </a:ext>
            </a:extLst>
          </p:cNvPr>
          <p:cNvSpPr/>
          <p:nvPr/>
        </p:nvSpPr>
        <p:spPr>
          <a:xfrm>
            <a:off x="1" y="0"/>
            <a:ext cx="3584576" cy="1091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CBRE Vector Logo">
            <a:extLst>
              <a:ext uri="{FF2B5EF4-FFF2-40B4-BE49-F238E27FC236}">
                <a16:creationId xmlns:a16="http://schemas.microsoft.com/office/drawing/2014/main" id="{2E2EAA08-5BCE-48AA-B638-B6BB3E345AA7}"/>
              </a:ext>
            </a:extLst>
          </p:cNvPr>
          <p:cNvSpPr>
            <a:spLocks noChangeAspect="1"/>
          </p:cNvSpPr>
          <p:nvPr userDrawn="1"/>
        </p:nvSpPr>
        <p:spPr>
          <a:xfrm>
            <a:off x="10755020" y="452438"/>
            <a:ext cx="924217" cy="229615"/>
          </a:xfrm>
          <a:custGeom>
            <a:avLst/>
            <a:gdLst>
              <a:gd name="connsiteX0" fmla="*/ 306851 w 924217"/>
              <a:gd name="connsiteY0" fmla="*/ 137455 h 229615"/>
              <a:gd name="connsiteX1" fmla="*/ 306851 w 924217"/>
              <a:gd name="connsiteY1" fmla="*/ 175680 h 229615"/>
              <a:gd name="connsiteX2" fmla="*/ 383040 w 924217"/>
              <a:gd name="connsiteY2" fmla="*/ 175680 h 229615"/>
              <a:gd name="connsiteX3" fmla="*/ 402153 w 924217"/>
              <a:gd name="connsiteY3" fmla="*/ 156305 h 229615"/>
              <a:gd name="connsiteX4" fmla="*/ 385134 w 924217"/>
              <a:gd name="connsiteY4" fmla="*/ 137455 h 229615"/>
              <a:gd name="connsiteX5" fmla="*/ 384873 w 924217"/>
              <a:gd name="connsiteY5" fmla="*/ 137455 h 229615"/>
              <a:gd name="connsiteX6" fmla="*/ 384611 w 924217"/>
              <a:gd name="connsiteY6" fmla="*/ 137455 h 229615"/>
              <a:gd name="connsiteX7" fmla="*/ 539868 w 924217"/>
              <a:gd name="connsiteY7" fmla="*/ 50530 h 229615"/>
              <a:gd name="connsiteX8" fmla="*/ 539868 w 924217"/>
              <a:gd name="connsiteY8" fmla="*/ 87185 h 229615"/>
              <a:gd name="connsiteX9" fmla="*/ 618414 w 924217"/>
              <a:gd name="connsiteY9" fmla="*/ 87185 h 229615"/>
              <a:gd name="connsiteX10" fmla="*/ 636479 w 924217"/>
              <a:gd name="connsiteY10" fmla="*/ 71476 h 229615"/>
              <a:gd name="connsiteX11" fmla="*/ 636218 w 924217"/>
              <a:gd name="connsiteY11" fmla="*/ 71476 h 229615"/>
              <a:gd name="connsiteX12" fmla="*/ 636218 w 924217"/>
              <a:gd name="connsiteY12" fmla="*/ 66501 h 229615"/>
              <a:gd name="connsiteX13" fmla="*/ 618414 w 924217"/>
              <a:gd name="connsiteY13" fmla="*/ 50530 h 229615"/>
              <a:gd name="connsiteX14" fmla="*/ 306589 w 924217"/>
              <a:gd name="connsiteY14" fmla="*/ 49745 h 229615"/>
              <a:gd name="connsiteX15" fmla="*/ 306851 w 924217"/>
              <a:gd name="connsiteY15" fmla="*/ 87447 h 229615"/>
              <a:gd name="connsiteX16" fmla="*/ 386443 w 924217"/>
              <a:gd name="connsiteY16" fmla="*/ 87185 h 229615"/>
              <a:gd name="connsiteX17" fmla="*/ 402676 w 924217"/>
              <a:gd name="connsiteY17" fmla="*/ 68073 h 229615"/>
              <a:gd name="connsiteX18" fmla="*/ 386967 w 924217"/>
              <a:gd name="connsiteY18" fmla="*/ 49745 h 229615"/>
              <a:gd name="connsiteX19" fmla="*/ 386705 w 924217"/>
              <a:gd name="connsiteY19" fmla="*/ 49745 h 229615"/>
              <a:gd name="connsiteX20" fmla="*/ 386443 w 924217"/>
              <a:gd name="connsiteY20" fmla="*/ 49745 h 229615"/>
              <a:gd name="connsiteX21" fmla="*/ 484363 w 924217"/>
              <a:gd name="connsiteY21" fmla="*/ 261 h 229615"/>
              <a:gd name="connsiteX22" fmla="*/ 606108 w 924217"/>
              <a:gd name="connsiteY22" fmla="*/ 261 h 229615"/>
              <a:gd name="connsiteX23" fmla="*/ 688581 w 924217"/>
              <a:gd name="connsiteY23" fmla="*/ 60479 h 229615"/>
              <a:gd name="connsiteX24" fmla="*/ 654807 w 924217"/>
              <a:gd name="connsiteY24" fmla="*/ 111010 h 229615"/>
              <a:gd name="connsiteX25" fmla="*/ 687796 w 924217"/>
              <a:gd name="connsiteY25" fmla="*/ 155519 h 229615"/>
              <a:gd name="connsiteX26" fmla="*/ 687796 w 924217"/>
              <a:gd name="connsiteY26" fmla="*/ 229614 h 229615"/>
              <a:gd name="connsiteX27" fmla="*/ 633076 w 924217"/>
              <a:gd name="connsiteY27" fmla="*/ 229614 h 229615"/>
              <a:gd name="connsiteX28" fmla="*/ 633076 w 924217"/>
              <a:gd name="connsiteY28" fmla="*/ 169396 h 229615"/>
              <a:gd name="connsiteX29" fmla="*/ 601658 w 924217"/>
              <a:gd name="connsiteY29" fmla="*/ 136930 h 229615"/>
              <a:gd name="connsiteX30" fmla="*/ 540130 w 924217"/>
              <a:gd name="connsiteY30" fmla="*/ 136930 h 229615"/>
              <a:gd name="connsiteX31" fmla="*/ 540130 w 924217"/>
              <a:gd name="connsiteY31" fmla="*/ 229614 h 229615"/>
              <a:gd name="connsiteX32" fmla="*/ 484363 w 924217"/>
              <a:gd name="connsiteY32" fmla="*/ 229614 h 229615"/>
              <a:gd name="connsiteX33" fmla="*/ 722879 w 924217"/>
              <a:gd name="connsiteY33" fmla="*/ 0 h 229615"/>
              <a:gd name="connsiteX34" fmla="*/ 923955 w 924217"/>
              <a:gd name="connsiteY34" fmla="*/ 0 h 229615"/>
              <a:gd name="connsiteX35" fmla="*/ 923955 w 924217"/>
              <a:gd name="connsiteY35" fmla="*/ 50007 h 229615"/>
              <a:gd name="connsiteX36" fmla="*/ 778908 w 924217"/>
              <a:gd name="connsiteY36" fmla="*/ 50007 h 229615"/>
              <a:gd name="connsiteX37" fmla="*/ 779170 w 924217"/>
              <a:gd name="connsiteY37" fmla="*/ 86924 h 229615"/>
              <a:gd name="connsiteX38" fmla="*/ 909817 w 924217"/>
              <a:gd name="connsiteY38" fmla="*/ 86924 h 229615"/>
              <a:gd name="connsiteX39" fmla="*/ 909817 w 924217"/>
              <a:gd name="connsiteY39" fmla="*/ 137193 h 229615"/>
              <a:gd name="connsiteX40" fmla="*/ 779170 w 924217"/>
              <a:gd name="connsiteY40" fmla="*/ 137193 h 229615"/>
              <a:gd name="connsiteX41" fmla="*/ 779170 w 924217"/>
              <a:gd name="connsiteY41" fmla="*/ 177251 h 229615"/>
              <a:gd name="connsiteX42" fmla="*/ 924217 w 924217"/>
              <a:gd name="connsiteY42" fmla="*/ 177251 h 229615"/>
              <a:gd name="connsiteX43" fmla="*/ 924217 w 924217"/>
              <a:gd name="connsiteY43" fmla="*/ 229615 h 229615"/>
              <a:gd name="connsiteX44" fmla="*/ 723141 w 924217"/>
              <a:gd name="connsiteY44" fmla="*/ 229615 h 229615"/>
              <a:gd name="connsiteX45" fmla="*/ 722879 w 924217"/>
              <a:gd name="connsiteY45" fmla="*/ 0 h 229615"/>
              <a:gd name="connsiteX46" fmla="*/ 250298 w 924217"/>
              <a:gd name="connsiteY46" fmla="*/ 0 h 229615"/>
              <a:gd name="connsiteX47" fmla="*/ 369163 w 924217"/>
              <a:gd name="connsiteY47" fmla="*/ 0 h 229615"/>
              <a:gd name="connsiteX48" fmla="*/ 454254 w 924217"/>
              <a:gd name="connsiteY48" fmla="*/ 56815 h 229615"/>
              <a:gd name="connsiteX49" fmla="*/ 419956 w 924217"/>
              <a:gd name="connsiteY49" fmla="*/ 111011 h 229615"/>
              <a:gd name="connsiteX50" fmla="*/ 456611 w 924217"/>
              <a:gd name="connsiteY50" fmla="*/ 163113 h 229615"/>
              <a:gd name="connsiteX51" fmla="*/ 368902 w 924217"/>
              <a:gd name="connsiteY51" fmla="*/ 229091 h 229615"/>
              <a:gd name="connsiteX52" fmla="*/ 250298 w 924217"/>
              <a:gd name="connsiteY52" fmla="*/ 229091 h 229615"/>
              <a:gd name="connsiteX53" fmla="*/ 250298 w 924217"/>
              <a:gd name="connsiteY53" fmla="*/ 0 h 229615"/>
              <a:gd name="connsiteX54" fmla="*/ 213644 w 924217"/>
              <a:gd name="connsiteY54" fmla="*/ 0 h 229615"/>
              <a:gd name="connsiteX55" fmla="*/ 215476 w 924217"/>
              <a:gd name="connsiteY55" fmla="*/ 0 h 229615"/>
              <a:gd name="connsiteX56" fmla="*/ 215215 w 924217"/>
              <a:gd name="connsiteY56" fmla="*/ 52102 h 229615"/>
              <a:gd name="connsiteX57" fmla="*/ 213382 w 924217"/>
              <a:gd name="connsiteY57" fmla="*/ 52102 h 229615"/>
              <a:gd name="connsiteX58" fmla="*/ 109702 w 924217"/>
              <a:gd name="connsiteY58" fmla="*/ 53149 h 229615"/>
              <a:gd name="connsiteX59" fmla="*/ 54720 w 924217"/>
              <a:gd name="connsiteY59" fmla="*/ 112582 h 229615"/>
              <a:gd name="connsiteX60" fmla="*/ 111535 w 924217"/>
              <a:gd name="connsiteY60" fmla="*/ 173062 h 229615"/>
              <a:gd name="connsiteX61" fmla="*/ 213905 w 924217"/>
              <a:gd name="connsiteY61" fmla="*/ 174109 h 229615"/>
              <a:gd name="connsiteX62" fmla="*/ 216000 w 924217"/>
              <a:gd name="connsiteY62" fmla="*/ 174109 h 229615"/>
              <a:gd name="connsiteX63" fmla="*/ 215738 w 924217"/>
              <a:gd name="connsiteY63" fmla="*/ 229353 h 229615"/>
              <a:gd name="connsiteX64" fmla="*/ 213905 w 924217"/>
              <a:gd name="connsiteY64" fmla="*/ 229353 h 229615"/>
              <a:gd name="connsiteX65" fmla="*/ 145309 w 924217"/>
              <a:gd name="connsiteY65" fmla="*/ 229353 h 229615"/>
              <a:gd name="connsiteX66" fmla="*/ 126720 w 924217"/>
              <a:gd name="connsiteY66" fmla="*/ 229091 h 229615"/>
              <a:gd name="connsiteX67" fmla="*/ 64407 w 924217"/>
              <a:gd name="connsiteY67" fmla="*/ 216524 h 229615"/>
              <a:gd name="connsiteX68" fmla="*/ 1833 w 924217"/>
              <a:gd name="connsiteY68" fmla="*/ 137455 h 229615"/>
              <a:gd name="connsiteX69" fmla="*/ 0 w 924217"/>
              <a:gd name="connsiteY69" fmla="*/ 114415 h 229615"/>
              <a:gd name="connsiteX70" fmla="*/ 22516 w 924217"/>
              <a:gd name="connsiteY70" fmla="*/ 46080 h 229615"/>
              <a:gd name="connsiteX71" fmla="*/ 67811 w 924217"/>
              <a:gd name="connsiteY71" fmla="*/ 9687 h 229615"/>
              <a:gd name="connsiteX72" fmla="*/ 115462 w 924217"/>
              <a:gd name="connsiteY72" fmla="*/ 262 h 22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24217" h="229615">
                <a:moveTo>
                  <a:pt x="306851" y="137455"/>
                </a:moveTo>
                <a:lnTo>
                  <a:pt x="306851" y="175680"/>
                </a:lnTo>
                <a:lnTo>
                  <a:pt x="383040" y="175680"/>
                </a:lnTo>
                <a:cubicBezTo>
                  <a:pt x="393251" y="175680"/>
                  <a:pt x="402153" y="166778"/>
                  <a:pt x="402153" y="156305"/>
                </a:cubicBezTo>
                <a:cubicBezTo>
                  <a:pt x="402153" y="146618"/>
                  <a:pt x="394822" y="138502"/>
                  <a:pt x="385134" y="137455"/>
                </a:cubicBezTo>
                <a:lnTo>
                  <a:pt x="384873" y="137455"/>
                </a:lnTo>
                <a:lnTo>
                  <a:pt x="384611" y="137455"/>
                </a:lnTo>
                <a:close/>
                <a:moveTo>
                  <a:pt x="539868" y="50530"/>
                </a:moveTo>
                <a:lnTo>
                  <a:pt x="539868" y="87185"/>
                </a:lnTo>
                <a:lnTo>
                  <a:pt x="618414" y="87185"/>
                </a:lnTo>
                <a:cubicBezTo>
                  <a:pt x="627839" y="87185"/>
                  <a:pt x="635432" y="79068"/>
                  <a:pt x="636479" y="71476"/>
                </a:cubicBezTo>
                <a:lnTo>
                  <a:pt x="636218" y="71476"/>
                </a:lnTo>
                <a:lnTo>
                  <a:pt x="636218" y="66501"/>
                </a:lnTo>
                <a:cubicBezTo>
                  <a:pt x="635170" y="57337"/>
                  <a:pt x="627839" y="50530"/>
                  <a:pt x="618414" y="50530"/>
                </a:cubicBezTo>
                <a:close/>
                <a:moveTo>
                  <a:pt x="306589" y="49745"/>
                </a:moveTo>
                <a:lnTo>
                  <a:pt x="306851" y="87447"/>
                </a:lnTo>
                <a:lnTo>
                  <a:pt x="386443" y="87185"/>
                </a:lnTo>
                <a:cubicBezTo>
                  <a:pt x="395607" y="85876"/>
                  <a:pt x="402676" y="77236"/>
                  <a:pt x="402676" y="68073"/>
                </a:cubicBezTo>
                <a:cubicBezTo>
                  <a:pt x="402676" y="58909"/>
                  <a:pt x="396131" y="51316"/>
                  <a:pt x="386967" y="49745"/>
                </a:cubicBezTo>
                <a:lnTo>
                  <a:pt x="386705" y="49745"/>
                </a:lnTo>
                <a:lnTo>
                  <a:pt x="386443" y="49745"/>
                </a:lnTo>
                <a:close/>
                <a:moveTo>
                  <a:pt x="484363" y="261"/>
                </a:moveTo>
                <a:lnTo>
                  <a:pt x="606108" y="261"/>
                </a:lnTo>
                <a:cubicBezTo>
                  <a:pt x="645643" y="261"/>
                  <a:pt x="688319" y="10734"/>
                  <a:pt x="688581" y="60479"/>
                </a:cubicBezTo>
                <a:cubicBezTo>
                  <a:pt x="688581" y="100799"/>
                  <a:pt x="654807" y="111010"/>
                  <a:pt x="654807" y="111010"/>
                </a:cubicBezTo>
                <a:cubicBezTo>
                  <a:pt x="654807" y="111010"/>
                  <a:pt x="687796" y="121221"/>
                  <a:pt x="687796" y="155519"/>
                </a:cubicBezTo>
                <a:lnTo>
                  <a:pt x="687796" y="229614"/>
                </a:lnTo>
                <a:lnTo>
                  <a:pt x="633076" y="229614"/>
                </a:lnTo>
                <a:lnTo>
                  <a:pt x="633076" y="169396"/>
                </a:lnTo>
                <a:cubicBezTo>
                  <a:pt x="633076" y="151592"/>
                  <a:pt x="619199" y="137192"/>
                  <a:pt x="601658" y="136930"/>
                </a:cubicBezTo>
                <a:cubicBezTo>
                  <a:pt x="601658" y="136930"/>
                  <a:pt x="540130" y="136930"/>
                  <a:pt x="540130" y="136930"/>
                </a:cubicBezTo>
                <a:cubicBezTo>
                  <a:pt x="540130" y="136930"/>
                  <a:pt x="540130" y="223068"/>
                  <a:pt x="540130" y="229614"/>
                </a:cubicBezTo>
                <a:cubicBezTo>
                  <a:pt x="534370" y="229614"/>
                  <a:pt x="484363" y="229614"/>
                  <a:pt x="484363" y="229614"/>
                </a:cubicBezTo>
                <a:close/>
                <a:moveTo>
                  <a:pt x="722879" y="0"/>
                </a:moveTo>
                <a:lnTo>
                  <a:pt x="923955" y="0"/>
                </a:lnTo>
                <a:lnTo>
                  <a:pt x="923955" y="50007"/>
                </a:lnTo>
                <a:lnTo>
                  <a:pt x="778908" y="50007"/>
                </a:lnTo>
                <a:lnTo>
                  <a:pt x="779170" y="86924"/>
                </a:lnTo>
                <a:lnTo>
                  <a:pt x="909817" y="86924"/>
                </a:lnTo>
                <a:lnTo>
                  <a:pt x="909817" y="137193"/>
                </a:lnTo>
                <a:lnTo>
                  <a:pt x="779170" y="137193"/>
                </a:lnTo>
                <a:lnTo>
                  <a:pt x="779170" y="177251"/>
                </a:lnTo>
                <a:lnTo>
                  <a:pt x="924217" y="177251"/>
                </a:lnTo>
                <a:lnTo>
                  <a:pt x="924217" y="229615"/>
                </a:lnTo>
                <a:cubicBezTo>
                  <a:pt x="924217" y="229615"/>
                  <a:pt x="729948" y="229615"/>
                  <a:pt x="723141" y="229615"/>
                </a:cubicBezTo>
                <a:cubicBezTo>
                  <a:pt x="722879" y="223069"/>
                  <a:pt x="722879" y="0"/>
                  <a:pt x="722879" y="0"/>
                </a:cubicBezTo>
                <a:close/>
                <a:moveTo>
                  <a:pt x="250298" y="0"/>
                </a:moveTo>
                <a:lnTo>
                  <a:pt x="369163" y="0"/>
                </a:lnTo>
                <a:cubicBezTo>
                  <a:pt x="432785" y="0"/>
                  <a:pt x="454516" y="26444"/>
                  <a:pt x="454254" y="56815"/>
                </a:cubicBezTo>
                <a:cubicBezTo>
                  <a:pt x="454516" y="76713"/>
                  <a:pt x="449280" y="101324"/>
                  <a:pt x="419956" y="111011"/>
                </a:cubicBezTo>
                <a:cubicBezTo>
                  <a:pt x="419956" y="111011"/>
                  <a:pt x="456611" y="123316"/>
                  <a:pt x="456611" y="163113"/>
                </a:cubicBezTo>
                <a:cubicBezTo>
                  <a:pt x="456611" y="196102"/>
                  <a:pt x="433047" y="229091"/>
                  <a:pt x="368902" y="229091"/>
                </a:cubicBezTo>
                <a:cubicBezTo>
                  <a:pt x="368902" y="229091"/>
                  <a:pt x="256843" y="229091"/>
                  <a:pt x="250298" y="229091"/>
                </a:cubicBezTo>
                <a:cubicBezTo>
                  <a:pt x="250298" y="222545"/>
                  <a:pt x="250298" y="0"/>
                  <a:pt x="250298" y="0"/>
                </a:cubicBezTo>
                <a:close/>
                <a:moveTo>
                  <a:pt x="213644" y="0"/>
                </a:moveTo>
                <a:lnTo>
                  <a:pt x="215476" y="0"/>
                </a:lnTo>
                <a:lnTo>
                  <a:pt x="215215" y="52102"/>
                </a:lnTo>
                <a:lnTo>
                  <a:pt x="213382" y="52102"/>
                </a:lnTo>
                <a:cubicBezTo>
                  <a:pt x="212596" y="52102"/>
                  <a:pt x="125673" y="51055"/>
                  <a:pt x="109702" y="53149"/>
                </a:cubicBezTo>
                <a:cubicBezTo>
                  <a:pt x="76189" y="57600"/>
                  <a:pt x="54720" y="80902"/>
                  <a:pt x="54720" y="112582"/>
                </a:cubicBezTo>
                <a:cubicBezTo>
                  <a:pt x="54720" y="137978"/>
                  <a:pt x="69644" y="168873"/>
                  <a:pt x="111535" y="173062"/>
                </a:cubicBezTo>
                <a:cubicBezTo>
                  <a:pt x="137716" y="175680"/>
                  <a:pt x="213120" y="174109"/>
                  <a:pt x="213905" y="174109"/>
                </a:cubicBezTo>
                <a:lnTo>
                  <a:pt x="216000" y="174109"/>
                </a:lnTo>
                <a:lnTo>
                  <a:pt x="215738" y="229353"/>
                </a:lnTo>
                <a:lnTo>
                  <a:pt x="213905" y="229353"/>
                </a:lnTo>
                <a:cubicBezTo>
                  <a:pt x="213905" y="229353"/>
                  <a:pt x="145309" y="229353"/>
                  <a:pt x="145309" y="229353"/>
                </a:cubicBezTo>
                <a:cubicBezTo>
                  <a:pt x="145309" y="229353"/>
                  <a:pt x="126720" y="229091"/>
                  <a:pt x="126720" y="229091"/>
                </a:cubicBezTo>
                <a:cubicBezTo>
                  <a:pt x="92422" y="227258"/>
                  <a:pt x="75404" y="221498"/>
                  <a:pt x="64407" y="216524"/>
                </a:cubicBezTo>
                <a:cubicBezTo>
                  <a:pt x="31680" y="201076"/>
                  <a:pt x="8902" y="172276"/>
                  <a:pt x="1833" y="137455"/>
                </a:cubicBezTo>
                <a:cubicBezTo>
                  <a:pt x="524" y="129862"/>
                  <a:pt x="0" y="122269"/>
                  <a:pt x="0" y="114415"/>
                </a:cubicBezTo>
                <a:cubicBezTo>
                  <a:pt x="0" y="89542"/>
                  <a:pt x="7855" y="65978"/>
                  <a:pt x="22516" y="46080"/>
                </a:cubicBezTo>
                <a:cubicBezTo>
                  <a:pt x="34298" y="30371"/>
                  <a:pt x="49745" y="17804"/>
                  <a:pt x="67811" y="9687"/>
                </a:cubicBezTo>
                <a:cubicBezTo>
                  <a:pt x="86400" y="2095"/>
                  <a:pt x="104465" y="1047"/>
                  <a:pt x="115462" y="262"/>
                </a:cubicBezTo>
                <a:close/>
              </a:path>
            </a:pathLst>
          </a:custGeom>
          <a:solidFill>
            <a:srgbClr val="003F2D"/>
          </a:solidFill>
          <a:ln w="2617" cap="flat">
            <a:noFill/>
            <a:prstDash val="solid"/>
            <a:miter/>
          </a:ln>
        </p:spPr>
        <p:txBody>
          <a:bodyPr wrap="square" rtlCol="0" anchor="ctr">
            <a:noAutofit/>
          </a:bodyPr>
          <a:lstStyle/>
          <a:p>
            <a:endParaRPr lang="en-GB" dirty="0"/>
          </a:p>
        </p:txBody>
      </p:sp>
    </p:spTree>
    <p:extLst>
      <p:ext uri="{BB962C8B-B14F-4D97-AF65-F5344CB8AC3E}">
        <p14:creationId xmlns:p14="http://schemas.microsoft.com/office/powerpoint/2010/main" val="3921656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2250" fill="hold"/>
                                        <p:tgtEl>
                                          <p:spTgt spid="7"/>
                                        </p:tgtEl>
                                        <p:attrNameLst>
                                          <p:attrName>ppt_x</p:attrName>
                                        </p:attrNameLst>
                                      </p:cBhvr>
                                      <p:tavLst>
                                        <p:tav tm="0">
                                          <p:val>
                                            <p:strVal val="0-#ppt_w/2"/>
                                          </p:val>
                                        </p:tav>
                                        <p:tav tm="100000">
                                          <p:val>
                                            <p:strVal val="#ppt_x"/>
                                          </p:val>
                                        </p:tav>
                                      </p:tavLst>
                                    </p:anim>
                                    <p:anim calcmode="lin" valueType="num">
                                      <p:cBhvr additive="base">
                                        <p:cTn id="8" dur="22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Tree>
    <p:extLst>
      <p:ext uri="{BB962C8B-B14F-4D97-AF65-F5344CB8AC3E}">
        <p14:creationId xmlns:p14="http://schemas.microsoft.com/office/powerpoint/2010/main" val="15345176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taViz - Text &amp; Chart">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hasCustomPrompt="1"/>
          </p:nvPr>
        </p:nvSpPr>
        <p:spPr>
          <a:xfrm>
            <a:off x="508000" y="6272784"/>
            <a:ext cx="11173968" cy="128016"/>
          </a:xfrm>
        </p:spPr>
        <p:txBody>
          <a:bodyPr/>
          <a:lstStyle>
            <a:lvl1pPr>
              <a:spcBef>
                <a:spcPts val="600"/>
              </a:spcBef>
              <a:spcAft>
                <a:spcPts val="0"/>
              </a:spcAft>
              <a:defRPr sz="900">
                <a:latin typeface="+mn-lt"/>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Source:</a:t>
            </a:r>
          </a:p>
        </p:txBody>
      </p:sp>
      <p:sp>
        <p:nvSpPr>
          <p:cNvPr id="11" name="Chart Placeholder 1">
            <a:extLst>
              <a:ext uri="{FF2B5EF4-FFF2-40B4-BE49-F238E27FC236}">
                <a16:creationId xmlns:a16="http://schemas.microsoft.com/office/drawing/2014/main" id="{F069B3FF-2A85-4684-B67A-A15E60817978}"/>
              </a:ext>
            </a:extLst>
          </p:cNvPr>
          <p:cNvSpPr>
            <a:spLocks noGrp="1"/>
          </p:cNvSpPr>
          <p:nvPr>
            <p:ph type="chart" sz="quarter" idx="15"/>
          </p:nvPr>
        </p:nvSpPr>
        <p:spPr>
          <a:xfrm>
            <a:off x="3582988" y="1600200"/>
            <a:ext cx="8097837" cy="4495800"/>
          </a:xfrm>
        </p:spPr>
        <p:txBody>
          <a:bodyPr/>
          <a:lstStyle/>
          <a:p>
            <a:r>
              <a:rPr lang="en-GB" dirty="0"/>
              <a:t>Click icon to add chart</a:t>
            </a:r>
            <a:endParaRPr lang="en-US" dirty="0"/>
          </a:p>
        </p:txBody>
      </p:sp>
      <p:sp>
        <p:nvSpPr>
          <p:cNvPr id="5" name="Content Placeholder 1">
            <a:extLst>
              <a:ext uri="{FF2B5EF4-FFF2-40B4-BE49-F238E27FC236}">
                <a16:creationId xmlns:a16="http://schemas.microsoft.com/office/drawing/2014/main" id="{6B1107DB-399B-4B4B-8DCC-7D73ACC954D7}"/>
              </a:ext>
            </a:extLst>
          </p:cNvPr>
          <p:cNvSpPr>
            <a:spLocks noGrp="1"/>
          </p:cNvSpPr>
          <p:nvPr>
            <p:ph sz="quarter" idx="12"/>
          </p:nvPr>
        </p:nvSpPr>
        <p:spPr>
          <a:xfrm>
            <a:off x="508000" y="1601787"/>
            <a:ext cx="2973388" cy="449421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3582987" y="973138"/>
            <a:ext cx="8097837" cy="526478"/>
          </a:xfrm>
        </p:spPr>
        <p:txBody>
          <a:bodyPr anchor="b" anchorCtr="0"/>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5" y="477903"/>
            <a:ext cx="8094663" cy="398398"/>
          </a:xfrm>
        </p:spPr>
        <p:txBody>
          <a:bodyPr/>
          <a:lstStyle/>
          <a:p>
            <a:r>
              <a:rPr lang="en-GB"/>
              <a:t>Click to edit Master title style</a:t>
            </a:r>
          </a:p>
        </p:txBody>
      </p:sp>
      <p:sp>
        <p:nvSpPr>
          <p:cNvPr id="9" name="Rectangle 8">
            <a:extLst>
              <a:ext uri="{FF2B5EF4-FFF2-40B4-BE49-F238E27FC236}">
                <a16:creationId xmlns:a16="http://schemas.microsoft.com/office/drawing/2014/main" id="{CEB4F623-0894-4D0D-8978-0BFBBCC955C5}"/>
              </a:ext>
            </a:extLst>
          </p:cNvPr>
          <p:cNvSpPr/>
          <p:nvPr userDrawn="1"/>
        </p:nvSpPr>
        <p:spPr>
          <a:xfrm>
            <a:off x="-1600200" y="-2"/>
            <a:ext cx="1308059" cy="2362201"/>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ataViz layout options are </a:t>
            </a:r>
            <a:br>
              <a:rPr lang="en-GB" sz="1200" dirty="0">
                <a:solidFill>
                  <a:schemeClr val="bg1"/>
                </a:solidFill>
                <a:latin typeface="Calibre-Semibold" panose="020B0703030202060203" pitchFamily="34" charset="0"/>
              </a:rPr>
            </a:br>
            <a:r>
              <a:rPr lang="en-GB" sz="1200" dirty="0">
                <a:solidFill>
                  <a:schemeClr val="bg1"/>
                </a:solidFill>
                <a:latin typeface="Calibre-Semibold" panose="020B0703030202060203" pitchFamily="34" charset="0"/>
              </a:rPr>
              <a:t>only for:</a:t>
            </a:r>
          </a:p>
          <a:p>
            <a:pPr marL="171450" lvl="1" indent="-171450" algn="l">
              <a:spcAft>
                <a:spcPts val="300"/>
              </a:spcAft>
              <a:buFont typeface="+mj-lt"/>
              <a:buAutoNum type="arabicPeriod"/>
            </a:pPr>
            <a:r>
              <a:rPr lang="en-GB" sz="1200" dirty="0">
                <a:solidFill>
                  <a:schemeClr val="bg1"/>
                </a:solidFill>
                <a:latin typeface="+mn-lt"/>
              </a:rPr>
              <a:t>speaker presentations where charts need to be larger to be legible</a:t>
            </a:r>
          </a:p>
          <a:p>
            <a:pPr marL="171450" lvl="1" indent="-171450" algn="l">
              <a:spcAft>
                <a:spcPts val="300"/>
              </a:spcAft>
              <a:buFont typeface="+mj-lt"/>
              <a:buAutoNum type="arabicPeriod"/>
            </a:pPr>
            <a:r>
              <a:rPr lang="en-GB" sz="1200" dirty="0">
                <a:solidFill>
                  <a:schemeClr val="bg1"/>
                </a:solidFill>
                <a:latin typeface="+mn-lt"/>
              </a:rPr>
              <a:t>Complex charts requiring extra room such as org or Gantt charts</a:t>
            </a:r>
          </a:p>
        </p:txBody>
      </p:sp>
    </p:spTree>
    <p:extLst>
      <p:ext uri="{BB962C8B-B14F-4D97-AF65-F5344CB8AC3E}">
        <p14:creationId xmlns:p14="http://schemas.microsoft.com/office/powerpoint/2010/main" val="11068333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taViz - 1 Chart">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hasCustomPrompt="1"/>
          </p:nvPr>
        </p:nvSpPr>
        <p:spPr>
          <a:xfrm>
            <a:off x="508000" y="6272784"/>
            <a:ext cx="11173968" cy="128016"/>
          </a:xfrm>
        </p:spPr>
        <p:txBody>
          <a:bodyPr/>
          <a:lstStyle>
            <a:lvl1pPr>
              <a:spcBef>
                <a:spcPts val="600"/>
              </a:spcBef>
              <a:spcAft>
                <a:spcPts val="0"/>
              </a:spcAft>
              <a:defRPr sz="900">
                <a:latin typeface="+mn-lt"/>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Source:</a:t>
            </a:r>
          </a:p>
        </p:txBody>
      </p:sp>
      <p:sp>
        <p:nvSpPr>
          <p:cNvPr id="11" name="Chart Placeholder 1">
            <a:extLst>
              <a:ext uri="{FF2B5EF4-FFF2-40B4-BE49-F238E27FC236}">
                <a16:creationId xmlns:a16="http://schemas.microsoft.com/office/drawing/2014/main" id="{F069B3FF-2A85-4684-B67A-A15E60817978}"/>
              </a:ext>
            </a:extLst>
          </p:cNvPr>
          <p:cNvSpPr>
            <a:spLocks noGrp="1"/>
          </p:cNvSpPr>
          <p:nvPr>
            <p:ph type="chart" sz="quarter" idx="15"/>
          </p:nvPr>
        </p:nvSpPr>
        <p:spPr>
          <a:xfrm>
            <a:off x="508000" y="1600200"/>
            <a:ext cx="11172825" cy="4495800"/>
          </a:xfrm>
        </p:spPr>
        <p:txBody>
          <a:bodyPr/>
          <a:lstStyle/>
          <a:p>
            <a:r>
              <a:rPr lang="en-GB" dirty="0"/>
              <a:t>Click icon to add chart</a:t>
            </a:r>
            <a:endParaRPr lang="en-US" dirty="0"/>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507999" y="973138"/>
            <a:ext cx="8097839" cy="526478"/>
          </a:xfrm>
        </p:spPr>
        <p:txBody>
          <a:bodyPr anchor="b" anchorCtr="0"/>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5" y="477903"/>
            <a:ext cx="8094661" cy="398398"/>
          </a:xfrm>
        </p:spPr>
        <p:txBody>
          <a:bodyPr/>
          <a:lstStyle/>
          <a:p>
            <a:r>
              <a:rPr lang="en-GB"/>
              <a:t>Click to edit Master title style</a:t>
            </a:r>
          </a:p>
        </p:txBody>
      </p:sp>
      <p:sp>
        <p:nvSpPr>
          <p:cNvPr id="9" name="Rectangle 8">
            <a:extLst>
              <a:ext uri="{FF2B5EF4-FFF2-40B4-BE49-F238E27FC236}">
                <a16:creationId xmlns:a16="http://schemas.microsoft.com/office/drawing/2014/main" id="{0891508E-3D5B-4491-9DE0-5F5F108BBF2E}"/>
              </a:ext>
            </a:extLst>
          </p:cNvPr>
          <p:cNvSpPr/>
          <p:nvPr userDrawn="1"/>
        </p:nvSpPr>
        <p:spPr>
          <a:xfrm>
            <a:off x="-1600200" y="-2"/>
            <a:ext cx="1308059" cy="2362201"/>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ataViz layout options are </a:t>
            </a:r>
            <a:br>
              <a:rPr lang="en-GB" sz="1200" dirty="0">
                <a:solidFill>
                  <a:schemeClr val="bg1"/>
                </a:solidFill>
                <a:latin typeface="Calibre-Semibold" panose="020B0703030202060203" pitchFamily="34" charset="0"/>
              </a:rPr>
            </a:br>
            <a:r>
              <a:rPr lang="en-GB" sz="1200" dirty="0">
                <a:solidFill>
                  <a:schemeClr val="bg1"/>
                </a:solidFill>
                <a:latin typeface="Calibre-Semibold" panose="020B0703030202060203" pitchFamily="34" charset="0"/>
              </a:rPr>
              <a:t>only for:</a:t>
            </a:r>
          </a:p>
          <a:p>
            <a:pPr marL="171450" lvl="1" indent="-171450" algn="l">
              <a:spcAft>
                <a:spcPts val="300"/>
              </a:spcAft>
              <a:buFont typeface="+mj-lt"/>
              <a:buAutoNum type="arabicPeriod"/>
            </a:pPr>
            <a:r>
              <a:rPr lang="en-GB" sz="1200" dirty="0">
                <a:solidFill>
                  <a:schemeClr val="bg1"/>
                </a:solidFill>
                <a:latin typeface="+mn-lt"/>
              </a:rPr>
              <a:t>speaker presentations where charts need to be larger to be legible</a:t>
            </a:r>
          </a:p>
          <a:p>
            <a:pPr marL="171450" lvl="1" indent="-171450" algn="l">
              <a:spcAft>
                <a:spcPts val="300"/>
              </a:spcAft>
              <a:buFont typeface="+mj-lt"/>
              <a:buAutoNum type="arabicPeriod"/>
            </a:pPr>
            <a:r>
              <a:rPr lang="en-GB" sz="1200" dirty="0">
                <a:solidFill>
                  <a:schemeClr val="bg1"/>
                </a:solidFill>
                <a:latin typeface="+mn-lt"/>
              </a:rPr>
              <a:t>Complex charts requiring extra room such as org or Gantt charts</a:t>
            </a:r>
          </a:p>
        </p:txBody>
      </p:sp>
    </p:spTree>
    <p:extLst>
      <p:ext uri="{BB962C8B-B14F-4D97-AF65-F5344CB8AC3E}">
        <p14:creationId xmlns:p14="http://schemas.microsoft.com/office/powerpoint/2010/main" val="113530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ataViz - 2 Charts 1:2">
    <p:spTree>
      <p:nvGrpSpPr>
        <p:cNvPr id="1" name=""/>
        <p:cNvGrpSpPr/>
        <p:nvPr/>
      </p:nvGrpSpPr>
      <p:grpSpPr>
        <a:xfrm>
          <a:off x="0" y="0"/>
          <a:ext cx="0" cy="0"/>
          <a:chOff x="0" y="0"/>
          <a:chExt cx="0" cy="0"/>
        </a:xfrm>
      </p:grpSpPr>
      <p:sp>
        <p:nvSpPr>
          <p:cNvPr id="10" name="Source Placeholder 2">
            <a:extLst>
              <a:ext uri="{FF2B5EF4-FFF2-40B4-BE49-F238E27FC236}">
                <a16:creationId xmlns:a16="http://schemas.microsoft.com/office/drawing/2014/main" id="{404A0EDF-1C0E-4A60-9F6A-5BBEC4A08262}"/>
              </a:ext>
            </a:extLst>
          </p:cNvPr>
          <p:cNvSpPr>
            <a:spLocks noGrp="1"/>
          </p:cNvSpPr>
          <p:nvPr>
            <p:ph type="body" sz="quarter" idx="18" hasCustomPrompt="1"/>
          </p:nvPr>
        </p:nvSpPr>
        <p:spPr>
          <a:xfrm>
            <a:off x="3582988" y="6272784"/>
            <a:ext cx="8101012" cy="129669"/>
          </a:xfrm>
        </p:spPr>
        <p:txBody>
          <a:bodyPr/>
          <a:lstStyle>
            <a:lvl1pPr>
              <a:spcBef>
                <a:spcPts val="600"/>
              </a:spcBef>
              <a:spcAft>
                <a:spcPts val="0"/>
              </a:spcAft>
              <a:defRPr sz="900">
                <a:latin typeface="+mn-lt"/>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Source:</a:t>
            </a:r>
          </a:p>
        </p:txBody>
      </p:sp>
      <p:sp>
        <p:nvSpPr>
          <p:cNvPr id="6" name="Chart Placeholder 2">
            <a:extLst>
              <a:ext uri="{FF2B5EF4-FFF2-40B4-BE49-F238E27FC236}">
                <a16:creationId xmlns:a16="http://schemas.microsoft.com/office/drawing/2014/main" id="{7F799BFF-9B81-4666-8735-69E578E73846}"/>
              </a:ext>
            </a:extLst>
          </p:cNvPr>
          <p:cNvSpPr>
            <a:spLocks noGrp="1"/>
          </p:cNvSpPr>
          <p:nvPr>
            <p:ph type="chart" sz="quarter" idx="17"/>
          </p:nvPr>
        </p:nvSpPr>
        <p:spPr>
          <a:xfrm>
            <a:off x="3582988" y="1600200"/>
            <a:ext cx="8101012" cy="4495800"/>
          </a:xfrm>
        </p:spPr>
        <p:txBody>
          <a:bodyPr/>
          <a:lstStyle/>
          <a:p>
            <a:r>
              <a:rPr lang="en-GB" dirty="0"/>
              <a:t>Click icon to add chart</a:t>
            </a:r>
            <a:endParaRPr lang="en-US" dirty="0"/>
          </a:p>
        </p:txBody>
      </p:sp>
      <p:sp>
        <p:nvSpPr>
          <p:cNvPr id="4" name="Subheading Placeholder 2">
            <a:extLst>
              <a:ext uri="{FF2B5EF4-FFF2-40B4-BE49-F238E27FC236}">
                <a16:creationId xmlns:a16="http://schemas.microsoft.com/office/drawing/2014/main" id="{1A90358D-2B37-4C05-B07A-D213892133E0}"/>
              </a:ext>
            </a:extLst>
          </p:cNvPr>
          <p:cNvSpPr>
            <a:spLocks noGrp="1"/>
          </p:cNvSpPr>
          <p:nvPr>
            <p:ph type="body" sz="quarter" idx="16" hasCustomPrompt="1"/>
          </p:nvPr>
        </p:nvSpPr>
        <p:spPr>
          <a:xfrm>
            <a:off x="3582988" y="973138"/>
            <a:ext cx="8101012" cy="525462"/>
          </a:xfrm>
        </p:spPr>
        <p:txBody>
          <a:bodyPr anchor="b" anchorCtr="0"/>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hasCustomPrompt="1"/>
          </p:nvPr>
        </p:nvSpPr>
        <p:spPr>
          <a:xfrm>
            <a:off x="508000" y="6272784"/>
            <a:ext cx="2973388" cy="128016"/>
          </a:xfrm>
        </p:spPr>
        <p:txBody>
          <a:bodyPr/>
          <a:lstStyle>
            <a:lvl1pPr>
              <a:spcBef>
                <a:spcPts val="600"/>
              </a:spcBef>
              <a:spcAft>
                <a:spcPts val="0"/>
              </a:spcAft>
              <a:defRPr sz="900">
                <a:latin typeface="+mn-lt"/>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Source:</a:t>
            </a:r>
          </a:p>
        </p:txBody>
      </p:sp>
      <p:sp>
        <p:nvSpPr>
          <p:cNvPr id="11" name="Chart Placeholder 1">
            <a:extLst>
              <a:ext uri="{FF2B5EF4-FFF2-40B4-BE49-F238E27FC236}">
                <a16:creationId xmlns:a16="http://schemas.microsoft.com/office/drawing/2014/main" id="{F069B3FF-2A85-4684-B67A-A15E60817978}"/>
              </a:ext>
            </a:extLst>
          </p:cNvPr>
          <p:cNvSpPr>
            <a:spLocks noGrp="1"/>
          </p:cNvSpPr>
          <p:nvPr>
            <p:ph type="chart" sz="quarter" idx="15"/>
          </p:nvPr>
        </p:nvSpPr>
        <p:spPr>
          <a:xfrm>
            <a:off x="508000" y="1600200"/>
            <a:ext cx="2973388" cy="4495800"/>
          </a:xfrm>
        </p:spPr>
        <p:txBody>
          <a:bodyPr/>
          <a:lstStyle/>
          <a:p>
            <a:r>
              <a:rPr lang="en-GB" dirty="0"/>
              <a:t>Click icon to add chart</a:t>
            </a:r>
            <a:endParaRPr lang="en-US" dirty="0"/>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507999" y="973138"/>
            <a:ext cx="2973388" cy="526478"/>
          </a:xfrm>
        </p:spPr>
        <p:txBody>
          <a:bodyPr anchor="b" anchorCtr="0"/>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5" y="477903"/>
            <a:ext cx="8094661" cy="398398"/>
          </a:xfrm>
        </p:spPr>
        <p:txBody>
          <a:bodyPr/>
          <a:lstStyle/>
          <a:p>
            <a:r>
              <a:rPr lang="en-GB"/>
              <a:t>Click to edit Master title style</a:t>
            </a:r>
          </a:p>
        </p:txBody>
      </p:sp>
      <p:sp>
        <p:nvSpPr>
          <p:cNvPr id="12" name="Rectangle 11">
            <a:extLst>
              <a:ext uri="{FF2B5EF4-FFF2-40B4-BE49-F238E27FC236}">
                <a16:creationId xmlns:a16="http://schemas.microsoft.com/office/drawing/2014/main" id="{73B0B34B-8B5C-45C7-8ED6-E6E702F7860F}"/>
              </a:ext>
            </a:extLst>
          </p:cNvPr>
          <p:cNvSpPr/>
          <p:nvPr userDrawn="1"/>
        </p:nvSpPr>
        <p:spPr>
          <a:xfrm>
            <a:off x="-1600200" y="-2"/>
            <a:ext cx="1308059" cy="2362201"/>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ataViz layout options are </a:t>
            </a:r>
            <a:br>
              <a:rPr lang="en-GB" sz="1200" dirty="0">
                <a:solidFill>
                  <a:schemeClr val="bg1"/>
                </a:solidFill>
                <a:latin typeface="Calibre-Semibold" panose="020B0703030202060203" pitchFamily="34" charset="0"/>
              </a:rPr>
            </a:br>
            <a:r>
              <a:rPr lang="en-GB" sz="1200" dirty="0">
                <a:solidFill>
                  <a:schemeClr val="bg1"/>
                </a:solidFill>
                <a:latin typeface="Calibre-Semibold" panose="020B0703030202060203" pitchFamily="34" charset="0"/>
              </a:rPr>
              <a:t>only for:</a:t>
            </a:r>
          </a:p>
          <a:p>
            <a:pPr marL="171450" lvl="1" indent="-171450" algn="l">
              <a:spcAft>
                <a:spcPts val="300"/>
              </a:spcAft>
              <a:buFont typeface="+mj-lt"/>
              <a:buAutoNum type="arabicPeriod"/>
            </a:pPr>
            <a:r>
              <a:rPr lang="en-GB" sz="1200" dirty="0">
                <a:solidFill>
                  <a:schemeClr val="bg1"/>
                </a:solidFill>
                <a:latin typeface="+mn-lt"/>
              </a:rPr>
              <a:t>speaker presentations where charts need to be larger to be legible</a:t>
            </a:r>
          </a:p>
          <a:p>
            <a:pPr marL="171450" lvl="1" indent="-171450" algn="l">
              <a:spcAft>
                <a:spcPts val="300"/>
              </a:spcAft>
              <a:buFont typeface="+mj-lt"/>
              <a:buAutoNum type="arabicPeriod"/>
            </a:pPr>
            <a:r>
              <a:rPr lang="en-GB" sz="1200" dirty="0">
                <a:solidFill>
                  <a:schemeClr val="bg1"/>
                </a:solidFill>
                <a:latin typeface="+mn-lt"/>
              </a:rPr>
              <a:t>Complex charts requiring extra room such as org or Gantt charts</a:t>
            </a:r>
          </a:p>
        </p:txBody>
      </p:sp>
    </p:spTree>
    <p:extLst>
      <p:ext uri="{BB962C8B-B14F-4D97-AF65-F5344CB8AC3E}">
        <p14:creationId xmlns:p14="http://schemas.microsoft.com/office/powerpoint/2010/main" val="25280875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ataViz - 2 Charts 1:1">
    <p:spTree>
      <p:nvGrpSpPr>
        <p:cNvPr id="1" name=""/>
        <p:cNvGrpSpPr/>
        <p:nvPr/>
      </p:nvGrpSpPr>
      <p:grpSpPr>
        <a:xfrm>
          <a:off x="0" y="0"/>
          <a:ext cx="0" cy="0"/>
          <a:chOff x="0" y="0"/>
          <a:chExt cx="0" cy="0"/>
        </a:xfrm>
      </p:grpSpPr>
      <p:sp>
        <p:nvSpPr>
          <p:cNvPr id="10" name="Source Placeholder 2">
            <a:extLst>
              <a:ext uri="{FF2B5EF4-FFF2-40B4-BE49-F238E27FC236}">
                <a16:creationId xmlns:a16="http://schemas.microsoft.com/office/drawing/2014/main" id="{404A0EDF-1C0E-4A60-9F6A-5BBEC4A08262}"/>
              </a:ext>
            </a:extLst>
          </p:cNvPr>
          <p:cNvSpPr>
            <a:spLocks noGrp="1"/>
          </p:cNvSpPr>
          <p:nvPr>
            <p:ph type="body" sz="quarter" idx="18" hasCustomPrompt="1"/>
          </p:nvPr>
        </p:nvSpPr>
        <p:spPr>
          <a:xfrm>
            <a:off x="6148386" y="6272784"/>
            <a:ext cx="5535614" cy="129669"/>
          </a:xfrm>
        </p:spPr>
        <p:txBody>
          <a:bodyPr/>
          <a:lstStyle>
            <a:lvl1pPr>
              <a:spcBef>
                <a:spcPts val="600"/>
              </a:spcBef>
              <a:spcAft>
                <a:spcPts val="0"/>
              </a:spcAft>
              <a:defRPr sz="900">
                <a:latin typeface="+mn-lt"/>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Source:</a:t>
            </a:r>
          </a:p>
        </p:txBody>
      </p:sp>
      <p:sp>
        <p:nvSpPr>
          <p:cNvPr id="6" name="Chart Placeholder 2">
            <a:extLst>
              <a:ext uri="{FF2B5EF4-FFF2-40B4-BE49-F238E27FC236}">
                <a16:creationId xmlns:a16="http://schemas.microsoft.com/office/drawing/2014/main" id="{7F799BFF-9B81-4666-8735-69E578E73846}"/>
              </a:ext>
            </a:extLst>
          </p:cNvPr>
          <p:cNvSpPr>
            <a:spLocks noGrp="1"/>
          </p:cNvSpPr>
          <p:nvPr>
            <p:ph type="chart" sz="quarter" idx="17"/>
          </p:nvPr>
        </p:nvSpPr>
        <p:spPr>
          <a:xfrm>
            <a:off x="6148386" y="1600200"/>
            <a:ext cx="5535614" cy="4495800"/>
          </a:xfrm>
        </p:spPr>
        <p:txBody>
          <a:bodyPr/>
          <a:lstStyle/>
          <a:p>
            <a:r>
              <a:rPr lang="en-GB" dirty="0"/>
              <a:t>Click icon to add chart</a:t>
            </a:r>
            <a:endParaRPr lang="en-US" dirty="0"/>
          </a:p>
        </p:txBody>
      </p:sp>
      <p:sp>
        <p:nvSpPr>
          <p:cNvPr id="4" name="Subheading Placeholder 2">
            <a:extLst>
              <a:ext uri="{FF2B5EF4-FFF2-40B4-BE49-F238E27FC236}">
                <a16:creationId xmlns:a16="http://schemas.microsoft.com/office/drawing/2014/main" id="{1A90358D-2B37-4C05-B07A-D213892133E0}"/>
              </a:ext>
            </a:extLst>
          </p:cNvPr>
          <p:cNvSpPr>
            <a:spLocks noGrp="1"/>
          </p:cNvSpPr>
          <p:nvPr>
            <p:ph type="body" sz="quarter" idx="16" hasCustomPrompt="1"/>
          </p:nvPr>
        </p:nvSpPr>
        <p:spPr>
          <a:xfrm>
            <a:off x="6148386" y="973138"/>
            <a:ext cx="5535614" cy="525462"/>
          </a:xfrm>
        </p:spPr>
        <p:txBody>
          <a:bodyPr anchor="b" anchorCtr="0"/>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hasCustomPrompt="1"/>
          </p:nvPr>
        </p:nvSpPr>
        <p:spPr>
          <a:xfrm>
            <a:off x="507999" y="6272784"/>
            <a:ext cx="5535613" cy="128016"/>
          </a:xfrm>
        </p:spPr>
        <p:txBody>
          <a:bodyPr/>
          <a:lstStyle>
            <a:lvl1pPr>
              <a:spcBef>
                <a:spcPts val="600"/>
              </a:spcBef>
              <a:spcAft>
                <a:spcPts val="0"/>
              </a:spcAft>
              <a:defRPr sz="900">
                <a:latin typeface="+mn-lt"/>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Source:</a:t>
            </a:r>
          </a:p>
        </p:txBody>
      </p:sp>
      <p:sp>
        <p:nvSpPr>
          <p:cNvPr id="11" name="Chart Placeholder 1">
            <a:extLst>
              <a:ext uri="{FF2B5EF4-FFF2-40B4-BE49-F238E27FC236}">
                <a16:creationId xmlns:a16="http://schemas.microsoft.com/office/drawing/2014/main" id="{F069B3FF-2A85-4684-B67A-A15E60817978}"/>
              </a:ext>
            </a:extLst>
          </p:cNvPr>
          <p:cNvSpPr>
            <a:spLocks noGrp="1"/>
          </p:cNvSpPr>
          <p:nvPr>
            <p:ph type="chart" sz="quarter" idx="15"/>
          </p:nvPr>
        </p:nvSpPr>
        <p:spPr>
          <a:xfrm>
            <a:off x="507999" y="1600200"/>
            <a:ext cx="5535613" cy="4495800"/>
          </a:xfrm>
        </p:spPr>
        <p:txBody>
          <a:bodyPr/>
          <a:lstStyle/>
          <a:p>
            <a:r>
              <a:rPr lang="en-GB" dirty="0"/>
              <a:t>Click icon to add chart</a:t>
            </a:r>
            <a:endParaRPr lang="en-US" dirty="0"/>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507998" y="974154"/>
            <a:ext cx="5535613" cy="525462"/>
          </a:xfrm>
        </p:spPr>
        <p:txBody>
          <a:bodyPr anchor="b" anchorCtr="0"/>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5" y="477903"/>
            <a:ext cx="8094661" cy="398398"/>
          </a:xfrm>
        </p:spPr>
        <p:txBody>
          <a:bodyPr/>
          <a:lstStyle/>
          <a:p>
            <a:r>
              <a:rPr lang="en-GB"/>
              <a:t>Click to edit Master title style</a:t>
            </a:r>
          </a:p>
        </p:txBody>
      </p:sp>
      <p:sp>
        <p:nvSpPr>
          <p:cNvPr id="12" name="Rectangle 11">
            <a:extLst>
              <a:ext uri="{FF2B5EF4-FFF2-40B4-BE49-F238E27FC236}">
                <a16:creationId xmlns:a16="http://schemas.microsoft.com/office/drawing/2014/main" id="{539BB95B-E1EA-4AF4-B13C-51870DBAC215}"/>
              </a:ext>
            </a:extLst>
          </p:cNvPr>
          <p:cNvSpPr/>
          <p:nvPr userDrawn="1"/>
        </p:nvSpPr>
        <p:spPr>
          <a:xfrm>
            <a:off x="-1600200" y="-2"/>
            <a:ext cx="1308059" cy="2362201"/>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ataViz layout options are </a:t>
            </a:r>
            <a:br>
              <a:rPr lang="en-GB" sz="1200" dirty="0">
                <a:solidFill>
                  <a:schemeClr val="bg1"/>
                </a:solidFill>
                <a:latin typeface="Calibre-Semibold" panose="020B0703030202060203" pitchFamily="34" charset="0"/>
              </a:rPr>
            </a:br>
            <a:r>
              <a:rPr lang="en-GB" sz="1200" dirty="0">
                <a:solidFill>
                  <a:schemeClr val="bg1"/>
                </a:solidFill>
                <a:latin typeface="Calibre-Semibold" panose="020B0703030202060203" pitchFamily="34" charset="0"/>
              </a:rPr>
              <a:t>only for:</a:t>
            </a:r>
          </a:p>
          <a:p>
            <a:pPr marL="171450" lvl="1" indent="-171450" algn="l">
              <a:spcAft>
                <a:spcPts val="300"/>
              </a:spcAft>
              <a:buFont typeface="+mj-lt"/>
              <a:buAutoNum type="arabicPeriod"/>
            </a:pPr>
            <a:r>
              <a:rPr lang="en-GB" sz="1200" dirty="0">
                <a:solidFill>
                  <a:schemeClr val="bg1"/>
                </a:solidFill>
                <a:latin typeface="+mn-lt"/>
              </a:rPr>
              <a:t>speaker presentations where charts need to be larger to be legible</a:t>
            </a:r>
          </a:p>
          <a:p>
            <a:pPr marL="171450" lvl="1" indent="-171450" algn="l">
              <a:spcAft>
                <a:spcPts val="300"/>
              </a:spcAft>
              <a:buFont typeface="+mj-lt"/>
              <a:buAutoNum type="arabicPeriod"/>
            </a:pPr>
            <a:r>
              <a:rPr lang="en-GB" sz="1200" dirty="0">
                <a:solidFill>
                  <a:schemeClr val="bg1"/>
                </a:solidFill>
                <a:latin typeface="+mn-lt"/>
              </a:rPr>
              <a:t>Complex charts requiring extra room such as org or Gantt charts</a:t>
            </a:r>
          </a:p>
        </p:txBody>
      </p:sp>
    </p:spTree>
    <p:extLst>
      <p:ext uri="{BB962C8B-B14F-4D97-AF65-F5344CB8AC3E}">
        <p14:creationId xmlns:p14="http://schemas.microsoft.com/office/powerpoint/2010/main" val="12686963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taViz - 3 Charts">
    <p:spTree>
      <p:nvGrpSpPr>
        <p:cNvPr id="1" name=""/>
        <p:cNvGrpSpPr/>
        <p:nvPr/>
      </p:nvGrpSpPr>
      <p:grpSpPr>
        <a:xfrm>
          <a:off x="0" y="0"/>
          <a:ext cx="0" cy="0"/>
          <a:chOff x="0" y="0"/>
          <a:chExt cx="0" cy="0"/>
        </a:xfrm>
      </p:grpSpPr>
      <p:sp>
        <p:nvSpPr>
          <p:cNvPr id="14" name="Source Placeholder 3">
            <a:extLst>
              <a:ext uri="{FF2B5EF4-FFF2-40B4-BE49-F238E27FC236}">
                <a16:creationId xmlns:a16="http://schemas.microsoft.com/office/drawing/2014/main" id="{D6AE0AA0-FEF7-46E7-8BC9-EB6D66ADC8E4}"/>
              </a:ext>
            </a:extLst>
          </p:cNvPr>
          <p:cNvSpPr>
            <a:spLocks noGrp="1"/>
          </p:cNvSpPr>
          <p:nvPr>
            <p:ph type="body" sz="quarter" idx="21" hasCustomPrompt="1"/>
          </p:nvPr>
        </p:nvSpPr>
        <p:spPr>
          <a:xfrm>
            <a:off x="7678040" y="6272784"/>
            <a:ext cx="3483864" cy="129669"/>
          </a:xfrm>
        </p:spPr>
        <p:txBody>
          <a:bodyPr/>
          <a:lstStyle>
            <a:lvl1pPr>
              <a:spcBef>
                <a:spcPts val="600"/>
              </a:spcBef>
              <a:spcAft>
                <a:spcPts val="0"/>
              </a:spcAft>
              <a:defRPr sz="900">
                <a:latin typeface="+mn-lt"/>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Source:</a:t>
            </a:r>
          </a:p>
        </p:txBody>
      </p:sp>
      <p:sp>
        <p:nvSpPr>
          <p:cNvPr id="12" name="Chart Placeholder 3">
            <a:extLst>
              <a:ext uri="{FF2B5EF4-FFF2-40B4-BE49-F238E27FC236}">
                <a16:creationId xmlns:a16="http://schemas.microsoft.com/office/drawing/2014/main" id="{41D3DC06-D2A2-4F90-B91A-8FFA8737D3B8}"/>
              </a:ext>
            </a:extLst>
          </p:cNvPr>
          <p:cNvSpPr>
            <a:spLocks noGrp="1"/>
          </p:cNvSpPr>
          <p:nvPr>
            <p:ph type="chart" sz="quarter" idx="20"/>
          </p:nvPr>
        </p:nvSpPr>
        <p:spPr>
          <a:xfrm>
            <a:off x="7678040" y="1600200"/>
            <a:ext cx="3483864" cy="4495800"/>
          </a:xfrm>
        </p:spPr>
        <p:txBody>
          <a:bodyPr/>
          <a:lstStyle/>
          <a:p>
            <a:r>
              <a:rPr lang="en-GB" dirty="0"/>
              <a:t>Click icon to add chart</a:t>
            </a:r>
            <a:endParaRPr lang="en-US" dirty="0"/>
          </a:p>
        </p:txBody>
      </p:sp>
      <p:sp>
        <p:nvSpPr>
          <p:cNvPr id="5" name="Subheading Placeholder 3">
            <a:extLst>
              <a:ext uri="{FF2B5EF4-FFF2-40B4-BE49-F238E27FC236}">
                <a16:creationId xmlns:a16="http://schemas.microsoft.com/office/drawing/2014/main" id="{0CCB7705-183B-47CB-8EBE-D47E0F723930}"/>
              </a:ext>
            </a:extLst>
          </p:cNvPr>
          <p:cNvSpPr>
            <a:spLocks noGrp="1"/>
          </p:cNvSpPr>
          <p:nvPr>
            <p:ph type="body" sz="quarter" idx="19" hasCustomPrompt="1"/>
          </p:nvPr>
        </p:nvSpPr>
        <p:spPr>
          <a:xfrm>
            <a:off x="7678040" y="973138"/>
            <a:ext cx="3483864" cy="525462"/>
          </a:xfrm>
        </p:spPr>
        <p:txBody>
          <a:bodyPr anchor="b" anchorCtr="0"/>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10" name="Source Placeholder 2">
            <a:extLst>
              <a:ext uri="{FF2B5EF4-FFF2-40B4-BE49-F238E27FC236}">
                <a16:creationId xmlns:a16="http://schemas.microsoft.com/office/drawing/2014/main" id="{404A0EDF-1C0E-4A60-9F6A-5BBEC4A08262}"/>
              </a:ext>
            </a:extLst>
          </p:cNvPr>
          <p:cNvSpPr>
            <a:spLocks noGrp="1"/>
          </p:cNvSpPr>
          <p:nvPr>
            <p:ph type="body" sz="quarter" idx="18" hasCustomPrompt="1"/>
          </p:nvPr>
        </p:nvSpPr>
        <p:spPr>
          <a:xfrm>
            <a:off x="4094163" y="6272784"/>
            <a:ext cx="3483864" cy="129669"/>
          </a:xfrm>
        </p:spPr>
        <p:txBody>
          <a:bodyPr/>
          <a:lstStyle>
            <a:lvl1pPr>
              <a:spcBef>
                <a:spcPts val="600"/>
              </a:spcBef>
              <a:spcAft>
                <a:spcPts val="0"/>
              </a:spcAft>
              <a:defRPr sz="900">
                <a:latin typeface="+mn-lt"/>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Source:</a:t>
            </a:r>
          </a:p>
        </p:txBody>
      </p:sp>
      <p:sp>
        <p:nvSpPr>
          <p:cNvPr id="6" name="Chart Placeholder 2">
            <a:extLst>
              <a:ext uri="{FF2B5EF4-FFF2-40B4-BE49-F238E27FC236}">
                <a16:creationId xmlns:a16="http://schemas.microsoft.com/office/drawing/2014/main" id="{7F799BFF-9B81-4666-8735-69E578E73846}"/>
              </a:ext>
            </a:extLst>
          </p:cNvPr>
          <p:cNvSpPr>
            <a:spLocks noGrp="1"/>
          </p:cNvSpPr>
          <p:nvPr>
            <p:ph type="chart" sz="quarter" idx="17"/>
          </p:nvPr>
        </p:nvSpPr>
        <p:spPr>
          <a:xfrm>
            <a:off x="4094163" y="1600200"/>
            <a:ext cx="3483864" cy="4495800"/>
          </a:xfrm>
        </p:spPr>
        <p:txBody>
          <a:bodyPr/>
          <a:lstStyle/>
          <a:p>
            <a:r>
              <a:rPr lang="en-GB" dirty="0"/>
              <a:t>Click icon to add chart</a:t>
            </a:r>
            <a:endParaRPr lang="en-US" dirty="0"/>
          </a:p>
        </p:txBody>
      </p:sp>
      <p:sp>
        <p:nvSpPr>
          <p:cNvPr id="4" name="Subheading Placeholder 2">
            <a:extLst>
              <a:ext uri="{FF2B5EF4-FFF2-40B4-BE49-F238E27FC236}">
                <a16:creationId xmlns:a16="http://schemas.microsoft.com/office/drawing/2014/main" id="{1A90358D-2B37-4C05-B07A-D213892133E0}"/>
              </a:ext>
            </a:extLst>
          </p:cNvPr>
          <p:cNvSpPr>
            <a:spLocks noGrp="1"/>
          </p:cNvSpPr>
          <p:nvPr>
            <p:ph type="body" sz="quarter" idx="16" hasCustomPrompt="1"/>
          </p:nvPr>
        </p:nvSpPr>
        <p:spPr>
          <a:xfrm>
            <a:off x="4094163" y="973138"/>
            <a:ext cx="3483864" cy="525462"/>
          </a:xfrm>
        </p:spPr>
        <p:txBody>
          <a:bodyPr anchor="b" anchorCtr="0"/>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hasCustomPrompt="1"/>
          </p:nvPr>
        </p:nvSpPr>
        <p:spPr>
          <a:xfrm>
            <a:off x="508000" y="6274437"/>
            <a:ext cx="3486150" cy="128016"/>
          </a:xfrm>
        </p:spPr>
        <p:txBody>
          <a:bodyPr/>
          <a:lstStyle>
            <a:lvl1pPr>
              <a:spcBef>
                <a:spcPts val="600"/>
              </a:spcBef>
              <a:spcAft>
                <a:spcPts val="0"/>
              </a:spcAft>
              <a:defRPr sz="900">
                <a:latin typeface="+mn-lt"/>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Source:</a:t>
            </a:r>
          </a:p>
        </p:txBody>
      </p:sp>
      <p:sp>
        <p:nvSpPr>
          <p:cNvPr id="11" name="Chart Placeholder 1">
            <a:extLst>
              <a:ext uri="{FF2B5EF4-FFF2-40B4-BE49-F238E27FC236}">
                <a16:creationId xmlns:a16="http://schemas.microsoft.com/office/drawing/2014/main" id="{F069B3FF-2A85-4684-B67A-A15E60817978}"/>
              </a:ext>
            </a:extLst>
          </p:cNvPr>
          <p:cNvSpPr>
            <a:spLocks noGrp="1"/>
          </p:cNvSpPr>
          <p:nvPr>
            <p:ph type="chart" sz="quarter" idx="15"/>
          </p:nvPr>
        </p:nvSpPr>
        <p:spPr>
          <a:xfrm>
            <a:off x="508000" y="1600200"/>
            <a:ext cx="3486150" cy="4495800"/>
          </a:xfrm>
        </p:spPr>
        <p:txBody>
          <a:bodyPr/>
          <a:lstStyle/>
          <a:p>
            <a:r>
              <a:rPr lang="en-GB" dirty="0"/>
              <a:t>Click icon to add chart</a:t>
            </a:r>
            <a:endParaRPr lang="en-US" dirty="0"/>
          </a:p>
        </p:txBody>
      </p:sp>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507999" y="973138"/>
            <a:ext cx="3486150" cy="526478"/>
          </a:xfrm>
        </p:spPr>
        <p:txBody>
          <a:bodyPr anchor="b" anchorCtr="0"/>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5" y="477903"/>
            <a:ext cx="8094661" cy="398398"/>
          </a:xfrm>
        </p:spPr>
        <p:txBody>
          <a:bodyPr/>
          <a:lstStyle/>
          <a:p>
            <a:r>
              <a:rPr lang="en-GB"/>
              <a:t>Click to edit Master title style</a:t>
            </a:r>
          </a:p>
        </p:txBody>
      </p:sp>
      <p:sp>
        <p:nvSpPr>
          <p:cNvPr id="15" name="Rectangle 14">
            <a:extLst>
              <a:ext uri="{FF2B5EF4-FFF2-40B4-BE49-F238E27FC236}">
                <a16:creationId xmlns:a16="http://schemas.microsoft.com/office/drawing/2014/main" id="{ABCA4E9F-9C9D-48B1-801F-C93D4283947C}"/>
              </a:ext>
            </a:extLst>
          </p:cNvPr>
          <p:cNvSpPr/>
          <p:nvPr userDrawn="1"/>
        </p:nvSpPr>
        <p:spPr>
          <a:xfrm>
            <a:off x="-1600200" y="-2"/>
            <a:ext cx="1308059" cy="2362201"/>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ataViz layout options are </a:t>
            </a:r>
            <a:br>
              <a:rPr lang="en-GB" sz="1200" dirty="0">
                <a:solidFill>
                  <a:schemeClr val="bg1"/>
                </a:solidFill>
                <a:latin typeface="Calibre-Semibold" panose="020B0703030202060203" pitchFamily="34" charset="0"/>
              </a:rPr>
            </a:br>
            <a:r>
              <a:rPr lang="en-GB" sz="1200" dirty="0">
                <a:solidFill>
                  <a:schemeClr val="bg1"/>
                </a:solidFill>
                <a:latin typeface="Calibre-Semibold" panose="020B0703030202060203" pitchFamily="34" charset="0"/>
              </a:rPr>
              <a:t>only for:</a:t>
            </a:r>
          </a:p>
          <a:p>
            <a:pPr marL="171450" lvl="1" indent="-171450" algn="l">
              <a:spcAft>
                <a:spcPts val="300"/>
              </a:spcAft>
              <a:buFont typeface="+mj-lt"/>
              <a:buAutoNum type="arabicPeriod"/>
            </a:pPr>
            <a:r>
              <a:rPr lang="en-GB" sz="1200" dirty="0">
                <a:solidFill>
                  <a:schemeClr val="bg1"/>
                </a:solidFill>
                <a:latin typeface="+mn-lt"/>
              </a:rPr>
              <a:t>speaker presentations where charts need to be larger to be legible</a:t>
            </a:r>
          </a:p>
          <a:p>
            <a:pPr marL="171450" lvl="1" indent="-171450" algn="l">
              <a:spcAft>
                <a:spcPts val="300"/>
              </a:spcAft>
              <a:buFont typeface="+mj-lt"/>
              <a:buAutoNum type="arabicPeriod"/>
            </a:pPr>
            <a:r>
              <a:rPr lang="en-GB" sz="1200" dirty="0">
                <a:solidFill>
                  <a:schemeClr val="bg1"/>
                </a:solidFill>
                <a:latin typeface="+mn-lt"/>
              </a:rPr>
              <a:t>Complex charts requiring extra room such as org or Gantt charts</a:t>
            </a:r>
          </a:p>
        </p:txBody>
      </p:sp>
    </p:spTree>
    <p:extLst>
      <p:ext uri="{BB962C8B-B14F-4D97-AF65-F5344CB8AC3E}">
        <p14:creationId xmlns:p14="http://schemas.microsoft.com/office/powerpoint/2010/main" val="10391625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taViz - Title Only">
    <p:spTree>
      <p:nvGrpSpPr>
        <p:cNvPr id="1" name=""/>
        <p:cNvGrpSpPr/>
        <p:nvPr/>
      </p:nvGrpSpPr>
      <p:grpSpPr>
        <a:xfrm>
          <a:off x="0" y="0"/>
          <a:ext cx="0" cy="0"/>
          <a:chOff x="0" y="0"/>
          <a:chExt cx="0" cy="0"/>
        </a:xfrm>
      </p:grpSpPr>
      <p:sp>
        <p:nvSpPr>
          <p:cNvPr id="8" name="Subheading Placeholder 1">
            <a:extLst>
              <a:ext uri="{FF2B5EF4-FFF2-40B4-BE49-F238E27FC236}">
                <a16:creationId xmlns:a16="http://schemas.microsoft.com/office/drawing/2014/main" id="{478E80C0-0E36-48D9-AC93-9C6F4EC94042}"/>
              </a:ext>
            </a:extLst>
          </p:cNvPr>
          <p:cNvSpPr>
            <a:spLocks noGrp="1"/>
          </p:cNvSpPr>
          <p:nvPr>
            <p:ph type="body" sz="quarter" idx="13" hasCustomPrompt="1"/>
          </p:nvPr>
        </p:nvSpPr>
        <p:spPr>
          <a:xfrm>
            <a:off x="507999" y="973138"/>
            <a:ext cx="8097839" cy="526478"/>
          </a:xfrm>
        </p:spPr>
        <p:txBody>
          <a:bodyPr anchor="t" anchorCtr="0"/>
          <a:lstStyle>
            <a:lvl1pPr>
              <a:spcAft>
                <a:spcPts val="600"/>
              </a:spcAft>
              <a:defRPr lang="en-US" sz="1600" b="0" dirty="0" smtClean="0">
                <a:solidFill>
                  <a:schemeClr val="tx1"/>
                </a:solidFill>
                <a:latin typeface="Calibre Semibold" panose="020B0703030202060203" pitchFamily="34" charset="0"/>
                <a:ea typeface="+mn-ea"/>
                <a:cs typeface="+mn-cs"/>
              </a:defRPr>
            </a:lvl1pPr>
            <a:lvl2pPr>
              <a:spcBef>
                <a:spcPts val="300"/>
              </a:spcBef>
              <a:spcAft>
                <a:spcPts val="300"/>
              </a:spcAft>
              <a:defRPr lang="en-US" sz="1200" dirty="0" smtClean="0">
                <a:solidFill>
                  <a:schemeClr val="tx1"/>
                </a:solidFill>
                <a:latin typeface="+mn-lt"/>
                <a:ea typeface="+mn-ea"/>
                <a:cs typeface="+mn-cs"/>
              </a:defRPr>
            </a:lvl2pPr>
            <a:lvl3pPr marL="171450" indent="-171450">
              <a:buFont typeface="Calibre" panose="020B0503030202060203" pitchFamily="34" charset="0"/>
              <a:buChar char="–"/>
              <a:defRPr lang="en-US" sz="1200" dirty="0" smtClean="0">
                <a:solidFill>
                  <a:schemeClr val="tx1"/>
                </a:solidFill>
                <a:latin typeface="+mn-lt"/>
                <a:ea typeface="+mn-ea"/>
                <a:cs typeface="+mn-cs"/>
              </a:defRPr>
            </a:lvl3pPr>
            <a:lvl4pPr marL="356616">
              <a:defRPr lang="en-US" sz="1200" b="0" dirty="0" smtClean="0">
                <a:solidFill>
                  <a:schemeClr val="tx1"/>
                </a:solidFill>
                <a:latin typeface="+mn-lt"/>
                <a:ea typeface="+mn-ea"/>
                <a:cs typeface="+mn-cs"/>
              </a:defRPr>
            </a:lvl4pPr>
            <a:lvl5pPr marL="0" indent="0">
              <a:spcBef>
                <a:spcPts val="600"/>
              </a:spcBef>
              <a:spcAft>
                <a:spcPts val="0"/>
              </a:spcAft>
              <a:buFontTx/>
              <a:buNone/>
              <a:defRPr lang="en-US" sz="1200" dirty="0" smtClean="0">
                <a:solidFill>
                  <a:schemeClr val="tx1"/>
                </a:solidFill>
                <a:latin typeface="Calibre Semibold" panose="020B0703030202060203" pitchFamily="34" charset="0"/>
                <a:ea typeface="+mn-ea"/>
                <a:cs typeface="+mn-cs"/>
              </a:defRPr>
            </a:lvl5pPr>
            <a:lvl6pPr>
              <a:defRPr lang="en-US" sz="1050" dirty="0" smtClean="0">
                <a:solidFill>
                  <a:schemeClr val="tx1"/>
                </a:solidFill>
                <a:latin typeface="Calibre Semibold" panose="020B0703030202060203" pitchFamily="34" charset="0"/>
                <a:ea typeface="+mn-ea"/>
                <a:cs typeface="+mn-cs"/>
              </a:defRPr>
            </a:lvl6pPr>
            <a:lvl7pPr>
              <a:spcBef>
                <a:spcPts val="300"/>
              </a:spcBef>
              <a:spcAft>
                <a:spcPts val="300"/>
              </a:spcAft>
              <a:defRPr lang="en-US" sz="1050" dirty="0" smtClean="0">
                <a:solidFill>
                  <a:schemeClr val="tx1"/>
                </a:solidFill>
                <a:latin typeface="+mn-lt"/>
                <a:ea typeface="+mn-ea"/>
                <a:cs typeface="+mn-cs"/>
              </a:defRPr>
            </a:lvl7pPr>
            <a:lvl8pPr marL="171450" indent="-171450">
              <a:spcBef>
                <a:spcPts val="200"/>
              </a:spcBef>
              <a:spcAft>
                <a:spcPts val="0"/>
              </a:spcAft>
              <a:buFont typeface="Calibre" panose="020B0503030202060203" pitchFamily="34" charset="0"/>
              <a:buChar char="–"/>
              <a:defRPr lang="en-US" sz="1050" dirty="0" smtClean="0">
                <a:solidFill>
                  <a:schemeClr val="tx1"/>
                </a:solidFill>
                <a:latin typeface="+mn-lt"/>
                <a:ea typeface="+mn-ea"/>
                <a:cs typeface="+mn-cs"/>
              </a:defRPr>
            </a:lvl8pPr>
            <a:lvl9pPr>
              <a:spcBef>
                <a:spcPts val="200"/>
              </a:spcBef>
              <a:defRPr/>
            </a:lvl9pPr>
          </a:lstStyle>
          <a:p>
            <a:pPr lvl="0"/>
            <a:r>
              <a:rPr lang="en-GB"/>
              <a:t>Sub heading</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a:xfrm>
            <a:off x="511175" y="477903"/>
            <a:ext cx="8094661" cy="398398"/>
          </a:xfrm>
        </p:spPr>
        <p:txBody>
          <a:bodyPr/>
          <a:lstStyle/>
          <a:p>
            <a:r>
              <a:rPr lang="en-GB"/>
              <a:t>Click to edit Master title style</a:t>
            </a:r>
          </a:p>
        </p:txBody>
      </p:sp>
      <p:sp>
        <p:nvSpPr>
          <p:cNvPr id="5" name="Rectangle 4">
            <a:extLst>
              <a:ext uri="{FF2B5EF4-FFF2-40B4-BE49-F238E27FC236}">
                <a16:creationId xmlns:a16="http://schemas.microsoft.com/office/drawing/2014/main" id="{92693A9B-C3DC-4DC4-8E9A-7A879A723001}"/>
              </a:ext>
            </a:extLst>
          </p:cNvPr>
          <p:cNvSpPr/>
          <p:nvPr userDrawn="1"/>
        </p:nvSpPr>
        <p:spPr>
          <a:xfrm>
            <a:off x="-1600200" y="-2"/>
            <a:ext cx="1308059" cy="2362201"/>
          </a:xfrm>
          <a:prstGeom prst="rect">
            <a:avLst/>
          </a:prstGeom>
          <a:solidFill>
            <a:srgbClr val="AD2A2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spcAft>
                <a:spcPts val="300"/>
              </a:spcAft>
            </a:pPr>
            <a:r>
              <a:rPr lang="en-GB" sz="1200" dirty="0">
                <a:solidFill>
                  <a:schemeClr val="bg1"/>
                </a:solidFill>
                <a:latin typeface="Calibre-Semibold" panose="020B0703030202060203" pitchFamily="34" charset="0"/>
              </a:rPr>
              <a:t>DataViz layout options are </a:t>
            </a:r>
            <a:br>
              <a:rPr lang="en-GB" sz="1200" dirty="0">
                <a:solidFill>
                  <a:schemeClr val="bg1"/>
                </a:solidFill>
                <a:latin typeface="Calibre-Semibold" panose="020B0703030202060203" pitchFamily="34" charset="0"/>
              </a:rPr>
            </a:br>
            <a:r>
              <a:rPr lang="en-GB" sz="1200" dirty="0">
                <a:solidFill>
                  <a:schemeClr val="bg1"/>
                </a:solidFill>
                <a:latin typeface="Calibre-Semibold" panose="020B0703030202060203" pitchFamily="34" charset="0"/>
              </a:rPr>
              <a:t>only for:</a:t>
            </a:r>
          </a:p>
          <a:p>
            <a:pPr marL="171450" lvl="1" indent="-171450" algn="l">
              <a:spcAft>
                <a:spcPts val="300"/>
              </a:spcAft>
              <a:buFont typeface="+mj-lt"/>
              <a:buAutoNum type="arabicPeriod"/>
            </a:pPr>
            <a:r>
              <a:rPr lang="en-GB" sz="1200" dirty="0">
                <a:solidFill>
                  <a:schemeClr val="bg1"/>
                </a:solidFill>
                <a:latin typeface="+mn-lt"/>
              </a:rPr>
              <a:t>speaker presentations where charts need to be larger to be legible</a:t>
            </a:r>
          </a:p>
          <a:p>
            <a:pPr marL="171450" lvl="1" indent="-171450" algn="l">
              <a:spcAft>
                <a:spcPts val="300"/>
              </a:spcAft>
              <a:buFont typeface="+mj-lt"/>
              <a:buAutoNum type="arabicPeriod"/>
            </a:pPr>
            <a:r>
              <a:rPr lang="en-GB" sz="1200" dirty="0">
                <a:solidFill>
                  <a:schemeClr val="bg1"/>
                </a:solidFill>
                <a:latin typeface="+mn-lt"/>
              </a:rPr>
              <a:t>Complex charts requiring extra room such as org or Gantt charts</a:t>
            </a:r>
          </a:p>
        </p:txBody>
      </p:sp>
    </p:spTree>
    <p:extLst>
      <p:ext uri="{BB962C8B-B14F-4D97-AF65-F5344CB8AC3E}">
        <p14:creationId xmlns:p14="http://schemas.microsoft.com/office/powerpoint/2010/main" val="30583910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ase Study 1">
    <p:spTree>
      <p:nvGrpSpPr>
        <p:cNvPr id="1" name=""/>
        <p:cNvGrpSpPr/>
        <p:nvPr/>
      </p:nvGrpSpPr>
      <p:grpSpPr>
        <a:xfrm>
          <a:off x="0" y="0"/>
          <a:ext cx="0" cy="0"/>
          <a:chOff x="0" y="0"/>
          <a:chExt cx="0" cy="0"/>
        </a:xfrm>
      </p:grpSpPr>
      <p:cxnSp>
        <p:nvCxnSpPr>
          <p:cNvPr id="101" name="Nav Line of Sight">
            <a:extLst>
              <a:ext uri="{FF2B5EF4-FFF2-40B4-BE49-F238E27FC236}">
                <a16:creationId xmlns:a16="http://schemas.microsoft.com/office/drawing/2014/main" id="{4F7078D9-99A7-4F4B-A2AE-F455F56FB451}"/>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00" name="Navigation Header Placeholder">
            <a:extLst>
              <a:ext uri="{FF2B5EF4-FFF2-40B4-BE49-F238E27FC236}">
                <a16:creationId xmlns:a16="http://schemas.microsoft.com/office/drawing/2014/main" id="{676795B3-D4D7-4DD1-95C2-286A5F9D9236}"/>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GB"/>
              <a:t>Navigation Header</a:t>
            </a:r>
          </a:p>
        </p:txBody>
      </p:sp>
      <p:sp>
        <p:nvSpPr>
          <p:cNvPr id="5" name="Coordinates">
            <a:extLst>
              <a:ext uri="{FF2B5EF4-FFF2-40B4-BE49-F238E27FC236}">
                <a16:creationId xmlns:a16="http://schemas.microsoft.com/office/drawing/2014/main" id="{735830CE-2387-4F0C-BB9A-0C9CFCCAC27F}"/>
              </a:ext>
            </a:extLst>
          </p:cNvPr>
          <p:cNvSpPr>
            <a:spLocks noGrp="1"/>
          </p:cNvSpPr>
          <p:nvPr>
            <p:ph sz="quarter" idx="47" hasCustomPrompt="1"/>
          </p:nvPr>
        </p:nvSpPr>
        <p:spPr>
          <a:xfrm>
            <a:off x="503238" y="1317625"/>
            <a:ext cx="2970212" cy="180975"/>
          </a:xfrm>
        </p:spPr>
        <p:txBody>
          <a:bodyPr wrap="none" anchor="b" anchorCtr="0"/>
          <a:lstStyle>
            <a:lvl1pPr>
              <a:defRPr sz="900">
                <a:solidFill>
                  <a:srgbClr val="80BBAD"/>
                </a:solidFill>
                <a:latin typeface="Space Mono" panose="02000509040000020004" pitchFamily="49" charset="0"/>
              </a:defRPr>
            </a:lvl1pPr>
          </a:lstStyle>
          <a:p>
            <a:pPr lvl="0"/>
            <a:r>
              <a:rPr lang="en-GB"/>
              <a:t>Coordinates Here</a:t>
            </a:r>
          </a:p>
        </p:txBody>
      </p:sp>
      <p:sp>
        <p:nvSpPr>
          <p:cNvPr id="10" name="Title 1">
            <a:extLst>
              <a:ext uri="{FF2B5EF4-FFF2-40B4-BE49-F238E27FC236}">
                <a16:creationId xmlns:a16="http://schemas.microsoft.com/office/drawing/2014/main" id="{477F03F6-9538-49CE-8D06-38030765E7BB}"/>
              </a:ext>
            </a:extLst>
          </p:cNvPr>
          <p:cNvSpPr>
            <a:spLocks noGrp="1"/>
          </p:cNvSpPr>
          <p:nvPr>
            <p:ph type="title" hasCustomPrompt="1"/>
          </p:nvPr>
        </p:nvSpPr>
        <p:spPr>
          <a:xfrm>
            <a:off x="511175" y="1601789"/>
            <a:ext cx="7581899" cy="1149350"/>
          </a:xfrm>
        </p:spPr>
        <p:txBody>
          <a:bodyPr/>
          <a:lstStyle>
            <a:lvl1pPr>
              <a:defRPr/>
            </a:lvl1pPr>
          </a:lstStyle>
          <a:p>
            <a:r>
              <a:rPr lang="en-GB"/>
              <a:t>Asset/Property name,</a:t>
            </a:r>
            <a:br>
              <a:rPr lang="en-GB"/>
            </a:br>
            <a:r>
              <a:rPr lang="en-GB"/>
              <a:t>City name</a:t>
            </a:r>
          </a:p>
        </p:txBody>
      </p:sp>
      <p:sp>
        <p:nvSpPr>
          <p:cNvPr id="31" name="Content Placeholder 1">
            <a:extLst>
              <a:ext uri="{FF2B5EF4-FFF2-40B4-BE49-F238E27FC236}">
                <a16:creationId xmlns:a16="http://schemas.microsoft.com/office/drawing/2014/main" id="{5FF70B67-C845-4CFA-837C-62210E7EFBF0}"/>
              </a:ext>
            </a:extLst>
          </p:cNvPr>
          <p:cNvSpPr>
            <a:spLocks noGrp="1"/>
          </p:cNvSpPr>
          <p:nvPr>
            <p:ph sz="quarter" idx="37"/>
          </p:nvPr>
        </p:nvSpPr>
        <p:spPr>
          <a:xfrm>
            <a:off x="511177" y="2852738"/>
            <a:ext cx="2452686" cy="3551237"/>
          </a:xfrm>
          <a:solidFill>
            <a:schemeClr val="tx1"/>
          </a:solidFill>
        </p:spPr>
        <p:txBody>
          <a:bodyPr lIns="73152" tIns="73152" rIns="73152"/>
          <a:lstStyle>
            <a:lvl1pPr marL="0" indent="0">
              <a:spcBef>
                <a:spcPts val="600"/>
              </a:spcBef>
              <a:spcAft>
                <a:spcPts val="0"/>
              </a:spcAft>
              <a:defRPr sz="1600">
                <a:solidFill>
                  <a:schemeClr val="bg1"/>
                </a:solidFill>
                <a:latin typeface="Calibre Semibold" panose="020B0703030202060203" pitchFamily="34" charset="0"/>
              </a:defRPr>
            </a:lvl1pPr>
            <a:lvl2pPr>
              <a:spcBef>
                <a:spcPts val="300"/>
              </a:spcBef>
              <a:spcAft>
                <a:spcPts val="600"/>
              </a:spcAft>
              <a:defRPr sz="1200">
                <a:solidFill>
                  <a:schemeClr val="bg1"/>
                </a:solidFill>
                <a:latin typeface="+mn-lt"/>
              </a:defRPr>
            </a:lvl2pPr>
            <a:lvl3pPr marL="171450" indent="-171450">
              <a:spcAft>
                <a:spcPts val="300"/>
              </a:spcAft>
              <a:buFont typeface="Arial" panose="020B0604020202020204" pitchFamily="34" charset="0"/>
              <a:buChar char="‒"/>
              <a:defRPr>
                <a:solidFill>
                  <a:schemeClr val="bg1"/>
                </a:solidFill>
              </a:defRPr>
            </a:lvl3pPr>
            <a:lvl4pPr marL="342900" indent="-171450">
              <a:spcBef>
                <a:spcPts val="0"/>
              </a:spcBef>
              <a:spcAft>
                <a:spcPts val="300"/>
              </a:spcAft>
              <a:defRPr sz="1200">
                <a:solidFill>
                  <a:schemeClr val="bg1"/>
                </a:solidFill>
              </a:defRPr>
            </a:lvl4pPr>
            <a:lvl5pPr marL="342900" indent="-166688">
              <a:spcBef>
                <a:spcPts val="0"/>
              </a:spcBef>
              <a:spcAft>
                <a:spcPts val="300"/>
              </a:spcAft>
              <a:defRPr sz="12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Content Placeholder 2">
            <a:extLst>
              <a:ext uri="{FF2B5EF4-FFF2-40B4-BE49-F238E27FC236}">
                <a16:creationId xmlns:a16="http://schemas.microsoft.com/office/drawing/2014/main" id="{B7EEA141-FDB4-406C-9BF3-6371663430BD}"/>
              </a:ext>
            </a:extLst>
          </p:cNvPr>
          <p:cNvSpPr>
            <a:spLocks noGrp="1"/>
          </p:cNvSpPr>
          <p:nvPr>
            <p:ph sz="quarter" idx="46"/>
          </p:nvPr>
        </p:nvSpPr>
        <p:spPr>
          <a:xfrm>
            <a:off x="3073400" y="2852738"/>
            <a:ext cx="5019675" cy="3551237"/>
          </a:xfrm>
        </p:spPr>
        <p:txBody>
          <a:bodyPr tIns="73152"/>
          <a:lstStyle>
            <a:lvl1pPr marL="0" indent="0">
              <a:spcBef>
                <a:spcPts val="0"/>
              </a:spcBef>
              <a:spcAft>
                <a:spcPts val="600"/>
              </a:spcAft>
              <a:defRPr sz="1600">
                <a:latin typeface="Calibre Semibold" panose="020B0703030202060203" pitchFamily="34" charset="0"/>
              </a:defRPr>
            </a:lvl1pPr>
            <a:lvl2pPr>
              <a:spcBef>
                <a:spcPts val="0"/>
              </a:spcBef>
              <a:spcAft>
                <a:spcPts val="600"/>
              </a:spcAft>
              <a:defRPr sz="1200">
                <a:latin typeface="+mn-lt"/>
              </a:defRPr>
            </a:lvl2pPr>
            <a:lvl3pPr marL="171450" indent="-171450">
              <a:spcAft>
                <a:spcPts val="300"/>
              </a:spcAft>
              <a:buFont typeface="Arial" panose="020B0604020202020204" pitchFamily="34" charset="0"/>
              <a:buChar char="‒"/>
              <a:defRPr/>
            </a:lvl3pPr>
            <a:lvl4pPr marL="342900" indent="-171450">
              <a:spcBef>
                <a:spcPts val="0"/>
              </a:spcBef>
              <a:spcAft>
                <a:spcPts val="300"/>
              </a:spcAft>
              <a:defRPr sz="1200"/>
            </a:lvl4pPr>
            <a:lvl5pPr marL="342900" indent="-166688">
              <a:spcBef>
                <a:spcPts val="0"/>
              </a:spcBef>
              <a:defRPr sz="1200"/>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Picture Placeholder 1">
            <a:extLst>
              <a:ext uri="{FF2B5EF4-FFF2-40B4-BE49-F238E27FC236}">
                <a16:creationId xmlns:a16="http://schemas.microsoft.com/office/drawing/2014/main" id="{4CA5A327-FD7D-44EB-8524-8382370C09EA}"/>
              </a:ext>
            </a:extLst>
          </p:cNvPr>
          <p:cNvSpPr>
            <a:spLocks noGrp="1"/>
          </p:cNvSpPr>
          <p:nvPr>
            <p:ph type="pic" sz="quarter" idx="42"/>
          </p:nvPr>
        </p:nvSpPr>
        <p:spPr>
          <a:xfrm>
            <a:off x="8194675" y="2852738"/>
            <a:ext cx="3486148" cy="3551237"/>
          </a:xfrm>
          <a:solidFill>
            <a:srgbClr val="CBCDCB"/>
          </a:solidFill>
        </p:spPr>
        <p:txBody>
          <a:bodyPr rIns="0" anchor="ctr" anchorCtr="0"/>
          <a:lstStyle>
            <a:lvl1pPr algn="ctr">
              <a:defRPr/>
            </a:lvl1pPr>
          </a:lstStyle>
          <a:p>
            <a:r>
              <a:rPr lang="en-GB" dirty="0"/>
              <a:t>Click icon to add picture</a:t>
            </a:r>
          </a:p>
        </p:txBody>
      </p:sp>
      <p:sp>
        <p:nvSpPr>
          <p:cNvPr id="24" name="Quote Name Placeholder">
            <a:extLst>
              <a:ext uri="{FF2B5EF4-FFF2-40B4-BE49-F238E27FC236}">
                <a16:creationId xmlns:a16="http://schemas.microsoft.com/office/drawing/2014/main" id="{4A30F32B-E426-4724-BE90-F0B8DDAFDF48}"/>
              </a:ext>
            </a:extLst>
          </p:cNvPr>
          <p:cNvSpPr>
            <a:spLocks noGrp="1"/>
          </p:cNvSpPr>
          <p:nvPr>
            <p:ph type="body" sz="quarter" idx="49" hasCustomPrompt="1"/>
          </p:nvPr>
        </p:nvSpPr>
        <p:spPr>
          <a:xfrm>
            <a:off x="8194675" y="2346961"/>
            <a:ext cx="3484563" cy="404178"/>
          </a:xfrm>
        </p:spPr>
        <p:txBody>
          <a:bodyPr rIns="0"/>
          <a:lstStyle>
            <a:lvl1pPr algn="r">
              <a:spcBef>
                <a:spcPts val="0"/>
              </a:spcBef>
              <a:spcAft>
                <a:spcPts val="0"/>
              </a:spcAft>
              <a:defRPr sz="1200">
                <a:solidFill>
                  <a:schemeClr val="accent6"/>
                </a:solidFill>
                <a:latin typeface="Financier Display Semibold" panose="02020703070506060203" pitchFamily="18" charset="0"/>
              </a:defRPr>
            </a:lvl1pPr>
            <a:lvl2pPr algn="r">
              <a:defRPr sz="1050">
                <a:latin typeface="+mn-lt"/>
              </a:defRPr>
            </a:lvl2pPr>
          </a:lstStyle>
          <a:p>
            <a:pPr lvl="0"/>
            <a:r>
              <a:rPr lang="en-GB"/>
              <a:t>First </a:t>
            </a:r>
            <a:r>
              <a:rPr lang="en-GB" err="1"/>
              <a:t>Lastname</a:t>
            </a:r>
            <a:endParaRPr lang="en-GB"/>
          </a:p>
          <a:p>
            <a:pPr lvl="1"/>
            <a:r>
              <a:rPr lang="en-GB"/>
              <a:t>Title, Company</a:t>
            </a:r>
          </a:p>
        </p:txBody>
      </p:sp>
      <p:sp>
        <p:nvSpPr>
          <p:cNvPr id="22" name="Quote Text Placeholder">
            <a:extLst>
              <a:ext uri="{FF2B5EF4-FFF2-40B4-BE49-F238E27FC236}">
                <a16:creationId xmlns:a16="http://schemas.microsoft.com/office/drawing/2014/main" id="{1C3633B3-6BD8-4C62-AB77-AE4A03FED68F}"/>
              </a:ext>
            </a:extLst>
          </p:cNvPr>
          <p:cNvSpPr>
            <a:spLocks noGrp="1"/>
          </p:cNvSpPr>
          <p:nvPr>
            <p:ph type="body" sz="quarter" idx="48" hasCustomPrompt="1"/>
          </p:nvPr>
        </p:nvSpPr>
        <p:spPr>
          <a:xfrm>
            <a:off x="8194675" y="1601788"/>
            <a:ext cx="3484563" cy="649224"/>
          </a:xfrm>
        </p:spPr>
        <p:txBody>
          <a:bodyPr rIns="0" anchor="b" anchorCtr="0"/>
          <a:lstStyle>
            <a:lvl1pPr algn="r">
              <a:defRPr sz="1600">
                <a:solidFill>
                  <a:srgbClr val="80BBAD"/>
                </a:solidFill>
              </a:defRPr>
            </a:lvl1pPr>
          </a:lstStyle>
          <a:p>
            <a:pPr lvl="0"/>
            <a:r>
              <a:rPr lang="en-GB"/>
              <a:t>Quote Text here</a:t>
            </a:r>
          </a:p>
        </p:txBody>
      </p:sp>
      <p:sp>
        <p:nvSpPr>
          <p:cNvPr id="20" name="Opening Quotes">
            <a:extLst>
              <a:ext uri="{FF2B5EF4-FFF2-40B4-BE49-F238E27FC236}">
                <a16:creationId xmlns:a16="http://schemas.microsoft.com/office/drawing/2014/main" id="{15E826B4-64A6-4A6D-A249-3F1684AD8AFD}"/>
              </a:ext>
            </a:extLst>
          </p:cNvPr>
          <p:cNvSpPr>
            <a:spLocks noChangeAspect="1"/>
          </p:cNvSpPr>
          <p:nvPr/>
        </p:nvSpPr>
        <p:spPr>
          <a:xfrm>
            <a:off x="11445067" y="1601790"/>
            <a:ext cx="235756" cy="181766"/>
          </a:xfrm>
          <a:custGeom>
            <a:avLst/>
            <a:gdLst>
              <a:gd name="connsiteX0" fmla="*/ 1710404 w 3999618"/>
              <a:gd name="connsiteY0" fmla="*/ 2274623 h 3083671"/>
              <a:gd name="connsiteX1" fmla="*/ 916567 w 3999618"/>
              <a:gd name="connsiteY1" fmla="*/ 3083700 h 3083671"/>
              <a:gd name="connsiteX2" fmla="*/ 619 w 3999618"/>
              <a:gd name="connsiteY2" fmla="*/ 1999827 h 3083671"/>
              <a:gd name="connsiteX3" fmla="*/ 1847850 w 3999618"/>
              <a:gd name="connsiteY3" fmla="*/ 29 h 3083671"/>
              <a:gd name="connsiteX4" fmla="*/ 1908905 w 3999618"/>
              <a:gd name="connsiteY4" fmla="*/ 259585 h 3083671"/>
              <a:gd name="connsiteX5" fmla="*/ 687586 w 3999618"/>
              <a:gd name="connsiteY5" fmla="*/ 1465546 h 3083671"/>
              <a:gd name="connsiteX6" fmla="*/ 1710404 w 3999618"/>
              <a:gd name="connsiteY6" fmla="*/ 2274623 h 3083671"/>
              <a:gd name="connsiteX7" fmla="*/ 3801785 w 3999618"/>
              <a:gd name="connsiteY7" fmla="*/ 2274623 h 3083671"/>
              <a:gd name="connsiteX8" fmla="*/ 3007971 w 3999618"/>
              <a:gd name="connsiteY8" fmla="*/ 3083700 h 3083671"/>
              <a:gd name="connsiteX9" fmla="*/ 2091999 w 3999618"/>
              <a:gd name="connsiteY9" fmla="*/ 1999827 h 3083671"/>
              <a:gd name="connsiteX10" fmla="*/ 3939159 w 3999618"/>
              <a:gd name="connsiteY10" fmla="*/ 29 h 3083671"/>
              <a:gd name="connsiteX11" fmla="*/ 4000238 w 3999618"/>
              <a:gd name="connsiteY11" fmla="*/ 259585 h 3083671"/>
              <a:gd name="connsiteX12" fmla="*/ 2778918 w 3999618"/>
              <a:gd name="connsiteY12" fmla="*/ 1465546 h 3083671"/>
              <a:gd name="connsiteX13" fmla="*/ 3801785 w 3999618"/>
              <a:gd name="connsiteY13" fmla="*/ 2274623 h 3083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99618" h="3083671">
                <a:moveTo>
                  <a:pt x="1710404" y="2274623"/>
                </a:moveTo>
                <a:cubicBezTo>
                  <a:pt x="1710404" y="2732585"/>
                  <a:pt x="1328761" y="3083700"/>
                  <a:pt x="916567" y="3083700"/>
                </a:cubicBezTo>
                <a:cubicBezTo>
                  <a:pt x="397454" y="3083700"/>
                  <a:pt x="619" y="2732585"/>
                  <a:pt x="619" y="1999827"/>
                </a:cubicBezTo>
                <a:cubicBezTo>
                  <a:pt x="619" y="1053375"/>
                  <a:pt x="733425" y="167955"/>
                  <a:pt x="1847850" y="29"/>
                </a:cubicBezTo>
                <a:lnTo>
                  <a:pt x="1908905" y="259585"/>
                </a:lnTo>
                <a:cubicBezTo>
                  <a:pt x="1023437" y="473255"/>
                  <a:pt x="687586" y="1068639"/>
                  <a:pt x="687586" y="1465546"/>
                </a:cubicBezTo>
                <a:cubicBezTo>
                  <a:pt x="1176099" y="1358675"/>
                  <a:pt x="1710404" y="1679239"/>
                  <a:pt x="1710404" y="2274623"/>
                </a:cubicBezTo>
                <a:close/>
                <a:moveTo>
                  <a:pt x="3801785" y="2274623"/>
                </a:moveTo>
                <a:cubicBezTo>
                  <a:pt x="3801785" y="2732585"/>
                  <a:pt x="3420142" y="3083700"/>
                  <a:pt x="3007971" y="3083700"/>
                </a:cubicBezTo>
                <a:cubicBezTo>
                  <a:pt x="2488858" y="3083700"/>
                  <a:pt x="2091999" y="2732585"/>
                  <a:pt x="2091999" y="1999827"/>
                </a:cubicBezTo>
                <a:cubicBezTo>
                  <a:pt x="2091999" y="1053375"/>
                  <a:pt x="2824781" y="167955"/>
                  <a:pt x="3939159" y="29"/>
                </a:cubicBezTo>
                <a:lnTo>
                  <a:pt x="4000238" y="259585"/>
                </a:lnTo>
                <a:cubicBezTo>
                  <a:pt x="3114818" y="473255"/>
                  <a:pt x="2778918" y="1068639"/>
                  <a:pt x="2778918" y="1465546"/>
                </a:cubicBezTo>
                <a:cubicBezTo>
                  <a:pt x="3267480" y="1358675"/>
                  <a:pt x="3801785" y="1679239"/>
                  <a:pt x="3801785" y="2274623"/>
                </a:cubicBezTo>
                <a:close/>
              </a:path>
            </a:pathLst>
          </a:custGeom>
          <a:solidFill>
            <a:schemeClr val="accent3"/>
          </a:solidFill>
          <a:ln w="2381" cap="flat">
            <a:noFill/>
            <a:prstDash val="solid"/>
            <a:miter/>
          </a:ln>
        </p:spPr>
        <p:txBody>
          <a:bodyPr rtlCol="0" anchor="ctr"/>
          <a:lstStyle/>
          <a:p>
            <a:endParaRPr lang="en-GB" dirty="0"/>
          </a:p>
        </p:txBody>
      </p:sp>
    </p:spTree>
    <p:extLst>
      <p:ext uri="{BB962C8B-B14F-4D97-AF65-F5344CB8AC3E}">
        <p14:creationId xmlns:p14="http://schemas.microsoft.com/office/powerpoint/2010/main" val="105468865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ase Study 2">
    <p:spTree>
      <p:nvGrpSpPr>
        <p:cNvPr id="1" name=""/>
        <p:cNvGrpSpPr/>
        <p:nvPr/>
      </p:nvGrpSpPr>
      <p:grpSpPr>
        <a:xfrm>
          <a:off x="0" y="0"/>
          <a:ext cx="0" cy="0"/>
          <a:chOff x="0" y="0"/>
          <a:chExt cx="0" cy="0"/>
        </a:xfrm>
      </p:grpSpPr>
      <p:cxnSp>
        <p:nvCxnSpPr>
          <p:cNvPr id="101" name="Nav Line of Sight">
            <a:extLst>
              <a:ext uri="{FF2B5EF4-FFF2-40B4-BE49-F238E27FC236}">
                <a16:creationId xmlns:a16="http://schemas.microsoft.com/office/drawing/2014/main" id="{4F7078D9-99A7-4F4B-A2AE-F455F56FB451}"/>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00" name="Navigation Header Placeholder">
            <a:extLst>
              <a:ext uri="{FF2B5EF4-FFF2-40B4-BE49-F238E27FC236}">
                <a16:creationId xmlns:a16="http://schemas.microsoft.com/office/drawing/2014/main" id="{676795B3-D4D7-4DD1-95C2-286A5F9D9236}"/>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GB"/>
              <a:t>Navigation Header</a:t>
            </a:r>
          </a:p>
        </p:txBody>
      </p:sp>
      <p:sp>
        <p:nvSpPr>
          <p:cNvPr id="5" name="Coordinates">
            <a:extLst>
              <a:ext uri="{FF2B5EF4-FFF2-40B4-BE49-F238E27FC236}">
                <a16:creationId xmlns:a16="http://schemas.microsoft.com/office/drawing/2014/main" id="{735830CE-2387-4F0C-BB9A-0C9CFCCAC27F}"/>
              </a:ext>
            </a:extLst>
          </p:cNvPr>
          <p:cNvSpPr>
            <a:spLocks noGrp="1"/>
          </p:cNvSpPr>
          <p:nvPr>
            <p:ph sz="quarter" idx="47" hasCustomPrompt="1"/>
          </p:nvPr>
        </p:nvSpPr>
        <p:spPr>
          <a:xfrm>
            <a:off x="503238" y="1317625"/>
            <a:ext cx="2978150" cy="180975"/>
          </a:xfrm>
        </p:spPr>
        <p:txBody>
          <a:bodyPr wrap="none" anchor="b" anchorCtr="0"/>
          <a:lstStyle>
            <a:lvl1pPr>
              <a:defRPr sz="900">
                <a:solidFill>
                  <a:srgbClr val="80BBAD"/>
                </a:solidFill>
                <a:latin typeface="Space Mono" panose="02000509040000020004" pitchFamily="49" charset="0"/>
              </a:defRPr>
            </a:lvl1pPr>
          </a:lstStyle>
          <a:p>
            <a:pPr lvl="0"/>
            <a:r>
              <a:rPr lang="en-GB"/>
              <a:t>Coordinates Here</a:t>
            </a:r>
          </a:p>
        </p:txBody>
      </p:sp>
      <p:sp>
        <p:nvSpPr>
          <p:cNvPr id="10" name="Title 1">
            <a:extLst>
              <a:ext uri="{FF2B5EF4-FFF2-40B4-BE49-F238E27FC236}">
                <a16:creationId xmlns:a16="http://schemas.microsoft.com/office/drawing/2014/main" id="{477F03F6-9538-49CE-8D06-38030765E7BB}"/>
              </a:ext>
            </a:extLst>
          </p:cNvPr>
          <p:cNvSpPr>
            <a:spLocks noGrp="1"/>
          </p:cNvSpPr>
          <p:nvPr>
            <p:ph type="title" hasCustomPrompt="1"/>
          </p:nvPr>
        </p:nvSpPr>
        <p:spPr>
          <a:xfrm>
            <a:off x="511175" y="1601789"/>
            <a:ext cx="7581899" cy="1149350"/>
          </a:xfrm>
        </p:spPr>
        <p:txBody>
          <a:bodyPr/>
          <a:lstStyle>
            <a:lvl1pPr>
              <a:defRPr/>
            </a:lvl1pPr>
          </a:lstStyle>
          <a:p>
            <a:r>
              <a:rPr lang="en-GB"/>
              <a:t>Asset/Property name,</a:t>
            </a:r>
            <a:br>
              <a:rPr lang="en-GB"/>
            </a:br>
            <a:r>
              <a:rPr lang="en-GB"/>
              <a:t>City name</a:t>
            </a:r>
          </a:p>
        </p:txBody>
      </p:sp>
      <p:sp>
        <p:nvSpPr>
          <p:cNvPr id="31" name="Content Placeholder 1">
            <a:extLst>
              <a:ext uri="{FF2B5EF4-FFF2-40B4-BE49-F238E27FC236}">
                <a16:creationId xmlns:a16="http://schemas.microsoft.com/office/drawing/2014/main" id="{5FF70B67-C845-4CFA-837C-62210E7EFBF0}"/>
              </a:ext>
            </a:extLst>
          </p:cNvPr>
          <p:cNvSpPr>
            <a:spLocks noGrp="1"/>
          </p:cNvSpPr>
          <p:nvPr>
            <p:ph sz="quarter" idx="37"/>
          </p:nvPr>
        </p:nvSpPr>
        <p:spPr>
          <a:xfrm>
            <a:off x="511177" y="2852738"/>
            <a:ext cx="2452686" cy="3551237"/>
          </a:xfrm>
          <a:solidFill>
            <a:schemeClr val="tx1"/>
          </a:solidFill>
        </p:spPr>
        <p:txBody>
          <a:bodyPr lIns="73152" tIns="73152" rIns="73152"/>
          <a:lstStyle>
            <a:lvl1pPr marL="0" indent="0">
              <a:spcBef>
                <a:spcPts val="600"/>
              </a:spcBef>
              <a:spcAft>
                <a:spcPts val="0"/>
              </a:spcAft>
              <a:defRPr sz="1600">
                <a:solidFill>
                  <a:schemeClr val="bg1"/>
                </a:solidFill>
                <a:latin typeface="Calibre Semibold" panose="020B0703030202060203" pitchFamily="34" charset="0"/>
              </a:defRPr>
            </a:lvl1pPr>
            <a:lvl2pPr>
              <a:spcBef>
                <a:spcPts val="300"/>
              </a:spcBef>
              <a:spcAft>
                <a:spcPts val="600"/>
              </a:spcAft>
              <a:defRPr sz="1200">
                <a:solidFill>
                  <a:schemeClr val="bg1"/>
                </a:solidFill>
                <a:latin typeface="+mn-lt"/>
              </a:defRPr>
            </a:lvl2pPr>
            <a:lvl3pPr marL="171450" indent="-171450">
              <a:spcAft>
                <a:spcPts val="300"/>
              </a:spcAft>
              <a:buFont typeface="Arial" panose="020B0604020202020204" pitchFamily="34" charset="0"/>
              <a:buChar char="‒"/>
              <a:defRPr>
                <a:solidFill>
                  <a:schemeClr val="bg1"/>
                </a:solidFill>
              </a:defRPr>
            </a:lvl3pPr>
            <a:lvl4pPr marL="342900" indent="-171450">
              <a:spcBef>
                <a:spcPts val="0"/>
              </a:spcBef>
              <a:spcAft>
                <a:spcPts val="300"/>
              </a:spcAft>
              <a:defRPr sz="1200">
                <a:solidFill>
                  <a:schemeClr val="bg1"/>
                </a:solidFill>
              </a:defRPr>
            </a:lvl4pPr>
            <a:lvl5pPr marL="342900" indent="-166688">
              <a:spcBef>
                <a:spcPts val="0"/>
              </a:spcBef>
              <a:spcAft>
                <a:spcPts val="300"/>
              </a:spcAft>
              <a:defRPr sz="12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32" name="Content Placeholder 2">
            <a:extLst>
              <a:ext uri="{FF2B5EF4-FFF2-40B4-BE49-F238E27FC236}">
                <a16:creationId xmlns:a16="http://schemas.microsoft.com/office/drawing/2014/main" id="{B7EEA141-FDB4-406C-9BF3-6371663430BD}"/>
              </a:ext>
            </a:extLst>
          </p:cNvPr>
          <p:cNvSpPr>
            <a:spLocks noGrp="1"/>
          </p:cNvSpPr>
          <p:nvPr>
            <p:ph sz="quarter" idx="46"/>
          </p:nvPr>
        </p:nvSpPr>
        <p:spPr>
          <a:xfrm>
            <a:off x="3073400" y="2852738"/>
            <a:ext cx="5019675" cy="3551237"/>
          </a:xfrm>
        </p:spPr>
        <p:txBody>
          <a:bodyPr tIns="73152"/>
          <a:lstStyle>
            <a:lvl1pPr marL="0" indent="0">
              <a:spcBef>
                <a:spcPts val="0"/>
              </a:spcBef>
              <a:spcAft>
                <a:spcPts val="600"/>
              </a:spcAft>
              <a:defRPr sz="1600">
                <a:latin typeface="Calibre Semibold" panose="020B0703030202060203" pitchFamily="34" charset="0"/>
              </a:defRPr>
            </a:lvl1pPr>
            <a:lvl2pPr>
              <a:spcBef>
                <a:spcPts val="0"/>
              </a:spcBef>
              <a:spcAft>
                <a:spcPts val="600"/>
              </a:spcAft>
              <a:defRPr sz="1200">
                <a:latin typeface="+mn-lt"/>
              </a:defRPr>
            </a:lvl2pPr>
            <a:lvl3pPr marL="171450" indent="-171450">
              <a:spcAft>
                <a:spcPts val="300"/>
              </a:spcAft>
              <a:buFont typeface="Arial" panose="020B0604020202020204" pitchFamily="34" charset="0"/>
              <a:buChar char="‒"/>
              <a:defRPr/>
            </a:lvl3pPr>
            <a:lvl4pPr marL="342900" indent="-171450">
              <a:spcBef>
                <a:spcPts val="0"/>
              </a:spcBef>
              <a:spcAft>
                <a:spcPts val="300"/>
              </a:spcAft>
              <a:defRPr sz="1200"/>
            </a:lvl4pPr>
            <a:lvl5pPr marL="342900" indent="-166688">
              <a:spcBef>
                <a:spcPts val="0"/>
              </a:spcBef>
              <a:defRPr sz="1200"/>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Picture Placeholder 1">
            <a:extLst>
              <a:ext uri="{FF2B5EF4-FFF2-40B4-BE49-F238E27FC236}">
                <a16:creationId xmlns:a16="http://schemas.microsoft.com/office/drawing/2014/main" id="{4CA5A327-FD7D-44EB-8524-8382370C09EA}"/>
              </a:ext>
            </a:extLst>
          </p:cNvPr>
          <p:cNvSpPr>
            <a:spLocks noGrp="1"/>
          </p:cNvSpPr>
          <p:nvPr>
            <p:ph type="pic" sz="quarter" idx="42"/>
          </p:nvPr>
        </p:nvSpPr>
        <p:spPr>
          <a:xfrm>
            <a:off x="8194674" y="454024"/>
            <a:ext cx="3997325" cy="5949952"/>
          </a:xfrm>
          <a:solidFill>
            <a:srgbClr val="CBCDCB"/>
          </a:solidFill>
        </p:spPr>
        <p:txBody>
          <a:bodyPr rIns="0" anchor="ctr" anchorCtr="0"/>
          <a:lstStyle>
            <a:lvl1pPr algn="ctr">
              <a:defRPr/>
            </a:lvl1pPr>
          </a:lstStyle>
          <a:p>
            <a:r>
              <a:rPr lang="en-GB" dirty="0"/>
              <a:t>Click icon to add picture</a:t>
            </a:r>
          </a:p>
        </p:txBody>
      </p:sp>
    </p:spTree>
    <p:extLst>
      <p:ext uri="{BB962C8B-B14F-4D97-AF65-F5344CB8AC3E}">
        <p14:creationId xmlns:p14="http://schemas.microsoft.com/office/powerpoint/2010/main" val="3055437262"/>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rack Record - 2up">
    <p:spTree>
      <p:nvGrpSpPr>
        <p:cNvPr id="1" name=""/>
        <p:cNvGrpSpPr/>
        <p:nvPr/>
      </p:nvGrpSpPr>
      <p:grpSpPr>
        <a:xfrm>
          <a:off x="0" y="0"/>
          <a:ext cx="0" cy="0"/>
          <a:chOff x="0" y="0"/>
          <a:chExt cx="0" cy="0"/>
        </a:xfrm>
      </p:grpSpPr>
      <p:cxnSp>
        <p:nvCxnSpPr>
          <p:cNvPr id="101" name="Nav Line of Sight">
            <a:extLst>
              <a:ext uri="{FF2B5EF4-FFF2-40B4-BE49-F238E27FC236}">
                <a16:creationId xmlns:a16="http://schemas.microsoft.com/office/drawing/2014/main" id="{4F7078D9-99A7-4F4B-A2AE-F455F56FB451}"/>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00" name="Navigation Header Placeholder">
            <a:extLst>
              <a:ext uri="{FF2B5EF4-FFF2-40B4-BE49-F238E27FC236}">
                <a16:creationId xmlns:a16="http://schemas.microsoft.com/office/drawing/2014/main" id="{676795B3-D4D7-4DD1-95C2-286A5F9D9236}"/>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GB"/>
              <a:t>Navigation Header</a:t>
            </a:r>
          </a:p>
        </p:txBody>
      </p:sp>
      <p:sp>
        <p:nvSpPr>
          <p:cNvPr id="4" name="Sector Asset Placeholder 1">
            <a:extLst>
              <a:ext uri="{FF2B5EF4-FFF2-40B4-BE49-F238E27FC236}">
                <a16:creationId xmlns:a16="http://schemas.microsoft.com/office/drawing/2014/main" id="{F1FAD510-C3A7-4BC0-86FD-34B90AED9906}"/>
              </a:ext>
            </a:extLst>
          </p:cNvPr>
          <p:cNvSpPr>
            <a:spLocks noGrp="1"/>
          </p:cNvSpPr>
          <p:nvPr>
            <p:ph sz="quarter" idx="44" hasCustomPrompt="1"/>
          </p:nvPr>
        </p:nvSpPr>
        <p:spPr>
          <a:xfrm>
            <a:off x="511175" y="1601788"/>
            <a:ext cx="5021263" cy="463750"/>
          </a:xfrm>
        </p:spPr>
        <p:txBody>
          <a:bodyPr anchor="b" anchorCtr="0"/>
          <a:lstStyle>
            <a:lvl1pPr>
              <a:defRPr>
                <a:solidFill>
                  <a:srgbClr val="96B3B6"/>
                </a:solidFill>
              </a:defRPr>
            </a:lvl1pPr>
          </a:lstStyle>
          <a:p>
            <a:pPr lvl="0"/>
            <a:r>
              <a:rPr lang="en-GB"/>
              <a:t>Sector or Asset Type</a:t>
            </a:r>
          </a:p>
        </p:txBody>
      </p:sp>
      <p:sp>
        <p:nvSpPr>
          <p:cNvPr id="11" name="Co. Name Placeholder 1">
            <a:extLst>
              <a:ext uri="{FF2B5EF4-FFF2-40B4-BE49-F238E27FC236}">
                <a16:creationId xmlns:a16="http://schemas.microsoft.com/office/drawing/2014/main" id="{9800EAE4-EAC3-4553-BED8-0EC4A0970E21}"/>
              </a:ext>
            </a:extLst>
          </p:cNvPr>
          <p:cNvSpPr>
            <a:spLocks noGrp="1"/>
          </p:cNvSpPr>
          <p:nvPr>
            <p:ph type="body" sz="quarter" idx="45" hasCustomPrompt="1"/>
          </p:nvPr>
        </p:nvSpPr>
        <p:spPr>
          <a:xfrm>
            <a:off x="503238" y="2227264"/>
            <a:ext cx="4516437" cy="195262"/>
          </a:xfrm>
        </p:spPr>
        <p:txBody>
          <a:bodyPr rIns="0" anchor="b" anchorCtr="0"/>
          <a:lstStyle>
            <a:lvl1pPr>
              <a:defRPr sz="1400" cap="all" baseline="0">
                <a:latin typeface="Calibre Medium" panose="020B0603030202060203" pitchFamily="34" charset="0"/>
              </a:defRPr>
            </a:lvl1pPr>
          </a:lstStyle>
          <a:p>
            <a:pPr lvl="0"/>
            <a:r>
              <a:rPr lang="en-GB"/>
              <a:t>Company Name</a:t>
            </a:r>
          </a:p>
        </p:txBody>
      </p:sp>
      <p:sp>
        <p:nvSpPr>
          <p:cNvPr id="14" name="Year Placeholder 1">
            <a:extLst>
              <a:ext uri="{FF2B5EF4-FFF2-40B4-BE49-F238E27FC236}">
                <a16:creationId xmlns:a16="http://schemas.microsoft.com/office/drawing/2014/main" id="{5CBA7C2F-C8B3-40BF-A6ED-C34E99D68E3C}"/>
              </a:ext>
            </a:extLst>
          </p:cNvPr>
          <p:cNvSpPr>
            <a:spLocks noGrp="1"/>
          </p:cNvSpPr>
          <p:nvPr>
            <p:ph type="body" sz="quarter" idx="46" hasCustomPrompt="1"/>
          </p:nvPr>
        </p:nvSpPr>
        <p:spPr>
          <a:xfrm>
            <a:off x="5019675" y="2227264"/>
            <a:ext cx="504305" cy="195262"/>
          </a:xfrm>
        </p:spPr>
        <p:txBody>
          <a:bodyPr rIns="0" anchor="b" anchorCtr="0"/>
          <a:lstStyle>
            <a:lvl1pPr algn="r">
              <a:defRPr sz="1400" cap="all" baseline="0">
                <a:solidFill>
                  <a:srgbClr val="17E88F"/>
                </a:solidFill>
                <a:latin typeface="Calibre Medium" panose="020B0603030202060203" pitchFamily="34" charset="0"/>
              </a:defRPr>
            </a:lvl1pPr>
          </a:lstStyle>
          <a:p>
            <a:pPr lvl="0"/>
            <a:r>
              <a:rPr lang="en-GB"/>
              <a:t>Year</a:t>
            </a:r>
          </a:p>
        </p:txBody>
      </p:sp>
      <p:cxnSp>
        <p:nvCxnSpPr>
          <p:cNvPr id="13" name="Horizontal Line 1">
            <a:extLst>
              <a:ext uri="{FF2B5EF4-FFF2-40B4-BE49-F238E27FC236}">
                <a16:creationId xmlns:a16="http://schemas.microsoft.com/office/drawing/2014/main" id="{4E0CB380-3C75-4E34-B4FF-DA92053294B4}"/>
              </a:ext>
            </a:extLst>
          </p:cNvPr>
          <p:cNvCxnSpPr/>
          <p:nvPr userDrawn="1"/>
        </p:nvCxnSpPr>
        <p:spPr>
          <a:xfrm>
            <a:off x="502717" y="2491569"/>
            <a:ext cx="50297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Picture Placeholder 1">
            <a:extLst>
              <a:ext uri="{FF2B5EF4-FFF2-40B4-BE49-F238E27FC236}">
                <a16:creationId xmlns:a16="http://schemas.microsoft.com/office/drawing/2014/main" id="{7EEB3600-C258-49C2-A78D-AB51D32B0239}"/>
              </a:ext>
            </a:extLst>
          </p:cNvPr>
          <p:cNvSpPr>
            <a:spLocks noGrp="1"/>
          </p:cNvSpPr>
          <p:nvPr>
            <p:ph type="pic" sz="quarter" idx="42"/>
          </p:nvPr>
        </p:nvSpPr>
        <p:spPr>
          <a:xfrm>
            <a:off x="511175" y="2636525"/>
            <a:ext cx="2452688" cy="2614926"/>
          </a:xfrm>
          <a:solidFill>
            <a:srgbClr val="CBCDCB"/>
          </a:solidFill>
        </p:spPr>
        <p:txBody>
          <a:bodyPr rIns="0" anchor="ctr" anchorCtr="0"/>
          <a:lstStyle>
            <a:lvl1pPr algn="ctr">
              <a:defRPr/>
            </a:lvl1pPr>
          </a:lstStyle>
          <a:p>
            <a:r>
              <a:rPr lang="en-GB" dirty="0"/>
              <a:t>Click icon to add picture</a:t>
            </a:r>
          </a:p>
        </p:txBody>
      </p:sp>
      <p:sp>
        <p:nvSpPr>
          <p:cNvPr id="17" name="Table Placeholder 1">
            <a:extLst>
              <a:ext uri="{FF2B5EF4-FFF2-40B4-BE49-F238E27FC236}">
                <a16:creationId xmlns:a16="http://schemas.microsoft.com/office/drawing/2014/main" id="{5EB9FE5C-2D7F-45C1-890E-B58D8F268B6C}"/>
              </a:ext>
            </a:extLst>
          </p:cNvPr>
          <p:cNvSpPr>
            <a:spLocks noGrp="1"/>
          </p:cNvSpPr>
          <p:nvPr>
            <p:ph type="tbl" sz="quarter" idx="47" hasCustomPrompt="1"/>
          </p:nvPr>
        </p:nvSpPr>
        <p:spPr>
          <a:xfrm>
            <a:off x="3081846" y="2636838"/>
            <a:ext cx="2450592" cy="2614612"/>
          </a:xfrm>
        </p:spPr>
        <p:txBody>
          <a:bodyPr rIns="0" anchor="ctr" anchorCtr="0"/>
          <a:lstStyle>
            <a:lvl1pPr algn="ctr">
              <a:defRPr/>
            </a:lvl1pPr>
            <a:lvl2pPr algn="ctr">
              <a:defRPr sz="1200"/>
            </a:lvl2pPr>
          </a:lstStyle>
          <a:p>
            <a:r>
              <a:rPr lang="en-GB" dirty="0"/>
              <a:t>Click icon</a:t>
            </a:r>
            <a:br>
              <a:rPr lang="en-GB" dirty="0"/>
            </a:br>
            <a:r>
              <a:rPr lang="en-GB" dirty="0"/>
              <a:t>to insert table</a:t>
            </a:r>
            <a:br>
              <a:rPr lang="en-GB" dirty="0"/>
            </a:br>
            <a:r>
              <a:rPr lang="en-GB" dirty="0"/>
              <a:t>2 columns x 7 rows</a:t>
            </a:r>
          </a:p>
        </p:txBody>
      </p:sp>
      <p:sp>
        <p:nvSpPr>
          <p:cNvPr id="21" name="Sector Asset Placeholder 2">
            <a:extLst>
              <a:ext uri="{FF2B5EF4-FFF2-40B4-BE49-F238E27FC236}">
                <a16:creationId xmlns:a16="http://schemas.microsoft.com/office/drawing/2014/main" id="{1CB0BF30-A45D-4066-89F3-913BA2DDDFDF}"/>
              </a:ext>
            </a:extLst>
          </p:cNvPr>
          <p:cNvSpPr>
            <a:spLocks noGrp="1"/>
          </p:cNvSpPr>
          <p:nvPr>
            <p:ph sz="quarter" idx="48" hasCustomPrompt="1"/>
          </p:nvPr>
        </p:nvSpPr>
        <p:spPr>
          <a:xfrm>
            <a:off x="6146800" y="1601788"/>
            <a:ext cx="5021263" cy="463750"/>
          </a:xfrm>
        </p:spPr>
        <p:txBody>
          <a:bodyPr anchor="b" anchorCtr="0"/>
          <a:lstStyle>
            <a:lvl1pPr>
              <a:defRPr>
                <a:solidFill>
                  <a:srgbClr val="96B3B6"/>
                </a:solidFill>
              </a:defRPr>
            </a:lvl1pPr>
          </a:lstStyle>
          <a:p>
            <a:pPr lvl="0"/>
            <a:r>
              <a:rPr lang="en-GB"/>
              <a:t>Sector or Asset Type</a:t>
            </a:r>
          </a:p>
        </p:txBody>
      </p:sp>
      <p:sp>
        <p:nvSpPr>
          <p:cNvPr id="22" name="Co. Name Placeholder 2">
            <a:extLst>
              <a:ext uri="{FF2B5EF4-FFF2-40B4-BE49-F238E27FC236}">
                <a16:creationId xmlns:a16="http://schemas.microsoft.com/office/drawing/2014/main" id="{05A7C511-0C58-4634-A410-74911CC57C7F}"/>
              </a:ext>
            </a:extLst>
          </p:cNvPr>
          <p:cNvSpPr>
            <a:spLocks noGrp="1"/>
          </p:cNvSpPr>
          <p:nvPr>
            <p:ph type="body" sz="quarter" idx="49" hasCustomPrompt="1"/>
          </p:nvPr>
        </p:nvSpPr>
        <p:spPr>
          <a:xfrm>
            <a:off x="6138863" y="2227264"/>
            <a:ext cx="4516437" cy="195262"/>
          </a:xfrm>
        </p:spPr>
        <p:txBody>
          <a:bodyPr rIns="0" anchor="b" anchorCtr="0"/>
          <a:lstStyle>
            <a:lvl1pPr>
              <a:defRPr sz="1400" cap="all" baseline="0">
                <a:latin typeface="Calibre Medium" panose="020B0603030202060203" pitchFamily="34" charset="0"/>
              </a:defRPr>
            </a:lvl1pPr>
          </a:lstStyle>
          <a:p>
            <a:pPr lvl="0"/>
            <a:r>
              <a:rPr lang="en-GB"/>
              <a:t>Company Name</a:t>
            </a:r>
          </a:p>
        </p:txBody>
      </p:sp>
      <p:sp>
        <p:nvSpPr>
          <p:cNvPr id="23" name="Year Placeholder 2">
            <a:extLst>
              <a:ext uri="{FF2B5EF4-FFF2-40B4-BE49-F238E27FC236}">
                <a16:creationId xmlns:a16="http://schemas.microsoft.com/office/drawing/2014/main" id="{AAECA73B-E9F1-4B11-B1FF-36A5F2BFEA17}"/>
              </a:ext>
            </a:extLst>
          </p:cNvPr>
          <p:cNvSpPr>
            <a:spLocks noGrp="1"/>
          </p:cNvSpPr>
          <p:nvPr>
            <p:ph type="body" sz="quarter" idx="50" hasCustomPrompt="1"/>
          </p:nvPr>
        </p:nvSpPr>
        <p:spPr>
          <a:xfrm>
            <a:off x="10655300" y="2227264"/>
            <a:ext cx="504305" cy="195262"/>
          </a:xfrm>
        </p:spPr>
        <p:txBody>
          <a:bodyPr rIns="0" anchor="b" anchorCtr="0"/>
          <a:lstStyle>
            <a:lvl1pPr algn="r">
              <a:defRPr sz="1400" cap="all" baseline="0">
                <a:solidFill>
                  <a:srgbClr val="17E88F"/>
                </a:solidFill>
                <a:latin typeface="Calibre Medium" panose="020B0603030202060203" pitchFamily="34" charset="0"/>
              </a:defRPr>
            </a:lvl1pPr>
          </a:lstStyle>
          <a:p>
            <a:pPr lvl="0"/>
            <a:r>
              <a:rPr lang="en-GB"/>
              <a:t>Year</a:t>
            </a:r>
          </a:p>
        </p:txBody>
      </p:sp>
      <p:cxnSp>
        <p:nvCxnSpPr>
          <p:cNvPr id="24" name="Horizontal Line 2">
            <a:extLst>
              <a:ext uri="{FF2B5EF4-FFF2-40B4-BE49-F238E27FC236}">
                <a16:creationId xmlns:a16="http://schemas.microsoft.com/office/drawing/2014/main" id="{87477E01-7F4D-4012-BA93-177BB45A09FF}"/>
              </a:ext>
            </a:extLst>
          </p:cNvPr>
          <p:cNvCxnSpPr/>
          <p:nvPr userDrawn="1"/>
        </p:nvCxnSpPr>
        <p:spPr>
          <a:xfrm>
            <a:off x="6138342" y="2491569"/>
            <a:ext cx="50297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25" name="Picture Placeholder 2">
            <a:extLst>
              <a:ext uri="{FF2B5EF4-FFF2-40B4-BE49-F238E27FC236}">
                <a16:creationId xmlns:a16="http://schemas.microsoft.com/office/drawing/2014/main" id="{4030913B-7188-4276-A89C-49544D94F904}"/>
              </a:ext>
            </a:extLst>
          </p:cNvPr>
          <p:cNvSpPr>
            <a:spLocks noGrp="1"/>
          </p:cNvSpPr>
          <p:nvPr>
            <p:ph type="pic" sz="quarter" idx="51"/>
          </p:nvPr>
        </p:nvSpPr>
        <p:spPr>
          <a:xfrm>
            <a:off x="6146800" y="2636525"/>
            <a:ext cx="2452688" cy="2614926"/>
          </a:xfrm>
          <a:solidFill>
            <a:srgbClr val="CBCDCB"/>
          </a:solidFill>
        </p:spPr>
        <p:txBody>
          <a:bodyPr rIns="0" anchor="ctr" anchorCtr="0"/>
          <a:lstStyle>
            <a:lvl1pPr algn="ctr">
              <a:defRPr/>
            </a:lvl1pPr>
          </a:lstStyle>
          <a:p>
            <a:r>
              <a:rPr lang="en-GB" dirty="0"/>
              <a:t>Click icon to add picture</a:t>
            </a:r>
          </a:p>
        </p:txBody>
      </p:sp>
      <p:sp>
        <p:nvSpPr>
          <p:cNvPr id="26" name="Table Placeholder 2">
            <a:extLst>
              <a:ext uri="{FF2B5EF4-FFF2-40B4-BE49-F238E27FC236}">
                <a16:creationId xmlns:a16="http://schemas.microsoft.com/office/drawing/2014/main" id="{AC9ED858-80A4-4C66-9289-A5DAF91EE2AD}"/>
              </a:ext>
            </a:extLst>
          </p:cNvPr>
          <p:cNvSpPr>
            <a:spLocks noGrp="1"/>
          </p:cNvSpPr>
          <p:nvPr>
            <p:ph type="tbl" sz="quarter" idx="52" hasCustomPrompt="1"/>
          </p:nvPr>
        </p:nvSpPr>
        <p:spPr>
          <a:xfrm>
            <a:off x="8717471" y="2636838"/>
            <a:ext cx="2450592" cy="2614612"/>
          </a:xfrm>
        </p:spPr>
        <p:txBody>
          <a:bodyPr rIns="0" anchor="ctr" anchorCtr="0"/>
          <a:lstStyle>
            <a:lvl1pPr algn="ctr">
              <a:defRPr/>
            </a:lvl1pPr>
            <a:lvl2pPr algn="ctr">
              <a:defRPr sz="1200"/>
            </a:lvl2pPr>
          </a:lstStyle>
          <a:p>
            <a:r>
              <a:rPr lang="en-GB" dirty="0"/>
              <a:t>Click icon</a:t>
            </a:r>
            <a:br>
              <a:rPr lang="en-GB" dirty="0"/>
            </a:br>
            <a:r>
              <a:rPr lang="en-GB" dirty="0"/>
              <a:t>to insert table</a:t>
            </a:r>
            <a:br>
              <a:rPr lang="en-GB" dirty="0"/>
            </a:br>
            <a:r>
              <a:rPr lang="en-GB" dirty="0"/>
              <a:t>2 columns x 7 rows</a:t>
            </a:r>
          </a:p>
        </p:txBody>
      </p:sp>
    </p:spTree>
    <p:extLst>
      <p:ext uri="{BB962C8B-B14F-4D97-AF65-F5344CB8AC3E}">
        <p14:creationId xmlns:p14="http://schemas.microsoft.com/office/powerpoint/2010/main" val="205117768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Agenda 1">
    <p:bg>
      <p:bgPr>
        <a:solidFill>
          <a:schemeClr val="bg1"/>
        </a:solid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27190B2A-4A03-4442-BCB9-881FECD2D9D6}"/>
              </a:ext>
            </a:extLst>
          </p:cNvPr>
          <p:cNvCxnSpPr>
            <a:cxnSpLocks/>
          </p:cNvCxnSpPr>
          <p:nvPr userDrawn="1"/>
        </p:nvCxnSpPr>
        <p:spPr>
          <a:xfrm flipH="1">
            <a:off x="2560638" y="1812877"/>
            <a:ext cx="4507455"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603E8E9-3E6F-4875-89EC-2887A614A793}"/>
              </a:ext>
            </a:extLst>
          </p:cNvPr>
          <p:cNvSpPr>
            <a:spLocks noGrp="1"/>
          </p:cNvSpPr>
          <p:nvPr>
            <p:ph type="title" hasCustomPrompt="1"/>
          </p:nvPr>
        </p:nvSpPr>
        <p:spPr>
          <a:xfrm>
            <a:off x="511176" y="1601788"/>
            <a:ext cx="1947862" cy="1325563"/>
          </a:xfrm>
        </p:spPr>
        <p:txBody>
          <a:bodyPr/>
          <a:lstStyle>
            <a:lvl1pPr>
              <a:defRPr/>
            </a:lvl1pPr>
          </a:lstStyle>
          <a:p>
            <a:r>
              <a:rPr lang="en-GB"/>
              <a:t>Agenda</a:t>
            </a:r>
          </a:p>
        </p:txBody>
      </p:sp>
      <p:sp>
        <p:nvSpPr>
          <p:cNvPr id="75" name="Agenda Placeholder">
            <a:extLst>
              <a:ext uri="{FF2B5EF4-FFF2-40B4-BE49-F238E27FC236}">
                <a16:creationId xmlns:a16="http://schemas.microsoft.com/office/drawing/2014/main" id="{D00E8ABA-C8B2-4972-8417-C82FB15B6BD6}"/>
              </a:ext>
            </a:extLst>
          </p:cNvPr>
          <p:cNvSpPr>
            <a:spLocks noGrp="1"/>
          </p:cNvSpPr>
          <p:nvPr>
            <p:ph type="body" sz="quarter" idx="10" hasCustomPrompt="1"/>
          </p:nvPr>
        </p:nvSpPr>
        <p:spPr>
          <a:xfrm>
            <a:off x="7683500" y="1601788"/>
            <a:ext cx="2950014" cy="4275137"/>
          </a:xfrm>
        </p:spPr>
        <p:txBody>
          <a:bodyPr/>
          <a:lstStyle>
            <a:lvl1pPr marL="342900" indent="-342900">
              <a:lnSpc>
                <a:spcPct val="100000"/>
              </a:lnSpc>
              <a:spcBef>
                <a:spcPts val="0"/>
              </a:spcBef>
              <a:spcAft>
                <a:spcPts val="600"/>
              </a:spcAft>
              <a:buFont typeface="+mj-lt"/>
              <a:buAutoNum type="arabicPlain"/>
              <a:tabLst/>
              <a:defRPr sz="1600">
                <a:solidFill>
                  <a:schemeClr val="tx1"/>
                </a:solidFill>
                <a:latin typeface="+mn-lt"/>
              </a:defRPr>
            </a:lvl1pPr>
            <a:lvl2pPr marL="514350" indent="-171450">
              <a:buFont typeface="Calibre" panose="020B0503030202060203" pitchFamily="34" charset="0"/>
              <a:buChar char="–"/>
              <a:defRPr sz="1200">
                <a:solidFill>
                  <a:schemeClr val="tx1"/>
                </a:solidFill>
                <a:latin typeface="+mn-lt"/>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Agenda item</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932287818"/>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rack Record - 4up Option 1">
    <p:spTree>
      <p:nvGrpSpPr>
        <p:cNvPr id="1" name=""/>
        <p:cNvGrpSpPr/>
        <p:nvPr/>
      </p:nvGrpSpPr>
      <p:grpSpPr>
        <a:xfrm>
          <a:off x="0" y="0"/>
          <a:ext cx="0" cy="0"/>
          <a:chOff x="0" y="0"/>
          <a:chExt cx="0" cy="0"/>
        </a:xfrm>
      </p:grpSpPr>
      <p:cxnSp>
        <p:nvCxnSpPr>
          <p:cNvPr id="101" name="Nav Line of Sight">
            <a:extLst>
              <a:ext uri="{FF2B5EF4-FFF2-40B4-BE49-F238E27FC236}">
                <a16:creationId xmlns:a16="http://schemas.microsoft.com/office/drawing/2014/main" id="{4F7078D9-99A7-4F4B-A2AE-F455F56FB451}"/>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00" name="Navigation Header Placeholder">
            <a:extLst>
              <a:ext uri="{FF2B5EF4-FFF2-40B4-BE49-F238E27FC236}">
                <a16:creationId xmlns:a16="http://schemas.microsoft.com/office/drawing/2014/main" id="{676795B3-D4D7-4DD1-95C2-286A5F9D9236}"/>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GB"/>
              <a:t>Navigation Header</a:t>
            </a:r>
          </a:p>
        </p:txBody>
      </p:sp>
      <p:sp>
        <p:nvSpPr>
          <p:cNvPr id="4" name="Sector Asset Placeholder Left">
            <a:extLst>
              <a:ext uri="{FF2B5EF4-FFF2-40B4-BE49-F238E27FC236}">
                <a16:creationId xmlns:a16="http://schemas.microsoft.com/office/drawing/2014/main" id="{F1FAD510-C3A7-4BC0-86FD-34B90AED9906}"/>
              </a:ext>
            </a:extLst>
          </p:cNvPr>
          <p:cNvSpPr>
            <a:spLocks noGrp="1"/>
          </p:cNvSpPr>
          <p:nvPr>
            <p:ph sz="quarter" idx="44" hasCustomPrompt="1"/>
          </p:nvPr>
        </p:nvSpPr>
        <p:spPr>
          <a:xfrm>
            <a:off x="511175" y="1292229"/>
            <a:ext cx="5021263" cy="566122"/>
          </a:xfrm>
        </p:spPr>
        <p:txBody>
          <a:bodyPr anchor="b" anchorCtr="0"/>
          <a:lstStyle>
            <a:lvl1pPr>
              <a:defRPr>
                <a:solidFill>
                  <a:srgbClr val="96B3B6"/>
                </a:solidFill>
              </a:defRPr>
            </a:lvl1pPr>
          </a:lstStyle>
          <a:p>
            <a:pPr lvl="0"/>
            <a:r>
              <a:rPr lang="en-GB"/>
              <a:t>Sector or Asset Type</a:t>
            </a:r>
          </a:p>
        </p:txBody>
      </p:sp>
      <p:sp>
        <p:nvSpPr>
          <p:cNvPr id="11" name="Co. Name Placeholder 1">
            <a:extLst>
              <a:ext uri="{FF2B5EF4-FFF2-40B4-BE49-F238E27FC236}">
                <a16:creationId xmlns:a16="http://schemas.microsoft.com/office/drawing/2014/main" id="{9800EAE4-EAC3-4553-BED8-0EC4A0970E21}"/>
              </a:ext>
            </a:extLst>
          </p:cNvPr>
          <p:cNvSpPr>
            <a:spLocks noGrp="1"/>
          </p:cNvSpPr>
          <p:nvPr>
            <p:ph type="body" sz="quarter" idx="45" hasCustomPrompt="1"/>
          </p:nvPr>
        </p:nvSpPr>
        <p:spPr>
          <a:xfrm>
            <a:off x="503238" y="1894272"/>
            <a:ext cx="4516437" cy="195262"/>
          </a:xfrm>
        </p:spPr>
        <p:txBody>
          <a:bodyPr rIns="0" anchor="b" anchorCtr="0"/>
          <a:lstStyle>
            <a:lvl1pPr>
              <a:defRPr sz="1200" cap="all" baseline="0">
                <a:latin typeface="Calibre Medium" panose="020B0603030202060203" pitchFamily="34" charset="0"/>
              </a:defRPr>
            </a:lvl1pPr>
          </a:lstStyle>
          <a:p>
            <a:pPr lvl="0"/>
            <a:r>
              <a:rPr lang="en-GB"/>
              <a:t>Company Name</a:t>
            </a:r>
          </a:p>
        </p:txBody>
      </p:sp>
      <p:sp>
        <p:nvSpPr>
          <p:cNvPr id="14" name="Year Placeholder 1">
            <a:extLst>
              <a:ext uri="{FF2B5EF4-FFF2-40B4-BE49-F238E27FC236}">
                <a16:creationId xmlns:a16="http://schemas.microsoft.com/office/drawing/2014/main" id="{5CBA7C2F-C8B3-40BF-A6ED-C34E99D68E3C}"/>
              </a:ext>
            </a:extLst>
          </p:cNvPr>
          <p:cNvSpPr>
            <a:spLocks noGrp="1"/>
          </p:cNvSpPr>
          <p:nvPr>
            <p:ph type="body" sz="quarter" idx="46" hasCustomPrompt="1"/>
          </p:nvPr>
        </p:nvSpPr>
        <p:spPr>
          <a:xfrm>
            <a:off x="5019675" y="1894272"/>
            <a:ext cx="504305" cy="195262"/>
          </a:xfrm>
        </p:spPr>
        <p:txBody>
          <a:bodyPr rIns="0" anchor="b" anchorCtr="0"/>
          <a:lstStyle>
            <a:lvl1pPr algn="r">
              <a:defRPr sz="1200" cap="all" baseline="0">
                <a:solidFill>
                  <a:srgbClr val="17E88F"/>
                </a:solidFill>
                <a:latin typeface="Calibre Medium" panose="020B0603030202060203" pitchFamily="34" charset="0"/>
              </a:defRPr>
            </a:lvl1pPr>
          </a:lstStyle>
          <a:p>
            <a:pPr lvl="0"/>
            <a:r>
              <a:rPr lang="en-GB"/>
              <a:t>Year</a:t>
            </a:r>
          </a:p>
        </p:txBody>
      </p:sp>
      <p:cxnSp>
        <p:nvCxnSpPr>
          <p:cNvPr id="13" name="Horizontal Line 1">
            <a:extLst>
              <a:ext uri="{FF2B5EF4-FFF2-40B4-BE49-F238E27FC236}">
                <a16:creationId xmlns:a16="http://schemas.microsoft.com/office/drawing/2014/main" id="{4E0CB380-3C75-4E34-B4FF-DA92053294B4}"/>
              </a:ext>
            </a:extLst>
          </p:cNvPr>
          <p:cNvCxnSpPr/>
          <p:nvPr userDrawn="1"/>
        </p:nvCxnSpPr>
        <p:spPr>
          <a:xfrm>
            <a:off x="502717" y="2128825"/>
            <a:ext cx="50297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Picture Placeholder 1">
            <a:extLst>
              <a:ext uri="{FF2B5EF4-FFF2-40B4-BE49-F238E27FC236}">
                <a16:creationId xmlns:a16="http://schemas.microsoft.com/office/drawing/2014/main" id="{7EEB3600-C258-49C2-A78D-AB51D32B0239}"/>
              </a:ext>
            </a:extLst>
          </p:cNvPr>
          <p:cNvSpPr>
            <a:spLocks noGrp="1"/>
          </p:cNvSpPr>
          <p:nvPr>
            <p:ph type="pic" sz="quarter" idx="42"/>
          </p:nvPr>
        </p:nvSpPr>
        <p:spPr>
          <a:xfrm>
            <a:off x="511175" y="2227263"/>
            <a:ext cx="2452688" cy="1773233"/>
          </a:xfrm>
          <a:solidFill>
            <a:srgbClr val="CBCDCB"/>
          </a:solidFill>
        </p:spPr>
        <p:txBody>
          <a:bodyPr rIns="0" anchor="ctr" anchorCtr="0"/>
          <a:lstStyle>
            <a:lvl1pPr algn="ctr">
              <a:defRPr/>
            </a:lvl1pPr>
          </a:lstStyle>
          <a:p>
            <a:r>
              <a:rPr lang="en-GB" dirty="0"/>
              <a:t>Click icon to add picture</a:t>
            </a:r>
          </a:p>
        </p:txBody>
      </p:sp>
      <p:sp>
        <p:nvSpPr>
          <p:cNvPr id="17" name="Table Placeholder 1">
            <a:extLst>
              <a:ext uri="{FF2B5EF4-FFF2-40B4-BE49-F238E27FC236}">
                <a16:creationId xmlns:a16="http://schemas.microsoft.com/office/drawing/2014/main" id="{5EB9FE5C-2D7F-45C1-890E-B58D8F268B6C}"/>
              </a:ext>
            </a:extLst>
          </p:cNvPr>
          <p:cNvSpPr>
            <a:spLocks noGrp="1"/>
          </p:cNvSpPr>
          <p:nvPr>
            <p:ph type="tbl" sz="quarter" idx="47" hasCustomPrompt="1"/>
          </p:nvPr>
        </p:nvSpPr>
        <p:spPr>
          <a:xfrm>
            <a:off x="3081846" y="2227264"/>
            <a:ext cx="2450592" cy="1773034"/>
          </a:xfrm>
        </p:spPr>
        <p:txBody>
          <a:bodyPr rIns="0" anchor="ctr" anchorCtr="0"/>
          <a:lstStyle>
            <a:lvl1pPr algn="ctr">
              <a:defRPr/>
            </a:lvl1pPr>
            <a:lvl2pPr algn="ctr">
              <a:defRPr sz="1200"/>
            </a:lvl2pPr>
          </a:lstStyle>
          <a:p>
            <a:r>
              <a:rPr lang="en-GB" dirty="0"/>
              <a:t>Click icon</a:t>
            </a:r>
            <a:br>
              <a:rPr lang="en-GB" dirty="0"/>
            </a:br>
            <a:r>
              <a:rPr lang="en-GB" dirty="0"/>
              <a:t>to insert table</a:t>
            </a:r>
            <a:br>
              <a:rPr lang="en-GB" dirty="0"/>
            </a:br>
            <a:r>
              <a:rPr lang="en-GB" dirty="0"/>
              <a:t>2 columns x 6 rows</a:t>
            </a:r>
          </a:p>
        </p:txBody>
      </p:sp>
      <p:sp>
        <p:nvSpPr>
          <p:cNvPr id="19" name="Co. Name Placeholder 2">
            <a:extLst>
              <a:ext uri="{FF2B5EF4-FFF2-40B4-BE49-F238E27FC236}">
                <a16:creationId xmlns:a16="http://schemas.microsoft.com/office/drawing/2014/main" id="{4CC0E765-7BE1-4C6B-A85C-9E3C78817695}"/>
              </a:ext>
            </a:extLst>
          </p:cNvPr>
          <p:cNvSpPr>
            <a:spLocks noGrp="1"/>
          </p:cNvSpPr>
          <p:nvPr>
            <p:ph type="body" sz="quarter" idx="48" hasCustomPrompt="1"/>
          </p:nvPr>
        </p:nvSpPr>
        <p:spPr>
          <a:xfrm>
            <a:off x="503238" y="4297746"/>
            <a:ext cx="4516437" cy="195262"/>
          </a:xfrm>
        </p:spPr>
        <p:txBody>
          <a:bodyPr rIns="0" anchor="b" anchorCtr="0"/>
          <a:lstStyle>
            <a:lvl1pPr>
              <a:defRPr sz="1200" cap="all" baseline="0">
                <a:latin typeface="Calibre Medium" panose="020B0603030202060203" pitchFamily="34" charset="0"/>
              </a:defRPr>
            </a:lvl1pPr>
          </a:lstStyle>
          <a:p>
            <a:pPr lvl="0"/>
            <a:r>
              <a:rPr lang="en-GB"/>
              <a:t>Company Name</a:t>
            </a:r>
          </a:p>
        </p:txBody>
      </p:sp>
      <p:sp>
        <p:nvSpPr>
          <p:cNvPr id="20" name="Year Placeholder 2">
            <a:extLst>
              <a:ext uri="{FF2B5EF4-FFF2-40B4-BE49-F238E27FC236}">
                <a16:creationId xmlns:a16="http://schemas.microsoft.com/office/drawing/2014/main" id="{504DB5A4-AAD4-4484-9459-60479988E2FF}"/>
              </a:ext>
            </a:extLst>
          </p:cNvPr>
          <p:cNvSpPr>
            <a:spLocks noGrp="1"/>
          </p:cNvSpPr>
          <p:nvPr>
            <p:ph type="body" sz="quarter" idx="49" hasCustomPrompt="1"/>
          </p:nvPr>
        </p:nvSpPr>
        <p:spPr>
          <a:xfrm>
            <a:off x="5019675" y="4297746"/>
            <a:ext cx="504305" cy="195262"/>
          </a:xfrm>
        </p:spPr>
        <p:txBody>
          <a:bodyPr rIns="0" anchor="b" anchorCtr="0"/>
          <a:lstStyle>
            <a:lvl1pPr algn="r">
              <a:defRPr sz="1200" cap="all" baseline="0">
                <a:solidFill>
                  <a:srgbClr val="17E88F"/>
                </a:solidFill>
                <a:latin typeface="Calibre Medium" panose="020B0603030202060203" pitchFamily="34" charset="0"/>
              </a:defRPr>
            </a:lvl1pPr>
          </a:lstStyle>
          <a:p>
            <a:pPr lvl="0"/>
            <a:r>
              <a:rPr lang="en-GB"/>
              <a:t>Year</a:t>
            </a:r>
          </a:p>
        </p:txBody>
      </p:sp>
      <p:cxnSp>
        <p:nvCxnSpPr>
          <p:cNvPr id="27" name="Horizontal Line 2">
            <a:extLst>
              <a:ext uri="{FF2B5EF4-FFF2-40B4-BE49-F238E27FC236}">
                <a16:creationId xmlns:a16="http://schemas.microsoft.com/office/drawing/2014/main" id="{5791BDAE-CBC0-423D-8BC1-D5A18BA09A97}"/>
              </a:ext>
            </a:extLst>
          </p:cNvPr>
          <p:cNvCxnSpPr/>
          <p:nvPr userDrawn="1"/>
        </p:nvCxnSpPr>
        <p:spPr>
          <a:xfrm>
            <a:off x="502717" y="4532299"/>
            <a:ext cx="50297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Picture Placeholder 2">
            <a:extLst>
              <a:ext uri="{FF2B5EF4-FFF2-40B4-BE49-F238E27FC236}">
                <a16:creationId xmlns:a16="http://schemas.microsoft.com/office/drawing/2014/main" id="{0D9309F7-52A6-4F04-9120-F267FA588179}"/>
              </a:ext>
            </a:extLst>
          </p:cNvPr>
          <p:cNvSpPr>
            <a:spLocks noGrp="1"/>
          </p:cNvSpPr>
          <p:nvPr>
            <p:ph type="pic" sz="quarter" idx="50"/>
          </p:nvPr>
        </p:nvSpPr>
        <p:spPr>
          <a:xfrm>
            <a:off x="511175" y="4630737"/>
            <a:ext cx="2452688" cy="1773233"/>
          </a:xfrm>
          <a:solidFill>
            <a:srgbClr val="CBCDCB"/>
          </a:solidFill>
        </p:spPr>
        <p:txBody>
          <a:bodyPr rIns="0" anchor="ctr" anchorCtr="0"/>
          <a:lstStyle>
            <a:lvl1pPr algn="ctr">
              <a:defRPr/>
            </a:lvl1pPr>
          </a:lstStyle>
          <a:p>
            <a:r>
              <a:rPr lang="en-GB" dirty="0"/>
              <a:t>Click icon to add picture</a:t>
            </a:r>
          </a:p>
        </p:txBody>
      </p:sp>
      <p:sp>
        <p:nvSpPr>
          <p:cNvPr id="29" name="Table Placeholder 2">
            <a:extLst>
              <a:ext uri="{FF2B5EF4-FFF2-40B4-BE49-F238E27FC236}">
                <a16:creationId xmlns:a16="http://schemas.microsoft.com/office/drawing/2014/main" id="{7591982B-5DDF-4864-B801-20717B21EF9E}"/>
              </a:ext>
            </a:extLst>
          </p:cNvPr>
          <p:cNvSpPr>
            <a:spLocks noGrp="1"/>
          </p:cNvSpPr>
          <p:nvPr>
            <p:ph type="tbl" sz="quarter" idx="51" hasCustomPrompt="1"/>
          </p:nvPr>
        </p:nvSpPr>
        <p:spPr>
          <a:xfrm>
            <a:off x="3081846" y="4630738"/>
            <a:ext cx="2450592" cy="1773034"/>
          </a:xfrm>
        </p:spPr>
        <p:txBody>
          <a:bodyPr rIns="0" anchor="ctr" anchorCtr="0"/>
          <a:lstStyle>
            <a:lvl1pPr algn="ctr">
              <a:defRPr/>
            </a:lvl1pPr>
            <a:lvl2pPr algn="ctr">
              <a:defRPr sz="1200"/>
            </a:lvl2pPr>
          </a:lstStyle>
          <a:p>
            <a:r>
              <a:rPr lang="en-GB" dirty="0"/>
              <a:t>Click icon</a:t>
            </a:r>
            <a:br>
              <a:rPr lang="en-GB" dirty="0"/>
            </a:br>
            <a:r>
              <a:rPr lang="en-GB" dirty="0"/>
              <a:t>to insert table</a:t>
            </a:r>
            <a:br>
              <a:rPr lang="en-GB" dirty="0"/>
            </a:br>
            <a:r>
              <a:rPr lang="en-GB" dirty="0"/>
              <a:t>2 columns x 6 rows</a:t>
            </a:r>
          </a:p>
        </p:txBody>
      </p:sp>
      <p:sp>
        <p:nvSpPr>
          <p:cNvPr id="30" name="Sector Asset Placeholder Right">
            <a:extLst>
              <a:ext uri="{FF2B5EF4-FFF2-40B4-BE49-F238E27FC236}">
                <a16:creationId xmlns:a16="http://schemas.microsoft.com/office/drawing/2014/main" id="{D819F0FA-C893-42D1-B3CF-58FF8CF6C104}"/>
              </a:ext>
            </a:extLst>
          </p:cNvPr>
          <p:cNvSpPr>
            <a:spLocks noGrp="1"/>
          </p:cNvSpPr>
          <p:nvPr>
            <p:ph sz="quarter" idx="52" hasCustomPrompt="1"/>
          </p:nvPr>
        </p:nvSpPr>
        <p:spPr>
          <a:xfrm>
            <a:off x="6657975" y="1292229"/>
            <a:ext cx="5021263" cy="566122"/>
          </a:xfrm>
        </p:spPr>
        <p:txBody>
          <a:bodyPr anchor="b" anchorCtr="0"/>
          <a:lstStyle>
            <a:lvl1pPr>
              <a:defRPr>
                <a:solidFill>
                  <a:srgbClr val="96B3B6"/>
                </a:solidFill>
              </a:defRPr>
            </a:lvl1pPr>
          </a:lstStyle>
          <a:p>
            <a:pPr lvl="0"/>
            <a:r>
              <a:rPr lang="en-GB"/>
              <a:t>Sector or Asset Type</a:t>
            </a:r>
          </a:p>
        </p:txBody>
      </p:sp>
      <p:sp>
        <p:nvSpPr>
          <p:cNvPr id="31" name="Co. Name Placeholder 3">
            <a:extLst>
              <a:ext uri="{FF2B5EF4-FFF2-40B4-BE49-F238E27FC236}">
                <a16:creationId xmlns:a16="http://schemas.microsoft.com/office/drawing/2014/main" id="{E7031D90-1512-4FAE-BCBE-E4B943472794}"/>
              </a:ext>
            </a:extLst>
          </p:cNvPr>
          <p:cNvSpPr>
            <a:spLocks noGrp="1"/>
          </p:cNvSpPr>
          <p:nvPr>
            <p:ph type="body" sz="quarter" idx="53" hasCustomPrompt="1"/>
          </p:nvPr>
        </p:nvSpPr>
        <p:spPr>
          <a:xfrm>
            <a:off x="6650038" y="1894272"/>
            <a:ext cx="4516437" cy="195262"/>
          </a:xfrm>
        </p:spPr>
        <p:txBody>
          <a:bodyPr rIns="0" anchor="b" anchorCtr="0"/>
          <a:lstStyle>
            <a:lvl1pPr>
              <a:defRPr sz="1200" cap="all" baseline="0">
                <a:latin typeface="Calibre Medium" panose="020B0603030202060203" pitchFamily="34" charset="0"/>
              </a:defRPr>
            </a:lvl1pPr>
          </a:lstStyle>
          <a:p>
            <a:pPr lvl="0"/>
            <a:r>
              <a:rPr lang="en-GB"/>
              <a:t>Company Name</a:t>
            </a:r>
          </a:p>
        </p:txBody>
      </p:sp>
      <p:sp>
        <p:nvSpPr>
          <p:cNvPr id="32" name="Year Placeholder 3">
            <a:extLst>
              <a:ext uri="{FF2B5EF4-FFF2-40B4-BE49-F238E27FC236}">
                <a16:creationId xmlns:a16="http://schemas.microsoft.com/office/drawing/2014/main" id="{2CBC58A0-C53F-4B2F-BCDC-0F3B44254595}"/>
              </a:ext>
            </a:extLst>
          </p:cNvPr>
          <p:cNvSpPr>
            <a:spLocks noGrp="1"/>
          </p:cNvSpPr>
          <p:nvPr>
            <p:ph type="body" sz="quarter" idx="54" hasCustomPrompt="1"/>
          </p:nvPr>
        </p:nvSpPr>
        <p:spPr>
          <a:xfrm>
            <a:off x="11166475" y="1894272"/>
            <a:ext cx="504305" cy="195262"/>
          </a:xfrm>
        </p:spPr>
        <p:txBody>
          <a:bodyPr rIns="0" anchor="b" anchorCtr="0"/>
          <a:lstStyle>
            <a:lvl1pPr algn="r">
              <a:defRPr sz="1200" cap="all" baseline="0">
                <a:solidFill>
                  <a:srgbClr val="17E88F"/>
                </a:solidFill>
                <a:latin typeface="Calibre Medium" panose="020B0603030202060203" pitchFamily="34" charset="0"/>
              </a:defRPr>
            </a:lvl1pPr>
          </a:lstStyle>
          <a:p>
            <a:pPr lvl="0"/>
            <a:r>
              <a:rPr lang="en-GB"/>
              <a:t>Year</a:t>
            </a:r>
          </a:p>
        </p:txBody>
      </p:sp>
      <p:cxnSp>
        <p:nvCxnSpPr>
          <p:cNvPr id="33" name="Horizontal Line 3">
            <a:extLst>
              <a:ext uri="{FF2B5EF4-FFF2-40B4-BE49-F238E27FC236}">
                <a16:creationId xmlns:a16="http://schemas.microsoft.com/office/drawing/2014/main" id="{54BC91F1-FB72-4232-8994-A5ABAC62D7B1}"/>
              </a:ext>
            </a:extLst>
          </p:cNvPr>
          <p:cNvCxnSpPr/>
          <p:nvPr userDrawn="1"/>
        </p:nvCxnSpPr>
        <p:spPr>
          <a:xfrm>
            <a:off x="6649517" y="2128825"/>
            <a:ext cx="50297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Picture Placeholder 3">
            <a:extLst>
              <a:ext uri="{FF2B5EF4-FFF2-40B4-BE49-F238E27FC236}">
                <a16:creationId xmlns:a16="http://schemas.microsoft.com/office/drawing/2014/main" id="{B6C4D19D-F5BA-4B2D-B6B4-8A75208F6B02}"/>
              </a:ext>
            </a:extLst>
          </p:cNvPr>
          <p:cNvSpPr>
            <a:spLocks noGrp="1"/>
          </p:cNvSpPr>
          <p:nvPr>
            <p:ph type="pic" sz="quarter" idx="55"/>
          </p:nvPr>
        </p:nvSpPr>
        <p:spPr>
          <a:xfrm>
            <a:off x="6657975" y="2227263"/>
            <a:ext cx="2452688" cy="1773233"/>
          </a:xfrm>
          <a:solidFill>
            <a:srgbClr val="CBCDCB"/>
          </a:solidFill>
        </p:spPr>
        <p:txBody>
          <a:bodyPr rIns="0" anchor="ctr" anchorCtr="0"/>
          <a:lstStyle>
            <a:lvl1pPr algn="ctr">
              <a:defRPr/>
            </a:lvl1pPr>
          </a:lstStyle>
          <a:p>
            <a:r>
              <a:rPr lang="en-GB" dirty="0"/>
              <a:t>Click icon to add picture</a:t>
            </a:r>
          </a:p>
        </p:txBody>
      </p:sp>
      <p:sp>
        <p:nvSpPr>
          <p:cNvPr id="35" name="Table Placeholder 3">
            <a:extLst>
              <a:ext uri="{FF2B5EF4-FFF2-40B4-BE49-F238E27FC236}">
                <a16:creationId xmlns:a16="http://schemas.microsoft.com/office/drawing/2014/main" id="{358FF565-D88B-45D6-A97A-40C6EE7CD186}"/>
              </a:ext>
            </a:extLst>
          </p:cNvPr>
          <p:cNvSpPr>
            <a:spLocks noGrp="1"/>
          </p:cNvSpPr>
          <p:nvPr>
            <p:ph type="tbl" sz="quarter" idx="56" hasCustomPrompt="1"/>
          </p:nvPr>
        </p:nvSpPr>
        <p:spPr>
          <a:xfrm>
            <a:off x="9228646" y="2227264"/>
            <a:ext cx="2450592" cy="1773034"/>
          </a:xfrm>
        </p:spPr>
        <p:txBody>
          <a:bodyPr rIns="0" anchor="ctr" anchorCtr="0"/>
          <a:lstStyle>
            <a:lvl1pPr algn="ctr">
              <a:defRPr/>
            </a:lvl1pPr>
            <a:lvl2pPr algn="ctr">
              <a:defRPr sz="1200"/>
            </a:lvl2pPr>
          </a:lstStyle>
          <a:p>
            <a:r>
              <a:rPr lang="en-GB" dirty="0"/>
              <a:t>Click icon</a:t>
            </a:r>
            <a:br>
              <a:rPr lang="en-GB" dirty="0"/>
            </a:br>
            <a:r>
              <a:rPr lang="en-GB" dirty="0"/>
              <a:t>to insert table</a:t>
            </a:r>
            <a:br>
              <a:rPr lang="en-GB" dirty="0"/>
            </a:br>
            <a:r>
              <a:rPr lang="en-GB" dirty="0"/>
              <a:t>2 columns x 6 rows</a:t>
            </a:r>
          </a:p>
        </p:txBody>
      </p:sp>
      <p:sp>
        <p:nvSpPr>
          <p:cNvPr id="36" name="Co. Name Placeholder 4">
            <a:extLst>
              <a:ext uri="{FF2B5EF4-FFF2-40B4-BE49-F238E27FC236}">
                <a16:creationId xmlns:a16="http://schemas.microsoft.com/office/drawing/2014/main" id="{3F17F86A-36FD-48D5-80AE-920B4EEF744A}"/>
              </a:ext>
            </a:extLst>
          </p:cNvPr>
          <p:cNvSpPr>
            <a:spLocks noGrp="1"/>
          </p:cNvSpPr>
          <p:nvPr>
            <p:ph type="body" sz="quarter" idx="57" hasCustomPrompt="1"/>
          </p:nvPr>
        </p:nvSpPr>
        <p:spPr>
          <a:xfrm>
            <a:off x="6650038" y="4297746"/>
            <a:ext cx="4516437" cy="195262"/>
          </a:xfrm>
        </p:spPr>
        <p:txBody>
          <a:bodyPr rIns="0" anchor="b" anchorCtr="0"/>
          <a:lstStyle>
            <a:lvl1pPr>
              <a:defRPr sz="1200" cap="all" baseline="0">
                <a:latin typeface="Calibre Medium" panose="020B0603030202060203" pitchFamily="34" charset="0"/>
              </a:defRPr>
            </a:lvl1pPr>
          </a:lstStyle>
          <a:p>
            <a:pPr lvl="0"/>
            <a:r>
              <a:rPr lang="en-GB"/>
              <a:t>Company Name</a:t>
            </a:r>
          </a:p>
        </p:txBody>
      </p:sp>
      <p:sp>
        <p:nvSpPr>
          <p:cNvPr id="37" name="Year Placeholder 4">
            <a:extLst>
              <a:ext uri="{FF2B5EF4-FFF2-40B4-BE49-F238E27FC236}">
                <a16:creationId xmlns:a16="http://schemas.microsoft.com/office/drawing/2014/main" id="{592051E0-EF41-4E93-AA7A-CD4CEFC9D5B6}"/>
              </a:ext>
            </a:extLst>
          </p:cNvPr>
          <p:cNvSpPr>
            <a:spLocks noGrp="1"/>
          </p:cNvSpPr>
          <p:nvPr>
            <p:ph type="body" sz="quarter" idx="58" hasCustomPrompt="1"/>
          </p:nvPr>
        </p:nvSpPr>
        <p:spPr>
          <a:xfrm>
            <a:off x="11166475" y="4297746"/>
            <a:ext cx="504305" cy="195262"/>
          </a:xfrm>
        </p:spPr>
        <p:txBody>
          <a:bodyPr rIns="0" anchor="b" anchorCtr="0"/>
          <a:lstStyle>
            <a:lvl1pPr algn="r">
              <a:defRPr sz="1200" cap="all" baseline="0">
                <a:solidFill>
                  <a:srgbClr val="17E88F"/>
                </a:solidFill>
                <a:latin typeface="Calibre Medium" panose="020B0603030202060203" pitchFamily="34" charset="0"/>
              </a:defRPr>
            </a:lvl1pPr>
          </a:lstStyle>
          <a:p>
            <a:pPr lvl="0"/>
            <a:r>
              <a:rPr lang="en-GB"/>
              <a:t>Year</a:t>
            </a:r>
          </a:p>
        </p:txBody>
      </p:sp>
      <p:cxnSp>
        <p:nvCxnSpPr>
          <p:cNvPr id="38" name="Horizontal Line 4">
            <a:extLst>
              <a:ext uri="{FF2B5EF4-FFF2-40B4-BE49-F238E27FC236}">
                <a16:creationId xmlns:a16="http://schemas.microsoft.com/office/drawing/2014/main" id="{2C1672BB-1917-4F95-9308-10CAD1CC0F34}"/>
              </a:ext>
            </a:extLst>
          </p:cNvPr>
          <p:cNvCxnSpPr/>
          <p:nvPr userDrawn="1"/>
        </p:nvCxnSpPr>
        <p:spPr>
          <a:xfrm>
            <a:off x="6649517" y="4532299"/>
            <a:ext cx="50297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39" name="Picture Placeholder 4">
            <a:extLst>
              <a:ext uri="{FF2B5EF4-FFF2-40B4-BE49-F238E27FC236}">
                <a16:creationId xmlns:a16="http://schemas.microsoft.com/office/drawing/2014/main" id="{420667A6-1CA8-47BC-BD45-74C86B6A915F}"/>
              </a:ext>
            </a:extLst>
          </p:cNvPr>
          <p:cNvSpPr>
            <a:spLocks noGrp="1"/>
          </p:cNvSpPr>
          <p:nvPr>
            <p:ph type="pic" sz="quarter" idx="59"/>
          </p:nvPr>
        </p:nvSpPr>
        <p:spPr>
          <a:xfrm>
            <a:off x="6657975" y="4630737"/>
            <a:ext cx="2452688" cy="1773233"/>
          </a:xfrm>
          <a:solidFill>
            <a:srgbClr val="CBCDCB"/>
          </a:solidFill>
        </p:spPr>
        <p:txBody>
          <a:bodyPr rIns="0" anchor="ctr" anchorCtr="0"/>
          <a:lstStyle>
            <a:lvl1pPr algn="ctr">
              <a:defRPr/>
            </a:lvl1pPr>
          </a:lstStyle>
          <a:p>
            <a:r>
              <a:rPr lang="en-GB" dirty="0"/>
              <a:t>Click icon to add picture</a:t>
            </a:r>
          </a:p>
        </p:txBody>
      </p:sp>
      <p:sp>
        <p:nvSpPr>
          <p:cNvPr id="40" name="Table Placeholder 4">
            <a:extLst>
              <a:ext uri="{FF2B5EF4-FFF2-40B4-BE49-F238E27FC236}">
                <a16:creationId xmlns:a16="http://schemas.microsoft.com/office/drawing/2014/main" id="{177467AF-E654-466D-855B-46C749C92FDD}"/>
              </a:ext>
            </a:extLst>
          </p:cNvPr>
          <p:cNvSpPr>
            <a:spLocks noGrp="1"/>
          </p:cNvSpPr>
          <p:nvPr>
            <p:ph type="tbl" sz="quarter" idx="60" hasCustomPrompt="1"/>
          </p:nvPr>
        </p:nvSpPr>
        <p:spPr>
          <a:xfrm>
            <a:off x="9228646" y="4630738"/>
            <a:ext cx="2450592" cy="1773034"/>
          </a:xfrm>
        </p:spPr>
        <p:txBody>
          <a:bodyPr rIns="0" anchor="ctr" anchorCtr="0"/>
          <a:lstStyle>
            <a:lvl1pPr algn="ctr">
              <a:defRPr/>
            </a:lvl1pPr>
            <a:lvl2pPr algn="ctr">
              <a:defRPr sz="1200"/>
            </a:lvl2pPr>
          </a:lstStyle>
          <a:p>
            <a:r>
              <a:rPr lang="en-GB" dirty="0"/>
              <a:t>Click icon</a:t>
            </a:r>
            <a:br>
              <a:rPr lang="en-GB" dirty="0"/>
            </a:br>
            <a:r>
              <a:rPr lang="en-GB" dirty="0"/>
              <a:t>to insert table</a:t>
            </a:r>
            <a:br>
              <a:rPr lang="en-GB" dirty="0"/>
            </a:br>
            <a:r>
              <a:rPr lang="en-GB" dirty="0"/>
              <a:t>2 columns x 6 rows</a:t>
            </a:r>
          </a:p>
        </p:txBody>
      </p:sp>
    </p:spTree>
    <p:extLst>
      <p:ext uri="{BB962C8B-B14F-4D97-AF65-F5344CB8AC3E}">
        <p14:creationId xmlns:p14="http://schemas.microsoft.com/office/powerpoint/2010/main" val="179521031"/>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rack Record - 3up">
    <p:spTree>
      <p:nvGrpSpPr>
        <p:cNvPr id="1" name=""/>
        <p:cNvGrpSpPr/>
        <p:nvPr/>
      </p:nvGrpSpPr>
      <p:grpSpPr>
        <a:xfrm>
          <a:off x="0" y="0"/>
          <a:ext cx="0" cy="0"/>
          <a:chOff x="0" y="0"/>
          <a:chExt cx="0" cy="0"/>
        </a:xfrm>
      </p:grpSpPr>
      <p:cxnSp>
        <p:nvCxnSpPr>
          <p:cNvPr id="101" name="Nav Line of Sight">
            <a:extLst>
              <a:ext uri="{FF2B5EF4-FFF2-40B4-BE49-F238E27FC236}">
                <a16:creationId xmlns:a16="http://schemas.microsoft.com/office/drawing/2014/main" id="{4F7078D9-99A7-4F4B-A2AE-F455F56FB451}"/>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00" name="Navigation Header Placeholder">
            <a:extLst>
              <a:ext uri="{FF2B5EF4-FFF2-40B4-BE49-F238E27FC236}">
                <a16:creationId xmlns:a16="http://schemas.microsoft.com/office/drawing/2014/main" id="{676795B3-D4D7-4DD1-95C2-286A5F9D9236}"/>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GB"/>
              <a:t>Navigation Header</a:t>
            </a:r>
          </a:p>
        </p:txBody>
      </p:sp>
      <p:sp>
        <p:nvSpPr>
          <p:cNvPr id="4" name="Sector Asset Placeholder Left">
            <a:extLst>
              <a:ext uri="{FF2B5EF4-FFF2-40B4-BE49-F238E27FC236}">
                <a16:creationId xmlns:a16="http://schemas.microsoft.com/office/drawing/2014/main" id="{F1FAD510-C3A7-4BC0-86FD-34B90AED9906}"/>
              </a:ext>
            </a:extLst>
          </p:cNvPr>
          <p:cNvSpPr>
            <a:spLocks noGrp="1"/>
          </p:cNvSpPr>
          <p:nvPr>
            <p:ph sz="quarter" idx="44" hasCustomPrompt="1"/>
          </p:nvPr>
        </p:nvSpPr>
        <p:spPr>
          <a:xfrm>
            <a:off x="511175" y="1292229"/>
            <a:ext cx="5021263" cy="566122"/>
          </a:xfrm>
        </p:spPr>
        <p:txBody>
          <a:bodyPr anchor="b" anchorCtr="0"/>
          <a:lstStyle>
            <a:lvl1pPr>
              <a:defRPr>
                <a:solidFill>
                  <a:srgbClr val="96B3B6"/>
                </a:solidFill>
              </a:defRPr>
            </a:lvl1pPr>
          </a:lstStyle>
          <a:p>
            <a:pPr lvl="0"/>
            <a:r>
              <a:rPr lang="en-GB"/>
              <a:t>Sector or Asset Type</a:t>
            </a:r>
          </a:p>
        </p:txBody>
      </p:sp>
      <p:sp>
        <p:nvSpPr>
          <p:cNvPr id="18" name="Picture Placeholder 1">
            <a:extLst>
              <a:ext uri="{FF2B5EF4-FFF2-40B4-BE49-F238E27FC236}">
                <a16:creationId xmlns:a16="http://schemas.microsoft.com/office/drawing/2014/main" id="{7EEB3600-C258-49C2-A78D-AB51D32B0239}"/>
              </a:ext>
            </a:extLst>
          </p:cNvPr>
          <p:cNvSpPr>
            <a:spLocks noGrp="1"/>
          </p:cNvSpPr>
          <p:nvPr>
            <p:ph type="pic" sz="quarter" idx="42"/>
          </p:nvPr>
        </p:nvSpPr>
        <p:spPr>
          <a:xfrm>
            <a:off x="511174" y="2227263"/>
            <a:ext cx="3484563" cy="1773233"/>
          </a:xfrm>
          <a:solidFill>
            <a:srgbClr val="CBCDCB"/>
          </a:solidFill>
        </p:spPr>
        <p:txBody>
          <a:bodyPr rIns="0" anchor="ctr" anchorCtr="0"/>
          <a:lstStyle>
            <a:lvl1pPr algn="ctr">
              <a:defRPr/>
            </a:lvl1pPr>
          </a:lstStyle>
          <a:p>
            <a:r>
              <a:rPr lang="en-GB" dirty="0"/>
              <a:t>Click icon to add picture</a:t>
            </a:r>
          </a:p>
        </p:txBody>
      </p:sp>
      <p:sp>
        <p:nvSpPr>
          <p:cNvPr id="17" name="Table Placeholder 1">
            <a:extLst>
              <a:ext uri="{FF2B5EF4-FFF2-40B4-BE49-F238E27FC236}">
                <a16:creationId xmlns:a16="http://schemas.microsoft.com/office/drawing/2014/main" id="{5EB9FE5C-2D7F-45C1-890E-B58D8F268B6C}"/>
              </a:ext>
            </a:extLst>
          </p:cNvPr>
          <p:cNvSpPr>
            <a:spLocks noGrp="1"/>
          </p:cNvSpPr>
          <p:nvPr>
            <p:ph type="tbl" sz="quarter" idx="47" hasCustomPrompt="1"/>
          </p:nvPr>
        </p:nvSpPr>
        <p:spPr>
          <a:xfrm>
            <a:off x="511174" y="4000495"/>
            <a:ext cx="3484563" cy="1876427"/>
          </a:xfrm>
        </p:spPr>
        <p:txBody>
          <a:bodyPr rIns="0" anchor="ctr" anchorCtr="0"/>
          <a:lstStyle>
            <a:lvl1pPr algn="ctr">
              <a:defRPr/>
            </a:lvl1pPr>
            <a:lvl2pPr algn="ctr">
              <a:defRPr sz="1200"/>
            </a:lvl2pPr>
          </a:lstStyle>
          <a:p>
            <a:r>
              <a:rPr lang="en-GB" dirty="0"/>
              <a:t>Click icon to insert table</a:t>
            </a:r>
            <a:br>
              <a:rPr lang="en-GB" dirty="0"/>
            </a:br>
            <a:r>
              <a:rPr lang="en-GB" dirty="0"/>
              <a:t>2 columns x 6 rows</a:t>
            </a:r>
          </a:p>
        </p:txBody>
      </p:sp>
      <p:sp>
        <p:nvSpPr>
          <p:cNvPr id="41" name="Picture Placeholder 2">
            <a:extLst>
              <a:ext uri="{FF2B5EF4-FFF2-40B4-BE49-F238E27FC236}">
                <a16:creationId xmlns:a16="http://schemas.microsoft.com/office/drawing/2014/main" id="{D16FDEBB-CDB1-4A20-9F59-F349EEE1C516}"/>
              </a:ext>
            </a:extLst>
          </p:cNvPr>
          <p:cNvSpPr>
            <a:spLocks noGrp="1"/>
          </p:cNvSpPr>
          <p:nvPr>
            <p:ph type="pic" sz="quarter" idx="48"/>
          </p:nvPr>
        </p:nvSpPr>
        <p:spPr>
          <a:xfrm>
            <a:off x="4353718" y="2227263"/>
            <a:ext cx="3484563" cy="1773233"/>
          </a:xfrm>
          <a:solidFill>
            <a:srgbClr val="CBCDCB"/>
          </a:solidFill>
        </p:spPr>
        <p:txBody>
          <a:bodyPr rIns="0" anchor="ctr" anchorCtr="0"/>
          <a:lstStyle>
            <a:lvl1pPr algn="ctr">
              <a:defRPr/>
            </a:lvl1pPr>
          </a:lstStyle>
          <a:p>
            <a:r>
              <a:rPr lang="en-GB" dirty="0"/>
              <a:t>Click icon to add picture</a:t>
            </a:r>
          </a:p>
        </p:txBody>
      </p:sp>
      <p:sp>
        <p:nvSpPr>
          <p:cNvPr id="42" name="Table Placeholder 2">
            <a:extLst>
              <a:ext uri="{FF2B5EF4-FFF2-40B4-BE49-F238E27FC236}">
                <a16:creationId xmlns:a16="http://schemas.microsoft.com/office/drawing/2014/main" id="{0A45C0B8-0909-4C05-9842-8CFC1E65CA6E}"/>
              </a:ext>
            </a:extLst>
          </p:cNvPr>
          <p:cNvSpPr>
            <a:spLocks noGrp="1"/>
          </p:cNvSpPr>
          <p:nvPr>
            <p:ph type="tbl" sz="quarter" idx="49" hasCustomPrompt="1"/>
          </p:nvPr>
        </p:nvSpPr>
        <p:spPr>
          <a:xfrm>
            <a:off x="4353718" y="4000495"/>
            <a:ext cx="3484563" cy="1876427"/>
          </a:xfrm>
        </p:spPr>
        <p:txBody>
          <a:bodyPr rIns="0" anchor="ctr" anchorCtr="0"/>
          <a:lstStyle>
            <a:lvl1pPr algn="ctr">
              <a:defRPr/>
            </a:lvl1pPr>
            <a:lvl2pPr algn="ctr">
              <a:defRPr sz="1200"/>
            </a:lvl2pPr>
          </a:lstStyle>
          <a:p>
            <a:r>
              <a:rPr lang="en-GB" dirty="0"/>
              <a:t>Click icon to insert table</a:t>
            </a:r>
            <a:br>
              <a:rPr lang="en-GB" dirty="0"/>
            </a:br>
            <a:r>
              <a:rPr lang="en-GB" dirty="0"/>
              <a:t>2 columns x 6 rows</a:t>
            </a:r>
          </a:p>
        </p:txBody>
      </p:sp>
      <p:sp>
        <p:nvSpPr>
          <p:cNvPr id="43" name="Picture Placeholder 3">
            <a:extLst>
              <a:ext uri="{FF2B5EF4-FFF2-40B4-BE49-F238E27FC236}">
                <a16:creationId xmlns:a16="http://schemas.microsoft.com/office/drawing/2014/main" id="{D0DCD58F-F3C7-4E2F-9EDE-21383ECB9ECB}"/>
              </a:ext>
            </a:extLst>
          </p:cNvPr>
          <p:cNvSpPr>
            <a:spLocks noGrp="1"/>
          </p:cNvSpPr>
          <p:nvPr>
            <p:ph type="pic" sz="quarter" idx="50"/>
          </p:nvPr>
        </p:nvSpPr>
        <p:spPr>
          <a:xfrm>
            <a:off x="8194675" y="2227263"/>
            <a:ext cx="3484563" cy="1773233"/>
          </a:xfrm>
          <a:solidFill>
            <a:srgbClr val="CBCDCB"/>
          </a:solidFill>
        </p:spPr>
        <p:txBody>
          <a:bodyPr rIns="0" anchor="ctr" anchorCtr="0"/>
          <a:lstStyle>
            <a:lvl1pPr algn="ctr">
              <a:defRPr/>
            </a:lvl1pPr>
          </a:lstStyle>
          <a:p>
            <a:r>
              <a:rPr lang="en-GB" dirty="0"/>
              <a:t>Click icon to add picture</a:t>
            </a:r>
          </a:p>
        </p:txBody>
      </p:sp>
      <p:sp>
        <p:nvSpPr>
          <p:cNvPr id="44" name="Table Placeholder 3">
            <a:extLst>
              <a:ext uri="{FF2B5EF4-FFF2-40B4-BE49-F238E27FC236}">
                <a16:creationId xmlns:a16="http://schemas.microsoft.com/office/drawing/2014/main" id="{C96A6F0A-397E-4C72-B34E-F20C5738B130}"/>
              </a:ext>
            </a:extLst>
          </p:cNvPr>
          <p:cNvSpPr>
            <a:spLocks noGrp="1"/>
          </p:cNvSpPr>
          <p:nvPr>
            <p:ph type="tbl" sz="quarter" idx="51" hasCustomPrompt="1"/>
          </p:nvPr>
        </p:nvSpPr>
        <p:spPr>
          <a:xfrm>
            <a:off x="8194675" y="4000495"/>
            <a:ext cx="3484563" cy="1876427"/>
          </a:xfrm>
        </p:spPr>
        <p:txBody>
          <a:bodyPr rIns="0" anchor="ctr" anchorCtr="0"/>
          <a:lstStyle>
            <a:lvl1pPr algn="ctr">
              <a:defRPr/>
            </a:lvl1pPr>
            <a:lvl2pPr algn="ctr">
              <a:defRPr sz="1200"/>
            </a:lvl2pPr>
          </a:lstStyle>
          <a:p>
            <a:r>
              <a:rPr lang="en-GB" dirty="0"/>
              <a:t>Click icon to insert table</a:t>
            </a:r>
            <a:br>
              <a:rPr lang="en-GB" dirty="0"/>
            </a:br>
            <a:r>
              <a:rPr lang="en-GB" dirty="0"/>
              <a:t>2 columns x 6 rows</a:t>
            </a:r>
          </a:p>
        </p:txBody>
      </p:sp>
    </p:spTree>
    <p:extLst>
      <p:ext uri="{BB962C8B-B14F-4D97-AF65-F5344CB8AC3E}">
        <p14:creationId xmlns:p14="http://schemas.microsoft.com/office/powerpoint/2010/main" val="1966196991"/>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rack Record - 4up Option 2">
    <p:spTree>
      <p:nvGrpSpPr>
        <p:cNvPr id="1" name=""/>
        <p:cNvGrpSpPr/>
        <p:nvPr/>
      </p:nvGrpSpPr>
      <p:grpSpPr>
        <a:xfrm>
          <a:off x="0" y="0"/>
          <a:ext cx="0" cy="0"/>
          <a:chOff x="0" y="0"/>
          <a:chExt cx="0" cy="0"/>
        </a:xfrm>
      </p:grpSpPr>
      <p:cxnSp>
        <p:nvCxnSpPr>
          <p:cNvPr id="101" name="Nav Line of Sight">
            <a:extLst>
              <a:ext uri="{FF2B5EF4-FFF2-40B4-BE49-F238E27FC236}">
                <a16:creationId xmlns:a16="http://schemas.microsoft.com/office/drawing/2014/main" id="{4F7078D9-99A7-4F4B-A2AE-F455F56FB451}"/>
              </a:ext>
            </a:extLst>
          </p:cNvPr>
          <p:cNvCxnSpPr>
            <a:cxnSpLocks/>
          </p:cNvCxnSpPr>
          <p:nvPr/>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100" name="Navigation Header Placeholder">
            <a:extLst>
              <a:ext uri="{FF2B5EF4-FFF2-40B4-BE49-F238E27FC236}">
                <a16:creationId xmlns:a16="http://schemas.microsoft.com/office/drawing/2014/main" id="{676795B3-D4D7-4DD1-95C2-286A5F9D9236}"/>
              </a:ext>
            </a:extLst>
          </p:cNvPr>
          <p:cNvSpPr>
            <a:spLocks noGrp="1"/>
          </p:cNvSpPr>
          <p:nvPr>
            <p:ph type="body" sz="quarter" idx="43" hasCustomPrompt="1"/>
          </p:nvPr>
        </p:nvSpPr>
        <p:spPr>
          <a:xfrm>
            <a:off x="1536700" y="957804"/>
            <a:ext cx="1936750" cy="182683"/>
          </a:xfrm>
        </p:spPr>
        <p:txBody>
          <a:bodyPr rIns="0"/>
          <a:lstStyle>
            <a:lvl1pPr>
              <a:lnSpc>
                <a:spcPct val="90000"/>
              </a:lnSpc>
              <a:spcBef>
                <a:spcPts val="0"/>
              </a:spcBef>
              <a:spcAft>
                <a:spcPts val="0"/>
              </a:spcAft>
              <a:defRPr sz="1050" cap="all" baseline="0">
                <a:latin typeface="Calibre Medium" panose="020B0603030202060203" pitchFamily="34" charset="0"/>
              </a:defRPr>
            </a:lvl1pPr>
          </a:lstStyle>
          <a:p>
            <a:pPr lvl="0"/>
            <a:r>
              <a:rPr lang="en-GB"/>
              <a:t>Navigation Header</a:t>
            </a:r>
          </a:p>
        </p:txBody>
      </p:sp>
      <p:sp>
        <p:nvSpPr>
          <p:cNvPr id="4" name="Sector Asset Placeholder Left">
            <a:extLst>
              <a:ext uri="{FF2B5EF4-FFF2-40B4-BE49-F238E27FC236}">
                <a16:creationId xmlns:a16="http://schemas.microsoft.com/office/drawing/2014/main" id="{F1FAD510-C3A7-4BC0-86FD-34B90AED9906}"/>
              </a:ext>
            </a:extLst>
          </p:cNvPr>
          <p:cNvSpPr>
            <a:spLocks noGrp="1"/>
          </p:cNvSpPr>
          <p:nvPr>
            <p:ph sz="quarter" idx="44" hasCustomPrompt="1"/>
          </p:nvPr>
        </p:nvSpPr>
        <p:spPr>
          <a:xfrm>
            <a:off x="511175" y="1292229"/>
            <a:ext cx="5021263" cy="566122"/>
          </a:xfrm>
        </p:spPr>
        <p:txBody>
          <a:bodyPr anchor="b" anchorCtr="0"/>
          <a:lstStyle>
            <a:lvl1pPr>
              <a:defRPr>
                <a:solidFill>
                  <a:srgbClr val="96B3B6"/>
                </a:solidFill>
              </a:defRPr>
            </a:lvl1pPr>
          </a:lstStyle>
          <a:p>
            <a:pPr lvl="0"/>
            <a:r>
              <a:rPr lang="en-GB"/>
              <a:t>Sector or Asset Type</a:t>
            </a:r>
          </a:p>
        </p:txBody>
      </p:sp>
      <p:sp>
        <p:nvSpPr>
          <p:cNvPr id="18" name="Picture Placeholder 1">
            <a:extLst>
              <a:ext uri="{FF2B5EF4-FFF2-40B4-BE49-F238E27FC236}">
                <a16:creationId xmlns:a16="http://schemas.microsoft.com/office/drawing/2014/main" id="{7EEB3600-C258-49C2-A78D-AB51D32B0239}"/>
              </a:ext>
            </a:extLst>
          </p:cNvPr>
          <p:cNvSpPr>
            <a:spLocks noGrp="1"/>
          </p:cNvSpPr>
          <p:nvPr>
            <p:ph type="pic" sz="quarter" idx="42"/>
          </p:nvPr>
        </p:nvSpPr>
        <p:spPr>
          <a:xfrm>
            <a:off x="511175" y="2139717"/>
            <a:ext cx="2452688" cy="1965960"/>
          </a:xfrm>
          <a:solidFill>
            <a:srgbClr val="CBCDCB"/>
          </a:solidFill>
        </p:spPr>
        <p:txBody>
          <a:bodyPr rIns="0" anchor="ctr" anchorCtr="0"/>
          <a:lstStyle>
            <a:lvl1pPr algn="ctr">
              <a:defRPr/>
            </a:lvl1pPr>
          </a:lstStyle>
          <a:p>
            <a:r>
              <a:rPr lang="en-GB" dirty="0"/>
              <a:t>Click icon to add picture</a:t>
            </a:r>
          </a:p>
        </p:txBody>
      </p:sp>
      <p:sp>
        <p:nvSpPr>
          <p:cNvPr id="17" name="Table Placeholder 1">
            <a:extLst>
              <a:ext uri="{FF2B5EF4-FFF2-40B4-BE49-F238E27FC236}">
                <a16:creationId xmlns:a16="http://schemas.microsoft.com/office/drawing/2014/main" id="{5EB9FE5C-2D7F-45C1-890E-B58D8F268B6C}"/>
              </a:ext>
            </a:extLst>
          </p:cNvPr>
          <p:cNvSpPr>
            <a:spLocks noGrp="1"/>
          </p:cNvSpPr>
          <p:nvPr>
            <p:ph type="tbl" sz="quarter" idx="47" hasCustomPrompt="1"/>
          </p:nvPr>
        </p:nvSpPr>
        <p:spPr>
          <a:xfrm>
            <a:off x="2963863" y="2139718"/>
            <a:ext cx="3081337" cy="1965960"/>
          </a:xfrm>
        </p:spPr>
        <p:txBody>
          <a:bodyPr rIns="0" anchor="ctr" anchorCtr="0"/>
          <a:lstStyle>
            <a:lvl1pPr algn="ctr">
              <a:defRPr/>
            </a:lvl1pPr>
            <a:lvl2pPr algn="ctr">
              <a:defRPr sz="1200"/>
            </a:lvl2pPr>
          </a:lstStyle>
          <a:p>
            <a:r>
              <a:rPr lang="en-GB" dirty="0"/>
              <a:t>Click icon</a:t>
            </a:r>
            <a:br>
              <a:rPr lang="en-GB" dirty="0"/>
            </a:br>
            <a:r>
              <a:rPr lang="en-GB" dirty="0"/>
              <a:t>to insert table</a:t>
            </a:r>
            <a:br>
              <a:rPr lang="en-GB" dirty="0"/>
            </a:br>
            <a:r>
              <a:rPr lang="en-GB" dirty="0"/>
              <a:t>2 columns x 6 rows</a:t>
            </a:r>
          </a:p>
        </p:txBody>
      </p:sp>
      <p:sp>
        <p:nvSpPr>
          <p:cNvPr id="28" name="Picture Placeholder 2">
            <a:extLst>
              <a:ext uri="{FF2B5EF4-FFF2-40B4-BE49-F238E27FC236}">
                <a16:creationId xmlns:a16="http://schemas.microsoft.com/office/drawing/2014/main" id="{0D9309F7-52A6-4F04-9120-F267FA588179}"/>
              </a:ext>
            </a:extLst>
          </p:cNvPr>
          <p:cNvSpPr>
            <a:spLocks noGrp="1"/>
          </p:cNvSpPr>
          <p:nvPr>
            <p:ph type="pic" sz="quarter" idx="50"/>
          </p:nvPr>
        </p:nvSpPr>
        <p:spPr>
          <a:xfrm>
            <a:off x="511175" y="4438015"/>
            <a:ext cx="2452688" cy="1965960"/>
          </a:xfrm>
          <a:solidFill>
            <a:srgbClr val="CBCDCB"/>
          </a:solidFill>
        </p:spPr>
        <p:txBody>
          <a:bodyPr rIns="0" anchor="ctr" anchorCtr="0"/>
          <a:lstStyle>
            <a:lvl1pPr algn="ctr">
              <a:defRPr/>
            </a:lvl1pPr>
          </a:lstStyle>
          <a:p>
            <a:r>
              <a:rPr lang="en-GB" dirty="0"/>
              <a:t>Click icon to add picture</a:t>
            </a:r>
          </a:p>
        </p:txBody>
      </p:sp>
      <p:sp>
        <p:nvSpPr>
          <p:cNvPr id="29" name="Table Placeholder 2">
            <a:extLst>
              <a:ext uri="{FF2B5EF4-FFF2-40B4-BE49-F238E27FC236}">
                <a16:creationId xmlns:a16="http://schemas.microsoft.com/office/drawing/2014/main" id="{7591982B-5DDF-4864-B801-20717B21EF9E}"/>
              </a:ext>
            </a:extLst>
          </p:cNvPr>
          <p:cNvSpPr>
            <a:spLocks noGrp="1"/>
          </p:cNvSpPr>
          <p:nvPr>
            <p:ph type="tbl" sz="quarter" idx="51" hasCustomPrompt="1"/>
          </p:nvPr>
        </p:nvSpPr>
        <p:spPr>
          <a:xfrm>
            <a:off x="2963863" y="4438015"/>
            <a:ext cx="3081337" cy="1965960"/>
          </a:xfrm>
        </p:spPr>
        <p:txBody>
          <a:bodyPr rIns="0" anchor="ctr" anchorCtr="0"/>
          <a:lstStyle>
            <a:lvl1pPr algn="ctr">
              <a:defRPr/>
            </a:lvl1pPr>
            <a:lvl2pPr algn="ctr">
              <a:defRPr sz="1200"/>
            </a:lvl2pPr>
          </a:lstStyle>
          <a:p>
            <a:r>
              <a:rPr lang="en-GB" dirty="0"/>
              <a:t>Click icon</a:t>
            </a:r>
            <a:br>
              <a:rPr lang="en-GB" dirty="0"/>
            </a:br>
            <a:r>
              <a:rPr lang="en-GB" dirty="0"/>
              <a:t>to insert table</a:t>
            </a:r>
            <a:br>
              <a:rPr lang="en-GB" dirty="0"/>
            </a:br>
            <a:r>
              <a:rPr lang="en-GB" dirty="0"/>
              <a:t>2 columns x 6 rows</a:t>
            </a:r>
          </a:p>
        </p:txBody>
      </p:sp>
      <p:sp>
        <p:nvSpPr>
          <p:cNvPr id="34" name="Picture Placeholder 3">
            <a:extLst>
              <a:ext uri="{FF2B5EF4-FFF2-40B4-BE49-F238E27FC236}">
                <a16:creationId xmlns:a16="http://schemas.microsoft.com/office/drawing/2014/main" id="{B6C4D19D-F5BA-4B2D-B6B4-8A75208F6B02}"/>
              </a:ext>
            </a:extLst>
          </p:cNvPr>
          <p:cNvSpPr>
            <a:spLocks noGrp="1"/>
          </p:cNvSpPr>
          <p:nvPr>
            <p:ph type="pic" sz="quarter" idx="55"/>
          </p:nvPr>
        </p:nvSpPr>
        <p:spPr>
          <a:xfrm>
            <a:off x="6146764" y="2139717"/>
            <a:ext cx="2452688" cy="1965960"/>
          </a:xfrm>
          <a:solidFill>
            <a:srgbClr val="CBCDCB"/>
          </a:solidFill>
        </p:spPr>
        <p:txBody>
          <a:bodyPr rIns="0" anchor="ctr" anchorCtr="0"/>
          <a:lstStyle>
            <a:lvl1pPr algn="ctr">
              <a:defRPr/>
            </a:lvl1pPr>
          </a:lstStyle>
          <a:p>
            <a:r>
              <a:rPr lang="en-GB" dirty="0"/>
              <a:t>Click icon to add picture</a:t>
            </a:r>
          </a:p>
        </p:txBody>
      </p:sp>
      <p:sp>
        <p:nvSpPr>
          <p:cNvPr id="35" name="Table Placeholder 3">
            <a:extLst>
              <a:ext uri="{FF2B5EF4-FFF2-40B4-BE49-F238E27FC236}">
                <a16:creationId xmlns:a16="http://schemas.microsoft.com/office/drawing/2014/main" id="{358FF565-D88B-45D6-A97A-40C6EE7CD186}"/>
              </a:ext>
            </a:extLst>
          </p:cNvPr>
          <p:cNvSpPr>
            <a:spLocks noGrp="1"/>
          </p:cNvSpPr>
          <p:nvPr>
            <p:ph type="tbl" sz="quarter" idx="56" hasCustomPrompt="1"/>
          </p:nvPr>
        </p:nvSpPr>
        <p:spPr>
          <a:xfrm>
            <a:off x="8599452" y="2139718"/>
            <a:ext cx="3081528" cy="1965960"/>
          </a:xfrm>
        </p:spPr>
        <p:txBody>
          <a:bodyPr rIns="0" anchor="ctr" anchorCtr="0"/>
          <a:lstStyle>
            <a:lvl1pPr algn="ctr">
              <a:defRPr/>
            </a:lvl1pPr>
            <a:lvl2pPr algn="ctr">
              <a:defRPr sz="1200"/>
            </a:lvl2pPr>
          </a:lstStyle>
          <a:p>
            <a:r>
              <a:rPr lang="en-GB" dirty="0"/>
              <a:t>Click icon</a:t>
            </a:r>
            <a:br>
              <a:rPr lang="en-GB" dirty="0"/>
            </a:br>
            <a:r>
              <a:rPr lang="en-GB" dirty="0"/>
              <a:t>to insert table</a:t>
            </a:r>
            <a:br>
              <a:rPr lang="en-GB" dirty="0"/>
            </a:br>
            <a:r>
              <a:rPr lang="en-GB" dirty="0"/>
              <a:t>2 columns x 6 rows</a:t>
            </a:r>
          </a:p>
        </p:txBody>
      </p:sp>
      <p:sp>
        <p:nvSpPr>
          <p:cNvPr id="39" name="Picture Placeholder 4">
            <a:extLst>
              <a:ext uri="{FF2B5EF4-FFF2-40B4-BE49-F238E27FC236}">
                <a16:creationId xmlns:a16="http://schemas.microsoft.com/office/drawing/2014/main" id="{420667A6-1CA8-47BC-BD45-74C86B6A915F}"/>
              </a:ext>
            </a:extLst>
          </p:cNvPr>
          <p:cNvSpPr>
            <a:spLocks noGrp="1"/>
          </p:cNvSpPr>
          <p:nvPr>
            <p:ph type="pic" sz="quarter" idx="59"/>
          </p:nvPr>
        </p:nvSpPr>
        <p:spPr>
          <a:xfrm>
            <a:off x="6146764" y="4438015"/>
            <a:ext cx="2452688" cy="1965960"/>
          </a:xfrm>
          <a:solidFill>
            <a:srgbClr val="CBCDCB"/>
          </a:solidFill>
        </p:spPr>
        <p:txBody>
          <a:bodyPr rIns="0" anchor="ctr" anchorCtr="0"/>
          <a:lstStyle>
            <a:lvl1pPr algn="ctr">
              <a:defRPr/>
            </a:lvl1pPr>
          </a:lstStyle>
          <a:p>
            <a:r>
              <a:rPr lang="en-GB" dirty="0"/>
              <a:t>Click icon to add picture</a:t>
            </a:r>
          </a:p>
        </p:txBody>
      </p:sp>
      <p:sp>
        <p:nvSpPr>
          <p:cNvPr id="40" name="Table Placeholder 4">
            <a:extLst>
              <a:ext uri="{FF2B5EF4-FFF2-40B4-BE49-F238E27FC236}">
                <a16:creationId xmlns:a16="http://schemas.microsoft.com/office/drawing/2014/main" id="{177467AF-E654-466D-855B-46C749C92FDD}"/>
              </a:ext>
            </a:extLst>
          </p:cNvPr>
          <p:cNvSpPr>
            <a:spLocks noGrp="1"/>
          </p:cNvSpPr>
          <p:nvPr>
            <p:ph type="tbl" sz="quarter" idx="60" hasCustomPrompt="1"/>
          </p:nvPr>
        </p:nvSpPr>
        <p:spPr>
          <a:xfrm>
            <a:off x="8599452" y="4438015"/>
            <a:ext cx="3081528" cy="1965960"/>
          </a:xfrm>
        </p:spPr>
        <p:txBody>
          <a:bodyPr rIns="0" anchor="ctr" anchorCtr="0"/>
          <a:lstStyle>
            <a:lvl1pPr algn="ctr">
              <a:defRPr/>
            </a:lvl1pPr>
            <a:lvl2pPr algn="ctr">
              <a:defRPr sz="1200"/>
            </a:lvl2pPr>
          </a:lstStyle>
          <a:p>
            <a:r>
              <a:rPr lang="en-GB" dirty="0"/>
              <a:t>Click icon</a:t>
            </a:r>
            <a:br>
              <a:rPr lang="en-GB" dirty="0"/>
            </a:br>
            <a:r>
              <a:rPr lang="en-GB" dirty="0"/>
              <a:t>to insert table</a:t>
            </a:r>
            <a:br>
              <a:rPr lang="en-GB" dirty="0"/>
            </a:br>
            <a:r>
              <a:rPr lang="en-GB" dirty="0"/>
              <a:t>2 columns x 6 rows</a:t>
            </a:r>
          </a:p>
        </p:txBody>
      </p:sp>
    </p:spTree>
    <p:extLst>
      <p:ext uri="{BB962C8B-B14F-4D97-AF65-F5344CB8AC3E}">
        <p14:creationId xmlns:p14="http://schemas.microsoft.com/office/powerpoint/2010/main" val="2366859628"/>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Event Speakers - 3up">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Headshot Placeholder 1">
            <a:extLst>
              <a:ext uri="{FF2B5EF4-FFF2-40B4-BE49-F238E27FC236}">
                <a16:creationId xmlns:a16="http://schemas.microsoft.com/office/drawing/2014/main" id="{D1623E2B-E1E3-403F-AC41-B00361F97368}"/>
              </a:ext>
            </a:extLst>
          </p:cNvPr>
          <p:cNvSpPr>
            <a:spLocks noGrp="1" noChangeAspect="1"/>
          </p:cNvSpPr>
          <p:nvPr>
            <p:ph type="pic" sz="quarter" idx="12" hasCustomPrompt="1"/>
          </p:nvPr>
        </p:nvSpPr>
        <p:spPr>
          <a:xfrm>
            <a:off x="3584575" y="1601788"/>
            <a:ext cx="1714500" cy="1143000"/>
          </a:xfrm>
        </p:spPr>
        <p:txBody>
          <a:bodyPr rIns="0" anchor="ctr" anchorCtr="0"/>
          <a:lstStyle>
            <a:lvl1pPr algn="ctr">
              <a:defRPr sz="1600"/>
            </a:lvl1pPr>
          </a:lstStyle>
          <a:p>
            <a:r>
              <a:rPr lang="en-GB" dirty="0"/>
              <a:t>Click here to insert headshot</a:t>
            </a:r>
          </a:p>
        </p:txBody>
      </p:sp>
      <p:sp>
        <p:nvSpPr>
          <p:cNvPr id="11" name="Headshot Placeholder 2">
            <a:extLst>
              <a:ext uri="{FF2B5EF4-FFF2-40B4-BE49-F238E27FC236}">
                <a16:creationId xmlns:a16="http://schemas.microsoft.com/office/drawing/2014/main" id="{E8A38C91-468D-43C3-9DDF-3D49BE4EEB64}"/>
              </a:ext>
            </a:extLst>
          </p:cNvPr>
          <p:cNvSpPr>
            <a:spLocks noGrp="1" noChangeAspect="1"/>
          </p:cNvSpPr>
          <p:nvPr>
            <p:ph type="pic" sz="quarter" idx="13" hasCustomPrompt="1"/>
          </p:nvPr>
        </p:nvSpPr>
        <p:spPr>
          <a:xfrm>
            <a:off x="6146800" y="1601788"/>
            <a:ext cx="1714500" cy="114300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13" name="Headshot Placeholder 3">
            <a:extLst>
              <a:ext uri="{FF2B5EF4-FFF2-40B4-BE49-F238E27FC236}">
                <a16:creationId xmlns:a16="http://schemas.microsoft.com/office/drawing/2014/main" id="{6D74FF19-6316-46B5-9F2F-197A096DAFC9}"/>
              </a:ext>
            </a:extLst>
          </p:cNvPr>
          <p:cNvSpPr>
            <a:spLocks noGrp="1" noChangeAspect="1"/>
          </p:cNvSpPr>
          <p:nvPr>
            <p:ph type="pic" sz="quarter" idx="14" hasCustomPrompt="1"/>
          </p:nvPr>
        </p:nvSpPr>
        <p:spPr>
          <a:xfrm>
            <a:off x="8711023" y="1601788"/>
            <a:ext cx="1714500" cy="114300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15" name="Speaker Placeholder 1">
            <a:extLst>
              <a:ext uri="{FF2B5EF4-FFF2-40B4-BE49-F238E27FC236}">
                <a16:creationId xmlns:a16="http://schemas.microsoft.com/office/drawing/2014/main" id="{1580652B-9E6F-4260-9DEC-3A38C7F88E83}"/>
              </a:ext>
            </a:extLst>
          </p:cNvPr>
          <p:cNvSpPr>
            <a:spLocks noGrp="1"/>
          </p:cNvSpPr>
          <p:nvPr>
            <p:ph sz="quarter" idx="15" hasCustomPrompt="1"/>
          </p:nvPr>
        </p:nvSpPr>
        <p:spPr>
          <a:xfrm>
            <a:off x="3584575" y="2852738"/>
            <a:ext cx="1947672" cy="1773237"/>
          </a:xfrm>
        </p:spPr>
        <p:txBody>
          <a:bodyPr/>
          <a:lstStyle>
            <a:lvl1pPr>
              <a:spcBef>
                <a:spcPts val="0"/>
              </a:spcBef>
              <a:spcAft>
                <a:spcPts val="0"/>
              </a:spcAft>
              <a:defRPr sz="1600">
                <a:latin typeface="Financier Display Medium" panose="02020603070506060203" pitchFamily="18" charset="0"/>
              </a:defRPr>
            </a:lvl1pPr>
            <a:lvl2pPr>
              <a:spcAft>
                <a:spcPts val="300"/>
              </a:spcAft>
              <a:defRPr sz="1200">
                <a:latin typeface="+mn-lt"/>
              </a:defRPr>
            </a:lvl2pPr>
            <a:lvl3pPr>
              <a:spcBef>
                <a:spcPts val="0"/>
              </a:spcBef>
              <a:spcAft>
                <a:spcPts val="0"/>
              </a:spcAft>
              <a:defRPr sz="1050">
                <a:latin typeface="Calibre Light" panose="020B0303030202060203" pitchFamily="34" charset="0"/>
              </a:defRPr>
            </a:lvl3pPr>
            <a:lvl4pPr>
              <a:defRPr sz="105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17" name="Speaker Placeholder 2">
            <a:extLst>
              <a:ext uri="{FF2B5EF4-FFF2-40B4-BE49-F238E27FC236}">
                <a16:creationId xmlns:a16="http://schemas.microsoft.com/office/drawing/2014/main" id="{827758D5-026F-4A2D-A871-26D5B08A4CBD}"/>
              </a:ext>
            </a:extLst>
          </p:cNvPr>
          <p:cNvSpPr>
            <a:spLocks noGrp="1"/>
          </p:cNvSpPr>
          <p:nvPr>
            <p:ph sz="quarter" idx="16" hasCustomPrompt="1"/>
          </p:nvPr>
        </p:nvSpPr>
        <p:spPr>
          <a:xfrm>
            <a:off x="6146800" y="2852738"/>
            <a:ext cx="1947672" cy="1773237"/>
          </a:xfrm>
        </p:spPr>
        <p:txBody>
          <a:bodyPr/>
          <a:lstStyle>
            <a:lvl1pPr>
              <a:spcBef>
                <a:spcPts val="0"/>
              </a:spcBef>
              <a:spcAft>
                <a:spcPts val="0"/>
              </a:spcAft>
              <a:defRPr sz="1600">
                <a:latin typeface="Financier Display Medium" panose="02020603070506060203" pitchFamily="18" charset="0"/>
              </a:defRPr>
            </a:lvl1pPr>
            <a:lvl2pPr>
              <a:spcAft>
                <a:spcPts val="300"/>
              </a:spcAft>
              <a:defRPr sz="1200">
                <a:latin typeface="+mn-lt"/>
              </a:defRPr>
            </a:lvl2pPr>
            <a:lvl3pPr>
              <a:spcBef>
                <a:spcPts val="0"/>
              </a:spcBef>
              <a:spcAft>
                <a:spcPts val="0"/>
              </a:spcAft>
              <a:defRPr sz="1050">
                <a:latin typeface="Calibre Light" panose="020B0303030202060203" pitchFamily="34" charset="0"/>
              </a:defRPr>
            </a:lvl3pPr>
            <a:lvl4pPr>
              <a:defRPr sz="105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19" name="Speaker Placeholder 3">
            <a:extLst>
              <a:ext uri="{FF2B5EF4-FFF2-40B4-BE49-F238E27FC236}">
                <a16:creationId xmlns:a16="http://schemas.microsoft.com/office/drawing/2014/main" id="{981AFD52-7FA0-454D-A7E7-FF6CFF403186}"/>
              </a:ext>
            </a:extLst>
          </p:cNvPr>
          <p:cNvSpPr>
            <a:spLocks noGrp="1"/>
          </p:cNvSpPr>
          <p:nvPr>
            <p:ph sz="quarter" idx="17" hasCustomPrompt="1"/>
          </p:nvPr>
        </p:nvSpPr>
        <p:spPr>
          <a:xfrm>
            <a:off x="8709025" y="2852738"/>
            <a:ext cx="1947672" cy="1773237"/>
          </a:xfrm>
        </p:spPr>
        <p:txBody>
          <a:bodyPr/>
          <a:lstStyle>
            <a:lvl1pPr>
              <a:spcBef>
                <a:spcPts val="0"/>
              </a:spcBef>
              <a:spcAft>
                <a:spcPts val="0"/>
              </a:spcAft>
              <a:defRPr sz="1600">
                <a:latin typeface="Financier Display Medium" panose="02020603070506060203" pitchFamily="18" charset="0"/>
              </a:defRPr>
            </a:lvl1pPr>
            <a:lvl2pPr>
              <a:spcAft>
                <a:spcPts val="300"/>
              </a:spcAft>
              <a:defRPr sz="1200">
                <a:latin typeface="+mn-lt"/>
              </a:defRPr>
            </a:lvl2pPr>
            <a:lvl3pPr>
              <a:spcBef>
                <a:spcPts val="0"/>
              </a:spcBef>
              <a:spcAft>
                <a:spcPts val="0"/>
              </a:spcAft>
              <a:defRPr sz="1050">
                <a:latin typeface="Calibre Light" panose="020B0303030202060203" pitchFamily="34" charset="0"/>
              </a:defRPr>
            </a:lvl3pPr>
            <a:lvl4pPr>
              <a:defRPr sz="1050"/>
            </a:lvl4pPr>
          </a:lstStyle>
          <a:p>
            <a:pPr lvl="0"/>
            <a:r>
              <a:rPr lang="en-GB" err="1"/>
              <a:t>FirstnameLast</a:t>
            </a:r>
            <a:endParaRPr lang="en-GB"/>
          </a:p>
          <a:p>
            <a:pPr lvl="1"/>
            <a:r>
              <a:rPr lang="en-GB"/>
              <a:t>Title</a:t>
            </a:r>
          </a:p>
          <a:p>
            <a:pPr lvl="2"/>
            <a:r>
              <a:rPr lang="en-GB"/>
              <a:t>Contact info</a:t>
            </a:r>
          </a:p>
          <a:p>
            <a:pPr lvl="3"/>
            <a:r>
              <a:rPr lang="en-GB"/>
              <a:t>Bio info</a:t>
            </a:r>
          </a:p>
        </p:txBody>
      </p:sp>
    </p:spTree>
    <p:extLst>
      <p:ext uri="{BB962C8B-B14F-4D97-AF65-F5344CB8AC3E}">
        <p14:creationId xmlns:p14="http://schemas.microsoft.com/office/powerpoint/2010/main" val="345507016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Event Speakers - 6up">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Headshot Placeholder 1">
            <a:extLst>
              <a:ext uri="{FF2B5EF4-FFF2-40B4-BE49-F238E27FC236}">
                <a16:creationId xmlns:a16="http://schemas.microsoft.com/office/drawing/2014/main" id="{D1623E2B-E1E3-403F-AC41-B00361F97368}"/>
              </a:ext>
            </a:extLst>
          </p:cNvPr>
          <p:cNvSpPr>
            <a:spLocks noGrp="1" noChangeAspect="1"/>
          </p:cNvSpPr>
          <p:nvPr>
            <p:ph type="pic" sz="quarter" idx="12" hasCustomPrompt="1"/>
          </p:nvPr>
        </p:nvSpPr>
        <p:spPr>
          <a:xfrm>
            <a:off x="3584575" y="1601788"/>
            <a:ext cx="1714500" cy="1143000"/>
          </a:xfrm>
        </p:spPr>
        <p:txBody>
          <a:bodyPr rIns="0" anchor="ctr" anchorCtr="0"/>
          <a:lstStyle>
            <a:lvl1pPr algn="ctr">
              <a:defRPr sz="1600"/>
            </a:lvl1pPr>
          </a:lstStyle>
          <a:p>
            <a:r>
              <a:rPr lang="en-GB" dirty="0"/>
              <a:t>Click here to insert headshot</a:t>
            </a:r>
          </a:p>
        </p:txBody>
      </p:sp>
      <p:sp>
        <p:nvSpPr>
          <p:cNvPr id="11" name="Headshot Placeholder 2">
            <a:extLst>
              <a:ext uri="{FF2B5EF4-FFF2-40B4-BE49-F238E27FC236}">
                <a16:creationId xmlns:a16="http://schemas.microsoft.com/office/drawing/2014/main" id="{E8A38C91-468D-43C3-9DDF-3D49BE4EEB64}"/>
              </a:ext>
            </a:extLst>
          </p:cNvPr>
          <p:cNvSpPr>
            <a:spLocks noGrp="1" noChangeAspect="1"/>
          </p:cNvSpPr>
          <p:nvPr>
            <p:ph type="pic" sz="quarter" idx="13" hasCustomPrompt="1"/>
          </p:nvPr>
        </p:nvSpPr>
        <p:spPr>
          <a:xfrm>
            <a:off x="6146704" y="1601787"/>
            <a:ext cx="1714500" cy="114300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13" name="Headshot Placeholder 3">
            <a:extLst>
              <a:ext uri="{FF2B5EF4-FFF2-40B4-BE49-F238E27FC236}">
                <a16:creationId xmlns:a16="http://schemas.microsoft.com/office/drawing/2014/main" id="{6D74FF19-6316-46B5-9F2F-197A096DAFC9}"/>
              </a:ext>
            </a:extLst>
          </p:cNvPr>
          <p:cNvSpPr>
            <a:spLocks noGrp="1" noChangeAspect="1"/>
          </p:cNvSpPr>
          <p:nvPr>
            <p:ph type="pic" sz="quarter" idx="14" hasCustomPrompt="1"/>
          </p:nvPr>
        </p:nvSpPr>
        <p:spPr>
          <a:xfrm>
            <a:off x="8708832" y="1601787"/>
            <a:ext cx="1714500" cy="114300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8" name="Headshot Placeholder 4">
            <a:extLst>
              <a:ext uri="{FF2B5EF4-FFF2-40B4-BE49-F238E27FC236}">
                <a16:creationId xmlns:a16="http://schemas.microsoft.com/office/drawing/2014/main" id="{E562E097-32AF-4CB3-8CFD-E3F12BE51433}"/>
              </a:ext>
            </a:extLst>
          </p:cNvPr>
          <p:cNvSpPr>
            <a:spLocks noGrp="1" noChangeAspect="1"/>
          </p:cNvSpPr>
          <p:nvPr>
            <p:ph type="pic" sz="quarter" idx="18" hasCustomPrompt="1"/>
          </p:nvPr>
        </p:nvSpPr>
        <p:spPr>
          <a:xfrm>
            <a:off x="3584575" y="4102099"/>
            <a:ext cx="1714500" cy="114300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14" name="Headshot Placeholder 5">
            <a:extLst>
              <a:ext uri="{FF2B5EF4-FFF2-40B4-BE49-F238E27FC236}">
                <a16:creationId xmlns:a16="http://schemas.microsoft.com/office/drawing/2014/main" id="{EEC09747-3096-49C8-AF80-79E243A26F01}"/>
              </a:ext>
            </a:extLst>
          </p:cNvPr>
          <p:cNvSpPr>
            <a:spLocks noGrp="1" noChangeAspect="1"/>
          </p:cNvSpPr>
          <p:nvPr>
            <p:ph type="pic" sz="quarter" idx="20" hasCustomPrompt="1"/>
          </p:nvPr>
        </p:nvSpPr>
        <p:spPr>
          <a:xfrm>
            <a:off x="6146703" y="4102099"/>
            <a:ext cx="1714500" cy="114300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18" name="Headshot Placeholder 6">
            <a:extLst>
              <a:ext uri="{FF2B5EF4-FFF2-40B4-BE49-F238E27FC236}">
                <a16:creationId xmlns:a16="http://schemas.microsoft.com/office/drawing/2014/main" id="{5A0F6C97-4947-4297-B676-3E2F9F9B08F9}"/>
              </a:ext>
            </a:extLst>
          </p:cNvPr>
          <p:cNvSpPr>
            <a:spLocks noGrp="1" noChangeAspect="1"/>
          </p:cNvSpPr>
          <p:nvPr>
            <p:ph type="pic" sz="quarter" idx="21" hasCustomPrompt="1"/>
          </p:nvPr>
        </p:nvSpPr>
        <p:spPr>
          <a:xfrm>
            <a:off x="8708832" y="4102099"/>
            <a:ext cx="1714500" cy="114300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15" name="Speaker Placeholder 1">
            <a:extLst>
              <a:ext uri="{FF2B5EF4-FFF2-40B4-BE49-F238E27FC236}">
                <a16:creationId xmlns:a16="http://schemas.microsoft.com/office/drawing/2014/main" id="{1580652B-9E6F-4260-9DEC-3A38C7F88E83}"/>
              </a:ext>
            </a:extLst>
          </p:cNvPr>
          <p:cNvSpPr>
            <a:spLocks noGrp="1"/>
          </p:cNvSpPr>
          <p:nvPr>
            <p:ph sz="quarter" idx="15" hasCustomPrompt="1"/>
          </p:nvPr>
        </p:nvSpPr>
        <p:spPr>
          <a:xfrm>
            <a:off x="3584575" y="2802732"/>
            <a:ext cx="1947672" cy="1147762"/>
          </a:xfrm>
        </p:spPr>
        <p:txBody>
          <a:bodyPr rIns="274320"/>
          <a:lstStyle>
            <a:lvl1pPr>
              <a:spcBef>
                <a:spcPts val="0"/>
              </a:spcBef>
              <a:spcAft>
                <a:spcPts val="0"/>
              </a:spcAft>
              <a:defRPr sz="1600">
                <a:latin typeface="Financier Display Medium" panose="02020603070506060203" pitchFamily="18" charset="0"/>
              </a:defRPr>
            </a:lvl1pPr>
            <a:lvl2pPr>
              <a:spcAft>
                <a:spcPts val="300"/>
              </a:spcAft>
              <a:defRPr sz="12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17" name="Speaker Placeholder 2">
            <a:extLst>
              <a:ext uri="{FF2B5EF4-FFF2-40B4-BE49-F238E27FC236}">
                <a16:creationId xmlns:a16="http://schemas.microsoft.com/office/drawing/2014/main" id="{827758D5-026F-4A2D-A871-26D5B08A4CBD}"/>
              </a:ext>
            </a:extLst>
          </p:cNvPr>
          <p:cNvSpPr>
            <a:spLocks noGrp="1"/>
          </p:cNvSpPr>
          <p:nvPr>
            <p:ph sz="quarter" idx="16" hasCustomPrompt="1"/>
          </p:nvPr>
        </p:nvSpPr>
        <p:spPr>
          <a:xfrm>
            <a:off x="6146704" y="2802732"/>
            <a:ext cx="1947672" cy="1147762"/>
          </a:xfrm>
        </p:spPr>
        <p:txBody>
          <a:bodyPr rIns="274320"/>
          <a:lstStyle>
            <a:lvl1pPr>
              <a:spcBef>
                <a:spcPts val="0"/>
              </a:spcBef>
              <a:spcAft>
                <a:spcPts val="0"/>
              </a:spcAft>
              <a:defRPr sz="1600">
                <a:latin typeface="Financier Display Medium" panose="02020603070506060203" pitchFamily="18" charset="0"/>
              </a:defRPr>
            </a:lvl1pPr>
            <a:lvl2pPr>
              <a:spcAft>
                <a:spcPts val="300"/>
              </a:spcAft>
              <a:defRPr sz="12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19" name="Speaker Placeholder 3">
            <a:extLst>
              <a:ext uri="{FF2B5EF4-FFF2-40B4-BE49-F238E27FC236}">
                <a16:creationId xmlns:a16="http://schemas.microsoft.com/office/drawing/2014/main" id="{981AFD52-7FA0-454D-A7E7-FF6CFF403186}"/>
              </a:ext>
            </a:extLst>
          </p:cNvPr>
          <p:cNvSpPr>
            <a:spLocks noGrp="1"/>
          </p:cNvSpPr>
          <p:nvPr>
            <p:ph sz="quarter" idx="17" hasCustomPrompt="1"/>
          </p:nvPr>
        </p:nvSpPr>
        <p:spPr>
          <a:xfrm>
            <a:off x="8708832" y="2802732"/>
            <a:ext cx="1947672" cy="1147762"/>
          </a:xfrm>
        </p:spPr>
        <p:txBody>
          <a:bodyPr rIns="274320"/>
          <a:lstStyle>
            <a:lvl1pPr>
              <a:spcBef>
                <a:spcPts val="0"/>
              </a:spcBef>
              <a:spcAft>
                <a:spcPts val="0"/>
              </a:spcAft>
              <a:defRPr sz="1600">
                <a:latin typeface="Financier Display Medium" panose="02020603070506060203" pitchFamily="18" charset="0"/>
              </a:defRPr>
            </a:lvl1pPr>
            <a:lvl2pPr>
              <a:spcAft>
                <a:spcPts val="300"/>
              </a:spcAft>
              <a:defRPr sz="12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10" name="Speaker Placeholder 4">
            <a:extLst>
              <a:ext uri="{FF2B5EF4-FFF2-40B4-BE49-F238E27FC236}">
                <a16:creationId xmlns:a16="http://schemas.microsoft.com/office/drawing/2014/main" id="{42AA3A88-FA21-4ACB-9882-A7C04F6FDD72}"/>
              </a:ext>
            </a:extLst>
          </p:cNvPr>
          <p:cNvSpPr>
            <a:spLocks noGrp="1"/>
          </p:cNvSpPr>
          <p:nvPr>
            <p:ph sz="quarter" idx="19" hasCustomPrompt="1"/>
          </p:nvPr>
        </p:nvSpPr>
        <p:spPr>
          <a:xfrm>
            <a:off x="3584575" y="5303043"/>
            <a:ext cx="1947863" cy="1146175"/>
          </a:xfrm>
        </p:spPr>
        <p:txBody>
          <a:bodyPr rIns="274320"/>
          <a:lstStyle>
            <a:lvl1pPr>
              <a:spcBef>
                <a:spcPts val="0"/>
              </a:spcBef>
              <a:spcAft>
                <a:spcPts val="0"/>
              </a:spcAft>
              <a:defRPr sz="1600">
                <a:latin typeface="Financier Display Medium" panose="02020603070506060203" pitchFamily="18" charset="0"/>
              </a:defRPr>
            </a:lvl1pPr>
            <a:lvl2pPr>
              <a:spcAft>
                <a:spcPts val="300"/>
              </a:spcAft>
              <a:defRPr sz="12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25" name="Speaker Placeholder 5">
            <a:extLst>
              <a:ext uri="{FF2B5EF4-FFF2-40B4-BE49-F238E27FC236}">
                <a16:creationId xmlns:a16="http://schemas.microsoft.com/office/drawing/2014/main" id="{B2B0C01B-6531-42DF-8417-7D611F2700F2}"/>
              </a:ext>
            </a:extLst>
          </p:cNvPr>
          <p:cNvSpPr>
            <a:spLocks noGrp="1"/>
          </p:cNvSpPr>
          <p:nvPr>
            <p:ph sz="quarter" idx="24" hasCustomPrompt="1"/>
          </p:nvPr>
        </p:nvSpPr>
        <p:spPr>
          <a:xfrm>
            <a:off x="6146799" y="5303043"/>
            <a:ext cx="1947672" cy="1143000"/>
          </a:xfrm>
        </p:spPr>
        <p:txBody>
          <a:bodyPr rIns="274320"/>
          <a:lstStyle>
            <a:lvl1pPr>
              <a:spcBef>
                <a:spcPts val="0"/>
              </a:spcBef>
              <a:spcAft>
                <a:spcPts val="0"/>
              </a:spcAft>
              <a:defRPr sz="1600">
                <a:latin typeface="Financier Display Medium" panose="02020603070506060203" pitchFamily="18" charset="0"/>
              </a:defRPr>
            </a:lvl1pPr>
            <a:lvl2pPr>
              <a:spcAft>
                <a:spcPts val="300"/>
              </a:spcAft>
              <a:defRPr sz="12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27" name="Speaker Placeholder 6">
            <a:extLst>
              <a:ext uri="{FF2B5EF4-FFF2-40B4-BE49-F238E27FC236}">
                <a16:creationId xmlns:a16="http://schemas.microsoft.com/office/drawing/2014/main" id="{CC0E2C9A-7281-4F6E-B19D-616AF41B108E}"/>
              </a:ext>
            </a:extLst>
          </p:cNvPr>
          <p:cNvSpPr>
            <a:spLocks noGrp="1"/>
          </p:cNvSpPr>
          <p:nvPr>
            <p:ph sz="quarter" idx="25" hasCustomPrompt="1"/>
          </p:nvPr>
        </p:nvSpPr>
        <p:spPr>
          <a:xfrm>
            <a:off x="8708832" y="5303043"/>
            <a:ext cx="1947672" cy="1143000"/>
          </a:xfrm>
        </p:spPr>
        <p:txBody>
          <a:bodyPr rIns="274320"/>
          <a:lstStyle>
            <a:lvl1pPr>
              <a:spcBef>
                <a:spcPts val="0"/>
              </a:spcBef>
              <a:spcAft>
                <a:spcPts val="0"/>
              </a:spcAft>
              <a:defRPr sz="1600">
                <a:latin typeface="Financier Display Medium" panose="02020603070506060203" pitchFamily="18" charset="0"/>
              </a:defRPr>
            </a:lvl1pPr>
            <a:lvl2pPr>
              <a:spcAft>
                <a:spcPts val="300"/>
              </a:spcAft>
              <a:defRPr sz="12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Tree>
    <p:extLst>
      <p:ext uri="{BB962C8B-B14F-4D97-AF65-F5344CB8AC3E}">
        <p14:creationId xmlns:p14="http://schemas.microsoft.com/office/powerpoint/2010/main" val="32711326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Event Speakers - 8up">
    <p:spTree>
      <p:nvGrpSpPr>
        <p:cNvPr id="1" name=""/>
        <p:cNvGrpSpPr/>
        <p:nvPr/>
      </p:nvGrpSpPr>
      <p:grpSpPr>
        <a:xfrm>
          <a:off x="0" y="0"/>
          <a:ext cx="0" cy="0"/>
          <a:chOff x="0" y="0"/>
          <a:chExt cx="0" cy="0"/>
        </a:xfrm>
      </p:grpSpPr>
      <p:sp>
        <p:nvSpPr>
          <p:cNvPr id="7" name="Notes Placeholder">
            <a:extLst>
              <a:ext uri="{FF2B5EF4-FFF2-40B4-BE49-F238E27FC236}">
                <a16:creationId xmlns:a16="http://schemas.microsoft.com/office/drawing/2014/main" id="{9AC7DFF1-237E-42C0-B070-2C08EDF4EDD2}"/>
              </a:ext>
            </a:extLst>
          </p:cNvPr>
          <p:cNvSpPr>
            <a:spLocks noGrp="1"/>
          </p:cNvSpPr>
          <p:nvPr>
            <p:ph type="body" sz="quarter" idx="11"/>
          </p:nvPr>
        </p:nvSpPr>
        <p:spPr>
          <a:xfrm>
            <a:off x="511176" y="3492063"/>
            <a:ext cx="1947672" cy="2889504"/>
          </a:xfrm>
        </p:spPr>
        <p:txBody>
          <a:bodyPr/>
          <a:lstStyle>
            <a:lvl1pPr>
              <a:spcBef>
                <a:spcPts val="600"/>
              </a:spcBef>
              <a:spcAft>
                <a:spcPts val="0"/>
              </a:spcAft>
              <a:defRPr sz="1050">
                <a:latin typeface="Calibre Semibold" panose="020B0703030202060203" pitchFamily="34" charset="0"/>
              </a:defRPr>
            </a:lvl1pPr>
            <a:lvl2pPr>
              <a:spcBef>
                <a:spcPts val="300"/>
              </a:spcBef>
              <a:spcAft>
                <a:spcPts val="300"/>
              </a:spcAft>
              <a:defRPr sz="1050">
                <a:latin typeface="+mn-lt"/>
              </a:defRPr>
            </a:lvl2pPr>
            <a:lvl3pPr marL="171450" indent="-171450">
              <a:spcBef>
                <a:spcPts val="200"/>
              </a:spcBef>
              <a:spcAft>
                <a:spcPts val="0"/>
              </a:spcAft>
              <a:buFont typeface="Calibre" panose="020B0503030202060203" pitchFamily="34" charset="0"/>
              <a:buChar char="–"/>
              <a:defRPr sz="1050">
                <a:latin typeface="+mn-lt"/>
              </a:defRPr>
            </a:lvl3pPr>
            <a:lvl4pPr>
              <a:defRPr sz="1050">
                <a:latin typeface="+mn-lt"/>
              </a:defRPr>
            </a:lvl4pPr>
            <a:lvl5pPr>
              <a:defRPr sz="1050">
                <a:latin typeface="+mn-lt"/>
              </a:defRPr>
            </a:lvl5pPr>
          </a:lstStyle>
          <a:p>
            <a:pPr lvl="0"/>
            <a:r>
              <a:rPr lang="en-GB"/>
              <a:t>Click to edit Master text styles</a:t>
            </a:r>
          </a:p>
          <a:p>
            <a:pPr lvl="1"/>
            <a:r>
              <a:rPr lang="en-GB"/>
              <a:t>Second level</a:t>
            </a:r>
          </a:p>
          <a:p>
            <a:pPr lvl="2"/>
            <a:r>
              <a:rPr lang="en-GB"/>
              <a:t>Third level</a:t>
            </a:r>
          </a:p>
        </p:txBody>
      </p:sp>
      <p:sp>
        <p:nvSpPr>
          <p:cNvPr id="2" name="Title 1">
            <a:extLst>
              <a:ext uri="{FF2B5EF4-FFF2-40B4-BE49-F238E27FC236}">
                <a16:creationId xmlns:a16="http://schemas.microsoft.com/office/drawing/2014/main" id="{944047B7-C3F4-44CE-8AF6-813AA0A42774}"/>
              </a:ext>
            </a:extLst>
          </p:cNvPr>
          <p:cNvSpPr>
            <a:spLocks noGrp="1"/>
          </p:cNvSpPr>
          <p:nvPr>
            <p:ph type="title"/>
          </p:nvPr>
        </p:nvSpPr>
        <p:spPr/>
        <p:txBody>
          <a:bodyPr/>
          <a:lstStyle/>
          <a:p>
            <a:r>
              <a:rPr lang="en-GB"/>
              <a:t>Click to edit Master title style</a:t>
            </a:r>
          </a:p>
        </p:txBody>
      </p:sp>
      <p:cxnSp>
        <p:nvCxnSpPr>
          <p:cNvPr id="3" name="Nav Line of Sight">
            <a:extLst>
              <a:ext uri="{FF2B5EF4-FFF2-40B4-BE49-F238E27FC236}">
                <a16:creationId xmlns:a16="http://schemas.microsoft.com/office/drawing/2014/main" id="{D7785200-EEF1-4433-8FC7-132E42A01775}"/>
              </a:ext>
            </a:extLst>
          </p:cNvPr>
          <p:cNvCxnSpPr>
            <a:cxnSpLocks/>
          </p:cNvCxnSpPr>
          <p:nvPr userDrawn="1"/>
        </p:nvCxnSpPr>
        <p:spPr>
          <a:xfrm flipH="1">
            <a:off x="503224" y="1022541"/>
            <a:ext cx="931876" cy="0"/>
          </a:xfrm>
          <a:prstGeom prst="line">
            <a:avLst/>
          </a:prstGeom>
          <a:ln w="25400">
            <a:solidFill>
              <a:srgbClr val="17E891"/>
            </a:solidFill>
          </a:ln>
        </p:spPr>
        <p:style>
          <a:lnRef idx="1">
            <a:schemeClr val="accent1"/>
          </a:lnRef>
          <a:fillRef idx="0">
            <a:schemeClr val="accent1"/>
          </a:fillRef>
          <a:effectRef idx="0">
            <a:schemeClr val="accent1"/>
          </a:effectRef>
          <a:fontRef idx="minor">
            <a:schemeClr val="tx1"/>
          </a:fontRef>
        </p:style>
      </p:cxnSp>
      <p:sp>
        <p:nvSpPr>
          <p:cNvPr id="6" name="Navigation Header Placeholder">
            <a:extLst>
              <a:ext uri="{FF2B5EF4-FFF2-40B4-BE49-F238E27FC236}">
                <a16:creationId xmlns:a16="http://schemas.microsoft.com/office/drawing/2014/main" id="{682DE23F-D9AC-4E0E-B3B4-53687A5F35C9}"/>
              </a:ext>
            </a:extLst>
          </p:cNvPr>
          <p:cNvSpPr>
            <a:spLocks noGrp="1"/>
          </p:cNvSpPr>
          <p:nvPr>
            <p:ph type="body" sz="quarter" idx="10" hasCustomPrompt="1"/>
          </p:nvPr>
        </p:nvSpPr>
        <p:spPr>
          <a:xfrm>
            <a:off x="1536700" y="957804"/>
            <a:ext cx="1938528" cy="182880"/>
          </a:xfrm>
        </p:spPr>
        <p:txBody>
          <a:bodyPr/>
          <a:lstStyle>
            <a:lvl1pPr>
              <a:lnSpc>
                <a:spcPct val="90000"/>
              </a:lnSpc>
              <a:defRPr sz="1050" cap="all" baseline="0">
                <a:latin typeface="Calibre Medium" panose="020B0603030202060203" pitchFamily="34" charset="0"/>
              </a:defRPr>
            </a:lvl1pPr>
            <a:lvl2pPr>
              <a:defRPr sz="1050" cap="all" baseline="0">
                <a:latin typeface="Calibre Medium" panose="020B0603030202060203" pitchFamily="34" charset="0"/>
              </a:defRPr>
            </a:lvl2pPr>
            <a:lvl3pPr>
              <a:defRPr sz="1050" cap="all" baseline="0">
                <a:latin typeface="Calibre Medium" panose="020B0603030202060203" pitchFamily="34" charset="0"/>
              </a:defRPr>
            </a:lvl3pPr>
            <a:lvl4pPr>
              <a:defRPr sz="1050" cap="all" baseline="0">
                <a:latin typeface="Calibre Medium" panose="020B0603030202060203" pitchFamily="34" charset="0"/>
              </a:defRPr>
            </a:lvl4pPr>
            <a:lvl5pPr>
              <a:defRPr sz="1050" cap="all" baseline="0">
                <a:latin typeface="Calibre Medium" panose="020B0603030202060203" pitchFamily="34" charset="0"/>
              </a:defRPr>
            </a:lvl5pPr>
          </a:lstStyle>
          <a:p>
            <a:pPr lvl="0"/>
            <a:r>
              <a:rPr lang="en-GB"/>
              <a:t>Navigation Header</a:t>
            </a:r>
          </a:p>
        </p:txBody>
      </p:sp>
      <p:sp>
        <p:nvSpPr>
          <p:cNvPr id="5" name="Headshot Placeholder 1">
            <a:extLst>
              <a:ext uri="{FF2B5EF4-FFF2-40B4-BE49-F238E27FC236}">
                <a16:creationId xmlns:a16="http://schemas.microsoft.com/office/drawing/2014/main" id="{D1623E2B-E1E3-403F-AC41-B00361F97368}"/>
              </a:ext>
            </a:extLst>
          </p:cNvPr>
          <p:cNvSpPr>
            <a:spLocks noGrp="1" noChangeAspect="1"/>
          </p:cNvSpPr>
          <p:nvPr>
            <p:ph type="pic" sz="quarter" idx="12" hasCustomPrompt="1"/>
          </p:nvPr>
        </p:nvSpPr>
        <p:spPr>
          <a:xfrm>
            <a:off x="3584576" y="1601788"/>
            <a:ext cx="1435100" cy="956733"/>
          </a:xfrm>
        </p:spPr>
        <p:txBody>
          <a:bodyPr rIns="0" anchor="ctr" anchorCtr="0"/>
          <a:lstStyle>
            <a:lvl1pPr algn="ctr">
              <a:defRPr sz="1600"/>
            </a:lvl1pPr>
          </a:lstStyle>
          <a:p>
            <a:r>
              <a:rPr lang="en-GB" dirty="0"/>
              <a:t>Click here to insert headshot</a:t>
            </a:r>
          </a:p>
        </p:txBody>
      </p:sp>
      <p:sp>
        <p:nvSpPr>
          <p:cNvPr id="11" name="Headshot Placeholder 2">
            <a:extLst>
              <a:ext uri="{FF2B5EF4-FFF2-40B4-BE49-F238E27FC236}">
                <a16:creationId xmlns:a16="http://schemas.microsoft.com/office/drawing/2014/main" id="{E8A38C91-468D-43C3-9DDF-3D49BE4EEB64}"/>
              </a:ext>
            </a:extLst>
          </p:cNvPr>
          <p:cNvSpPr>
            <a:spLocks noGrp="1" noChangeAspect="1"/>
          </p:cNvSpPr>
          <p:nvPr>
            <p:ph type="pic" sz="quarter" idx="13" hasCustomPrompt="1"/>
          </p:nvPr>
        </p:nvSpPr>
        <p:spPr>
          <a:xfrm>
            <a:off x="5630122" y="1601788"/>
            <a:ext cx="1440180" cy="96012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13" name="Headshot Placeholder 3">
            <a:extLst>
              <a:ext uri="{FF2B5EF4-FFF2-40B4-BE49-F238E27FC236}">
                <a16:creationId xmlns:a16="http://schemas.microsoft.com/office/drawing/2014/main" id="{6D74FF19-6316-46B5-9F2F-197A096DAFC9}"/>
              </a:ext>
            </a:extLst>
          </p:cNvPr>
          <p:cNvSpPr>
            <a:spLocks noGrp="1" noChangeAspect="1"/>
          </p:cNvSpPr>
          <p:nvPr>
            <p:ph type="pic" sz="quarter" idx="14" hasCustomPrompt="1"/>
          </p:nvPr>
        </p:nvSpPr>
        <p:spPr>
          <a:xfrm>
            <a:off x="7680748" y="1601788"/>
            <a:ext cx="1440180" cy="96012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8" name="Headshot Placeholder 4">
            <a:extLst>
              <a:ext uri="{FF2B5EF4-FFF2-40B4-BE49-F238E27FC236}">
                <a16:creationId xmlns:a16="http://schemas.microsoft.com/office/drawing/2014/main" id="{E562E097-32AF-4CB3-8CFD-E3F12BE51433}"/>
              </a:ext>
            </a:extLst>
          </p:cNvPr>
          <p:cNvSpPr>
            <a:spLocks noGrp="1" noChangeAspect="1"/>
          </p:cNvSpPr>
          <p:nvPr>
            <p:ph type="pic" sz="quarter" idx="18" hasCustomPrompt="1"/>
          </p:nvPr>
        </p:nvSpPr>
        <p:spPr>
          <a:xfrm>
            <a:off x="9731374" y="1601788"/>
            <a:ext cx="1440180" cy="96012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14" name="Headshot Placeholder 5">
            <a:extLst>
              <a:ext uri="{FF2B5EF4-FFF2-40B4-BE49-F238E27FC236}">
                <a16:creationId xmlns:a16="http://schemas.microsoft.com/office/drawing/2014/main" id="{EEC09747-3096-49C8-AF80-79E243A26F01}"/>
              </a:ext>
            </a:extLst>
          </p:cNvPr>
          <p:cNvSpPr>
            <a:spLocks noGrp="1" noChangeAspect="1"/>
          </p:cNvSpPr>
          <p:nvPr>
            <p:ph type="pic" sz="quarter" idx="20" hasCustomPrompt="1"/>
          </p:nvPr>
        </p:nvSpPr>
        <p:spPr>
          <a:xfrm>
            <a:off x="3584576" y="4102100"/>
            <a:ext cx="1440180" cy="96012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18" name="Headshot Placeholder 6">
            <a:extLst>
              <a:ext uri="{FF2B5EF4-FFF2-40B4-BE49-F238E27FC236}">
                <a16:creationId xmlns:a16="http://schemas.microsoft.com/office/drawing/2014/main" id="{5A0F6C97-4947-4297-B676-3E2F9F9B08F9}"/>
              </a:ext>
            </a:extLst>
          </p:cNvPr>
          <p:cNvSpPr>
            <a:spLocks noGrp="1" noChangeAspect="1"/>
          </p:cNvSpPr>
          <p:nvPr>
            <p:ph type="pic" sz="quarter" idx="21" hasCustomPrompt="1"/>
          </p:nvPr>
        </p:nvSpPr>
        <p:spPr>
          <a:xfrm>
            <a:off x="5633509" y="4102100"/>
            <a:ext cx="1440180" cy="96012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21" name="Headshot Placeholder 7">
            <a:extLst>
              <a:ext uri="{FF2B5EF4-FFF2-40B4-BE49-F238E27FC236}">
                <a16:creationId xmlns:a16="http://schemas.microsoft.com/office/drawing/2014/main" id="{7332A527-0EB9-43D0-86B3-FF7773EE320D}"/>
              </a:ext>
            </a:extLst>
          </p:cNvPr>
          <p:cNvSpPr>
            <a:spLocks noGrp="1" noChangeAspect="1"/>
          </p:cNvSpPr>
          <p:nvPr>
            <p:ph type="pic" sz="quarter" idx="22" hasCustomPrompt="1"/>
          </p:nvPr>
        </p:nvSpPr>
        <p:spPr>
          <a:xfrm>
            <a:off x="7682442" y="4102100"/>
            <a:ext cx="1440180" cy="96012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23" name="Headshot Placeholder 8">
            <a:extLst>
              <a:ext uri="{FF2B5EF4-FFF2-40B4-BE49-F238E27FC236}">
                <a16:creationId xmlns:a16="http://schemas.microsoft.com/office/drawing/2014/main" id="{8893B922-E816-4EB8-918A-6B723AFB4A5B}"/>
              </a:ext>
            </a:extLst>
          </p:cNvPr>
          <p:cNvSpPr>
            <a:spLocks noGrp="1" noChangeAspect="1"/>
          </p:cNvSpPr>
          <p:nvPr>
            <p:ph type="pic" sz="quarter" idx="23" hasCustomPrompt="1"/>
          </p:nvPr>
        </p:nvSpPr>
        <p:spPr>
          <a:xfrm>
            <a:off x="9731374" y="4102100"/>
            <a:ext cx="1440180" cy="960120"/>
          </a:xfrm>
        </p:spPr>
        <p:txBody>
          <a:bodyPr rIns="0" anchor="ctr" anchorCtr="0"/>
          <a:lstStyle>
            <a:lvl1pPr marL="0" marR="0" indent="0" algn="ctr" defTabSz="914400" eaLnBrk="1" fontAlgn="auto" latinLnBrk="0" hangingPunct="1">
              <a:lnSpc>
                <a:spcPct val="100000"/>
              </a:lnSpc>
              <a:spcBef>
                <a:spcPts val="1200"/>
              </a:spcBef>
              <a:spcAft>
                <a:spcPts val="1200"/>
              </a:spcAft>
              <a:buClrTx/>
              <a:buSzTx/>
              <a:buFontTx/>
              <a:buNone/>
              <a:tabLst/>
              <a:defRPr sz="1600"/>
            </a:lvl1pPr>
          </a:lstStyle>
          <a:p>
            <a:pPr marL="0" marR="0" lvl="0" indent="0" defTabSz="914400" eaLnBrk="1" fontAlgn="auto" latinLnBrk="0" hangingPunct="1">
              <a:lnSpc>
                <a:spcPct val="100000"/>
              </a:lnSpc>
              <a:spcBef>
                <a:spcPts val="1200"/>
              </a:spcBef>
              <a:spcAft>
                <a:spcPts val="1200"/>
              </a:spcAft>
              <a:buClrTx/>
              <a:buSzTx/>
              <a:buFontTx/>
              <a:buNone/>
              <a:tabLst/>
              <a:defRPr/>
            </a:pPr>
            <a:r>
              <a:rPr lang="en-GB" dirty="0"/>
              <a:t>Click here to insert headshot</a:t>
            </a:r>
          </a:p>
        </p:txBody>
      </p:sp>
      <p:sp>
        <p:nvSpPr>
          <p:cNvPr id="15" name="Speaker Placeholder 1">
            <a:extLst>
              <a:ext uri="{FF2B5EF4-FFF2-40B4-BE49-F238E27FC236}">
                <a16:creationId xmlns:a16="http://schemas.microsoft.com/office/drawing/2014/main" id="{1580652B-9E6F-4260-9DEC-3A38C7F88E83}"/>
              </a:ext>
            </a:extLst>
          </p:cNvPr>
          <p:cNvSpPr>
            <a:spLocks noGrp="1"/>
          </p:cNvSpPr>
          <p:nvPr>
            <p:ph sz="quarter" idx="15" hasCustomPrompt="1"/>
          </p:nvPr>
        </p:nvSpPr>
        <p:spPr>
          <a:xfrm>
            <a:off x="3584575" y="2667001"/>
            <a:ext cx="1947672" cy="1147762"/>
          </a:xfrm>
        </p:spPr>
        <p:txBody>
          <a:bodyPr rIns="274320"/>
          <a:lstStyle>
            <a:lvl1pPr>
              <a:spcBef>
                <a:spcPts val="0"/>
              </a:spcBef>
              <a:spcAft>
                <a:spcPts val="0"/>
              </a:spcAft>
              <a:defRPr sz="1500">
                <a:latin typeface="Financier Display Medium" panose="02020603070506060203" pitchFamily="18" charset="0"/>
              </a:defRPr>
            </a:lvl1pPr>
            <a:lvl2pPr>
              <a:spcAft>
                <a:spcPts val="300"/>
              </a:spcAft>
              <a:defRPr sz="11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17" name="Speaker Placeholder 2">
            <a:extLst>
              <a:ext uri="{FF2B5EF4-FFF2-40B4-BE49-F238E27FC236}">
                <a16:creationId xmlns:a16="http://schemas.microsoft.com/office/drawing/2014/main" id="{827758D5-026F-4A2D-A871-26D5B08A4CBD}"/>
              </a:ext>
            </a:extLst>
          </p:cNvPr>
          <p:cNvSpPr>
            <a:spLocks noGrp="1"/>
          </p:cNvSpPr>
          <p:nvPr>
            <p:ph sz="quarter" idx="16" hasCustomPrompt="1"/>
          </p:nvPr>
        </p:nvSpPr>
        <p:spPr>
          <a:xfrm>
            <a:off x="5634228" y="2667001"/>
            <a:ext cx="1947672" cy="1147762"/>
          </a:xfrm>
        </p:spPr>
        <p:txBody>
          <a:bodyPr rIns="274320"/>
          <a:lstStyle>
            <a:lvl1pPr>
              <a:spcBef>
                <a:spcPts val="0"/>
              </a:spcBef>
              <a:spcAft>
                <a:spcPts val="0"/>
              </a:spcAft>
              <a:defRPr sz="1500">
                <a:latin typeface="Financier Display Medium" panose="02020603070506060203" pitchFamily="18" charset="0"/>
              </a:defRPr>
            </a:lvl1pPr>
            <a:lvl2pPr>
              <a:spcAft>
                <a:spcPts val="300"/>
              </a:spcAft>
              <a:defRPr sz="11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19" name="Speaker Placeholder 3">
            <a:extLst>
              <a:ext uri="{FF2B5EF4-FFF2-40B4-BE49-F238E27FC236}">
                <a16:creationId xmlns:a16="http://schemas.microsoft.com/office/drawing/2014/main" id="{981AFD52-7FA0-454D-A7E7-FF6CFF403186}"/>
              </a:ext>
            </a:extLst>
          </p:cNvPr>
          <p:cNvSpPr>
            <a:spLocks noGrp="1"/>
          </p:cNvSpPr>
          <p:nvPr>
            <p:ph sz="quarter" idx="17" hasCustomPrompt="1"/>
          </p:nvPr>
        </p:nvSpPr>
        <p:spPr>
          <a:xfrm>
            <a:off x="7681501" y="2667001"/>
            <a:ext cx="1947672" cy="1147762"/>
          </a:xfrm>
        </p:spPr>
        <p:txBody>
          <a:bodyPr rIns="274320"/>
          <a:lstStyle>
            <a:lvl1pPr>
              <a:spcBef>
                <a:spcPts val="0"/>
              </a:spcBef>
              <a:spcAft>
                <a:spcPts val="0"/>
              </a:spcAft>
              <a:defRPr sz="1500">
                <a:latin typeface="Financier Display Medium" panose="02020603070506060203" pitchFamily="18" charset="0"/>
              </a:defRPr>
            </a:lvl1pPr>
            <a:lvl2pPr>
              <a:spcAft>
                <a:spcPts val="300"/>
              </a:spcAft>
              <a:defRPr sz="11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10" name="Speaker Placeholder 4">
            <a:extLst>
              <a:ext uri="{FF2B5EF4-FFF2-40B4-BE49-F238E27FC236}">
                <a16:creationId xmlns:a16="http://schemas.microsoft.com/office/drawing/2014/main" id="{42AA3A88-FA21-4ACB-9882-A7C04F6FDD72}"/>
              </a:ext>
            </a:extLst>
          </p:cNvPr>
          <p:cNvSpPr>
            <a:spLocks noGrp="1"/>
          </p:cNvSpPr>
          <p:nvPr>
            <p:ph sz="quarter" idx="19" hasCustomPrompt="1"/>
          </p:nvPr>
        </p:nvSpPr>
        <p:spPr>
          <a:xfrm>
            <a:off x="9731375" y="2667000"/>
            <a:ext cx="1947863" cy="1146175"/>
          </a:xfrm>
        </p:spPr>
        <p:txBody>
          <a:bodyPr rIns="274320"/>
          <a:lstStyle>
            <a:lvl1pPr>
              <a:spcBef>
                <a:spcPts val="0"/>
              </a:spcBef>
              <a:spcAft>
                <a:spcPts val="0"/>
              </a:spcAft>
              <a:defRPr sz="1500">
                <a:latin typeface="Financier Display Medium" panose="02020603070506060203" pitchFamily="18" charset="0"/>
              </a:defRPr>
            </a:lvl1pPr>
            <a:lvl2pPr>
              <a:spcAft>
                <a:spcPts val="300"/>
              </a:spcAft>
              <a:defRPr sz="11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25" name="Speaker Placeholder 5">
            <a:extLst>
              <a:ext uri="{FF2B5EF4-FFF2-40B4-BE49-F238E27FC236}">
                <a16:creationId xmlns:a16="http://schemas.microsoft.com/office/drawing/2014/main" id="{B2B0C01B-6531-42DF-8417-7D611F2700F2}"/>
              </a:ext>
            </a:extLst>
          </p:cNvPr>
          <p:cNvSpPr>
            <a:spLocks noGrp="1"/>
          </p:cNvSpPr>
          <p:nvPr>
            <p:ph sz="quarter" idx="24" hasCustomPrompt="1"/>
          </p:nvPr>
        </p:nvSpPr>
        <p:spPr>
          <a:xfrm>
            <a:off x="3584575" y="5167312"/>
            <a:ext cx="1947672" cy="1143000"/>
          </a:xfrm>
        </p:spPr>
        <p:txBody>
          <a:bodyPr rIns="274320"/>
          <a:lstStyle>
            <a:lvl1pPr>
              <a:spcBef>
                <a:spcPts val="0"/>
              </a:spcBef>
              <a:spcAft>
                <a:spcPts val="0"/>
              </a:spcAft>
              <a:defRPr sz="1500">
                <a:latin typeface="Financier Display Medium" panose="02020603070506060203" pitchFamily="18" charset="0"/>
              </a:defRPr>
            </a:lvl1pPr>
            <a:lvl2pPr>
              <a:spcAft>
                <a:spcPts val="300"/>
              </a:spcAft>
              <a:defRPr sz="11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27" name="Speaker Placeholder 6">
            <a:extLst>
              <a:ext uri="{FF2B5EF4-FFF2-40B4-BE49-F238E27FC236}">
                <a16:creationId xmlns:a16="http://schemas.microsoft.com/office/drawing/2014/main" id="{CC0E2C9A-7281-4F6E-B19D-616AF41B108E}"/>
              </a:ext>
            </a:extLst>
          </p:cNvPr>
          <p:cNvSpPr>
            <a:spLocks noGrp="1"/>
          </p:cNvSpPr>
          <p:nvPr>
            <p:ph sz="quarter" idx="25" hasCustomPrompt="1"/>
          </p:nvPr>
        </p:nvSpPr>
        <p:spPr>
          <a:xfrm>
            <a:off x="5634228" y="5167312"/>
            <a:ext cx="1947672" cy="1143000"/>
          </a:xfrm>
        </p:spPr>
        <p:txBody>
          <a:bodyPr rIns="274320"/>
          <a:lstStyle>
            <a:lvl1pPr>
              <a:spcBef>
                <a:spcPts val="0"/>
              </a:spcBef>
              <a:spcAft>
                <a:spcPts val="0"/>
              </a:spcAft>
              <a:defRPr sz="1500">
                <a:latin typeface="Financier Display Medium" panose="02020603070506060203" pitchFamily="18" charset="0"/>
              </a:defRPr>
            </a:lvl1pPr>
            <a:lvl2pPr>
              <a:spcAft>
                <a:spcPts val="300"/>
              </a:spcAft>
              <a:defRPr sz="11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29" name="Speaker Placeholder 7">
            <a:extLst>
              <a:ext uri="{FF2B5EF4-FFF2-40B4-BE49-F238E27FC236}">
                <a16:creationId xmlns:a16="http://schemas.microsoft.com/office/drawing/2014/main" id="{57E18A33-5D61-41C4-BC2A-577D212DE187}"/>
              </a:ext>
            </a:extLst>
          </p:cNvPr>
          <p:cNvSpPr>
            <a:spLocks noGrp="1"/>
          </p:cNvSpPr>
          <p:nvPr>
            <p:ph sz="quarter" idx="26" hasCustomPrompt="1"/>
          </p:nvPr>
        </p:nvSpPr>
        <p:spPr>
          <a:xfrm>
            <a:off x="7681501" y="5167312"/>
            <a:ext cx="1947672" cy="1143000"/>
          </a:xfrm>
        </p:spPr>
        <p:txBody>
          <a:bodyPr rIns="274320"/>
          <a:lstStyle>
            <a:lvl1pPr>
              <a:spcBef>
                <a:spcPts val="0"/>
              </a:spcBef>
              <a:spcAft>
                <a:spcPts val="0"/>
              </a:spcAft>
              <a:defRPr sz="1500">
                <a:latin typeface="Financier Display Medium" panose="02020603070506060203" pitchFamily="18" charset="0"/>
              </a:defRPr>
            </a:lvl1pPr>
            <a:lvl2pPr>
              <a:spcAft>
                <a:spcPts val="300"/>
              </a:spcAft>
              <a:defRPr sz="11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
        <p:nvSpPr>
          <p:cNvPr id="31" name="Speaker Placeholder 8">
            <a:extLst>
              <a:ext uri="{FF2B5EF4-FFF2-40B4-BE49-F238E27FC236}">
                <a16:creationId xmlns:a16="http://schemas.microsoft.com/office/drawing/2014/main" id="{BA121CB0-15F6-4A74-B2B5-3C8F4A4B255E}"/>
              </a:ext>
            </a:extLst>
          </p:cNvPr>
          <p:cNvSpPr>
            <a:spLocks noGrp="1"/>
          </p:cNvSpPr>
          <p:nvPr>
            <p:ph sz="quarter" idx="27" hasCustomPrompt="1"/>
          </p:nvPr>
        </p:nvSpPr>
        <p:spPr>
          <a:xfrm>
            <a:off x="9731375" y="5167312"/>
            <a:ext cx="1947672" cy="1143000"/>
          </a:xfrm>
        </p:spPr>
        <p:txBody>
          <a:bodyPr rIns="274320"/>
          <a:lstStyle>
            <a:lvl1pPr>
              <a:spcBef>
                <a:spcPts val="0"/>
              </a:spcBef>
              <a:spcAft>
                <a:spcPts val="0"/>
              </a:spcAft>
              <a:defRPr sz="1500">
                <a:latin typeface="Financier Display Medium" panose="02020603070506060203" pitchFamily="18" charset="0"/>
              </a:defRPr>
            </a:lvl1pPr>
            <a:lvl2pPr>
              <a:spcAft>
                <a:spcPts val="300"/>
              </a:spcAft>
              <a:defRPr sz="1100">
                <a:latin typeface="+mn-lt"/>
              </a:defRPr>
            </a:lvl2pPr>
            <a:lvl3pPr>
              <a:spcBef>
                <a:spcPts val="0"/>
              </a:spcBef>
              <a:spcAft>
                <a:spcPts val="0"/>
              </a:spcAft>
              <a:defRPr sz="1000">
                <a:latin typeface="Calibre Light" panose="020B0303030202060203" pitchFamily="34" charset="0"/>
              </a:defRPr>
            </a:lvl3pPr>
            <a:lvl4pPr>
              <a:defRPr sz="1000"/>
            </a:lvl4pPr>
          </a:lstStyle>
          <a:p>
            <a:pPr lvl="0"/>
            <a:r>
              <a:rPr lang="en-GB" err="1"/>
              <a:t>FirstnameLast</a:t>
            </a:r>
            <a:endParaRPr lang="en-GB"/>
          </a:p>
          <a:p>
            <a:pPr lvl="1"/>
            <a:r>
              <a:rPr lang="en-GB"/>
              <a:t>Title</a:t>
            </a:r>
          </a:p>
          <a:p>
            <a:pPr lvl="2"/>
            <a:r>
              <a:rPr lang="en-GB"/>
              <a:t>Contact info</a:t>
            </a:r>
          </a:p>
          <a:p>
            <a:pPr lvl="3"/>
            <a:r>
              <a:rPr lang="en-GB"/>
              <a:t>Bio info</a:t>
            </a:r>
          </a:p>
        </p:txBody>
      </p:sp>
    </p:spTree>
    <p:extLst>
      <p:ext uri="{BB962C8B-B14F-4D97-AF65-F5344CB8AC3E}">
        <p14:creationId xmlns:p14="http://schemas.microsoft.com/office/powerpoint/2010/main" val="16433830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accent6"/>
        </a:solidFill>
        <a:effectLst/>
      </p:bgPr>
    </p:bg>
    <p:spTree>
      <p:nvGrpSpPr>
        <p:cNvPr id="1" name=""/>
        <p:cNvGrpSpPr/>
        <p:nvPr/>
      </p:nvGrpSpPr>
      <p:grpSpPr>
        <a:xfrm>
          <a:off x="0" y="0"/>
          <a:ext cx="0" cy="0"/>
          <a:chOff x="0" y="0"/>
          <a:chExt cx="0" cy="0"/>
        </a:xfrm>
      </p:grpSpPr>
      <p:cxnSp>
        <p:nvCxnSpPr>
          <p:cNvPr id="27" name="Line of Sight">
            <a:extLst>
              <a:ext uri="{FF2B5EF4-FFF2-40B4-BE49-F238E27FC236}">
                <a16:creationId xmlns:a16="http://schemas.microsoft.com/office/drawing/2014/main" id="{C407EC0E-41E7-4D5B-9055-FD42C50A8DCF}"/>
              </a:ext>
            </a:extLst>
          </p:cNvPr>
          <p:cNvCxnSpPr>
            <a:cxnSpLocks/>
          </p:cNvCxnSpPr>
          <p:nvPr userDrawn="1"/>
        </p:nvCxnSpPr>
        <p:spPr>
          <a:xfrm>
            <a:off x="4290219" y="681037"/>
            <a:ext cx="6172200" cy="0"/>
          </a:xfrm>
          <a:prstGeom prst="line">
            <a:avLst/>
          </a:prstGeom>
          <a:ln w="31750">
            <a:solidFill>
              <a:srgbClr val="17E891"/>
            </a:solidFill>
          </a:ln>
        </p:spPr>
        <p:style>
          <a:lnRef idx="1">
            <a:schemeClr val="accent1"/>
          </a:lnRef>
          <a:fillRef idx="0">
            <a:schemeClr val="accent1"/>
          </a:fillRef>
          <a:effectRef idx="0">
            <a:schemeClr val="accent1"/>
          </a:effectRef>
          <a:fontRef idx="minor">
            <a:schemeClr val="tx1"/>
          </a:fontRef>
        </p:style>
      </p:cxnSp>
      <p:sp>
        <p:nvSpPr>
          <p:cNvPr id="3" name="LoS Cover">
            <a:extLst>
              <a:ext uri="{FF2B5EF4-FFF2-40B4-BE49-F238E27FC236}">
                <a16:creationId xmlns:a16="http://schemas.microsoft.com/office/drawing/2014/main" id="{9CF8EC85-1633-4BD9-8545-28E2955DF1D4}"/>
              </a:ext>
            </a:extLst>
          </p:cNvPr>
          <p:cNvSpPr/>
          <p:nvPr userDrawn="1"/>
        </p:nvSpPr>
        <p:spPr>
          <a:xfrm>
            <a:off x="0" y="0"/>
            <a:ext cx="4290219" cy="1269295"/>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6" name="Thank you">
            <a:extLst>
              <a:ext uri="{FF2B5EF4-FFF2-40B4-BE49-F238E27FC236}">
                <a16:creationId xmlns:a16="http://schemas.microsoft.com/office/drawing/2014/main" id="{893A021A-717C-4A14-8688-02243BB5161B}"/>
              </a:ext>
            </a:extLst>
          </p:cNvPr>
          <p:cNvSpPr/>
          <p:nvPr userDrawn="1"/>
        </p:nvSpPr>
        <p:spPr>
          <a:xfrm>
            <a:off x="508635" y="62115"/>
            <a:ext cx="2937022" cy="892552"/>
          </a:xfrm>
          <a:prstGeom prst="rect">
            <a:avLst/>
          </a:prstGeom>
        </p:spPr>
        <p:txBody>
          <a:bodyPr wrap="none" lIns="0" tIns="0" rIns="0" bIns="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6600" b="0" i="0" u="none" strike="noStrike" kern="0" cap="none" spc="0" normalizeH="0" baseline="0" noProof="0" dirty="0">
                <a:ln>
                  <a:noFill/>
                </a:ln>
                <a:solidFill>
                  <a:srgbClr val="FFFFFF"/>
                </a:solidFill>
                <a:effectLst/>
                <a:uLnTx/>
                <a:uFillTx/>
                <a:latin typeface="Financier Display Medium" panose="02020603070506060203" pitchFamily="18" charset="0"/>
                <a:ea typeface="Arial Unicode MS"/>
                <a:cs typeface="Calibre Semibold" panose="020B0703030202060203" pitchFamily="34" charset="0"/>
              </a:rPr>
              <a:t>Thank you</a:t>
            </a:r>
            <a:endParaRPr kumimoji="0" lang="en-GB" altLang="en-US" sz="700" b="0" i="0" u="none" strike="noStrike" kern="0" cap="none" spc="0" normalizeH="0" baseline="0" noProof="0" dirty="0">
              <a:ln>
                <a:noFill/>
              </a:ln>
              <a:solidFill>
                <a:srgbClr val="435254"/>
              </a:solidFill>
              <a:effectLst/>
              <a:uLnTx/>
              <a:uFillTx/>
              <a:latin typeface="Calibre Light" panose="020B0303030202060203" pitchFamily="34" charset="0"/>
              <a:ea typeface="+mn-ea"/>
              <a:cs typeface="+mn-cs"/>
            </a:endParaRPr>
          </a:p>
        </p:txBody>
      </p:sp>
      <p:sp>
        <p:nvSpPr>
          <p:cNvPr id="28" name="CBRE Vector Logo">
            <a:extLst>
              <a:ext uri="{FF2B5EF4-FFF2-40B4-BE49-F238E27FC236}">
                <a16:creationId xmlns:a16="http://schemas.microsoft.com/office/drawing/2014/main" id="{9817F25B-C192-4B72-A245-CB7206E0A8A0}"/>
              </a:ext>
            </a:extLst>
          </p:cNvPr>
          <p:cNvSpPr>
            <a:spLocks noChangeAspect="1"/>
          </p:cNvSpPr>
          <p:nvPr userDrawn="1"/>
        </p:nvSpPr>
        <p:spPr>
          <a:xfrm>
            <a:off x="10755020" y="566230"/>
            <a:ext cx="924217" cy="229615"/>
          </a:xfrm>
          <a:custGeom>
            <a:avLst/>
            <a:gdLst>
              <a:gd name="connsiteX0" fmla="*/ 306851 w 924217"/>
              <a:gd name="connsiteY0" fmla="*/ 137455 h 229615"/>
              <a:gd name="connsiteX1" fmla="*/ 306851 w 924217"/>
              <a:gd name="connsiteY1" fmla="*/ 175680 h 229615"/>
              <a:gd name="connsiteX2" fmla="*/ 383040 w 924217"/>
              <a:gd name="connsiteY2" fmla="*/ 175680 h 229615"/>
              <a:gd name="connsiteX3" fmla="*/ 402153 w 924217"/>
              <a:gd name="connsiteY3" fmla="*/ 156305 h 229615"/>
              <a:gd name="connsiteX4" fmla="*/ 385134 w 924217"/>
              <a:gd name="connsiteY4" fmla="*/ 137455 h 229615"/>
              <a:gd name="connsiteX5" fmla="*/ 384873 w 924217"/>
              <a:gd name="connsiteY5" fmla="*/ 137455 h 229615"/>
              <a:gd name="connsiteX6" fmla="*/ 384611 w 924217"/>
              <a:gd name="connsiteY6" fmla="*/ 137455 h 229615"/>
              <a:gd name="connsiteX7" fmla="*/ 539868 w 924217"/>
              <a:gd name="connsiteY7" fmla="*/ 50530 h 229615"/>
              <a:gd name="connsiteX8" fmla="*/ 539868 w 924217"/>
              <a:gd name="connsiteY8" fmla="*/ 87185 h 229615"/>
              <a:gd name="connsiteX9" fmla="*/ 618414 w 924217"/>
              <a:gd name="connsiteY9" fmla="*/ 87185 h 229615"/>
              <a:gd name="connsiteX10" fmla="*/ 636479 w 924217"/>
              <a:gd name="connsiteY10" fmla="*/ 71476 h 229615"/>
              <a:gd name="connsiteX11" fmla="*/ 636218 w 924217"/>
              <a:gd name="connsiteY11" fmla="*/ 71476 h 229615"/>
              <a:gd name="connsiteX12" fmla="*/ 636218 w 924217"/>
              <a:gd name="connsiteY12" fmla="*/ 66501 h 229615"/>
              <a:gd name="connsiteX13" fmla="*/ 618414 w 924217"/>
              <a:gd name="connsiteY13" fmla="*/ 50530 h 229615"/>
              <a:gd name="connsiteX14" fmla="*/ 306589 w 924217"/>
              <a:gd name="connsiteY14" fmla="*/ 49745 h 229615"/>
              <a:gd name="connsiteX15" fmla="*/ 306851 w 924217"/>
              <a:gd name="connsiteY15" fmla="*/ 87447 h 229615"/>
              <a:gd name="connsiteX16" fmla="*/ 386443 w 924217"/>
              <a:gd name="connsiteY16" fmla="*/ 87185 h 229615"/>
              <a:gd name="connsiteX17" fmla="*/ 402676 w 924217"/>
              <a:gd name="connsiteY17" fmla="*/ 68073 h 229615"/>
              <a:gd name="connsiteX18" fmla="*/ 386967 w 924217"/>
              <a:gd name="connsiteY18" fmla="*/ 49745 h 229615"/>
              <a:gd name="connsiteX19" fmla="*/ 386705 w 924217"/>
              <a:gd name="connsiteY19" fmla="*/ 49745 h 229615"/>
              <a:gd name="connsiteX20" fmla="*/ 386443 w 924217"/>
              <a:gd name="connsiteY20" fmla="*/ 49745 h 229615"/>
              <a:gd name="connsiteX21" fmla="*/ 484363 w 924217"/>
              <a:gd name="connsiteY21" fmla="*/ 261 h 229615"/>
              <a:gd name="connsiteX22" fmla="*/ 606108 w 924217"/>
              <a:gd name="connsiteY22" fmla="*/ 261 h 229615"/>
              <a:gd name="connsiteX23" fmla="*/ 688581 w 924217"/>
              <a:gd name="connsiteY23" fmla="*/ 60479 h 229615"/>
              <a:gd name="connsiteX24" fmla="*/ 654807 w 924217"/>
              <a:gd name="connsiteY24" fmla="*/ 111010 h 229615"/>
              <a:gd name="connsiteX25" fmla="*/ 687796 w 924217"/>
              <a:gd name="connsiteY25" fmla="*/ 155519 h 229615"/>
              <a:gd name="connsiteX26" fmla="*/ 687796 w 924217"/>
              <a:gd name="connsiteY26" fmla="*/ 229614 h 229615"/>
              <a:gd name="connsiteX27" fmla="*/ 633076 w 924217"/>
              <a:gd name="connsiteY27" fmla="*/ 229614 h 229615"/>
              <a:gd name="connsiteX28" fmla="*/ 633076 w 924217"/>
              <a:gd name="connsiteY28" fmla="*/ 169396 h 229615"/>
              <a:gd name="connsiteX29" fmla="*/ 601658 w 924217"/>
              <a:gd name="connsiteY29" fmla="*/ 136930 h 229615"/>
              <a:gd name="connsiteX30" fmla="*/ 540130 w 924217"/>
              <a:gd name="connsiteY30" fmla="*/ 136930 h 229615"/>
              <a:gd name="connsiteX31" fmla="*/ 540130 w 924217"/>
              <a:gd name="connsiteY31" fmla="*/ 229614 h 229615"/>
              <a:gd name="connsiteX32" fmla="*/ 484363 w 924217"/>
              <a:gd name="connsiteY32" fmla="*/ 229614 h 229615"/>
              <a:gd name="connsiteX33" fmla="*/ 722879 w 924217"/>
              <a:gd name="connsiteY33" fmla="*/ 0 h 229615"/>
              <a:gd name="connsiteX34" fmla="*/ 923955 w 924217"/>
              <a:gd name="connsiteY34" fmla="*/ 0 h 229615"/>
              <a:gd name="connsiteX35" fmla="*/ 923955 w 924217"/>
              <a:gd name="connsiteY35" fmla="*/ 50007 h 229615"/>
              <a:gd name="connsiteX36" fmla="*/ 778908 w 924217"/>
              <a:gd name="connsiteY36" fmla="*/ 50007 h 229615"/>
              <a:gd name="connsiteX37" fmla="*/ 779170 w 924217"/>
              <a:gd name="connsiteY37" fmla="*/ 86924 h 229615"/>
              <a:gd name="connsiteX38" fmla="*/ 909817 w 924217"/>
              <a:gd name="connsiteY38" fmla="*/ 86924 h 229615"/>
              <a:gd name="connsiteX39" fmla="*/ 909817 w 924217"/>
              <a:gd name="connsiteY39" fmla="*/ 137193 h 229615"/>
              <a:gd name="connsiteX40" fmla="*/ 779170 w 924217"/>
              <a:gd name="connsiteY40" fmla="*/ 137193 h 229615"/>
              <a:gd name="connsiteX41" fmla="*/ 779170 w 924217"/>
              <a:gd name="connsiteY41" fmla="*/ 177251 h 229615"/>
              <a:gd name="connsiteX42" fmla="*/ 924217 w 924217"/>
              <a:gd name="connsiteY42" fmla="*/ 177251 h 229615"/>
              <a:gd name="connsiteX43" fmla="*/ 924217 w 924217"/>
              <a:gd name="connsiteY43" fmla="*/ 229615 h 229615"/>
              <a:gd name="connsiteX44" fmla="*/ 723141 w 924217"/>
              <a:gd name="connsiteY44" fmla="*/ 229615 h 229615"/>
              <a:gd name="connsiteX45" fmla="*/ 722879 w 924217"/>
              <a:gd name="connsiteY45" fmla="*/ 0 h 229615"/>
              <a:gd name="connsiteX46" fmla="*/ 250298 w 924217"/>
              <a:gd name="connsiteY46" fmla="*/ 0 h 229615"/>
              <a:gd name="connsiteX47" fmla="*/ 369163 w 924217"/>
              <a:gd name="connsiteY47" fmla="*/ 0 h 229615"/>
              <a:gd name="connsiteX48" fmla="*/ 454254 w 924217"/>
              <a:gd name="connsiteY48" fmla="*/ 56815 h 229615"/>
              <a:gd name="connsiteX49" fmla="*/ 419956 w 924217"/>
              <a:gd name="connsiteY49" fmla="*/ 111011 h 229615"/>
              <a:gd name="connsiteX50" fmla="*/ 456611 w 924217"/>
              <a:gd name="connsiteY50" fmla="*/ 163113 h 229615"/>
              <a:gd name="connsiteX51" fmla="*/ 368902 w 924217"/>
              <a:gd name="connsiteY51" fmla="*/ 229091 h 229615"/>
              <a:gd name="connsiteX52" fmla="*/ 250298 w 924217"/>
              <a:gd name="connsiteY52" fmla="*/ 229091 h 229615"/>
              <a:gd name="connsiteX53" fmla="*/ 250298 w 924217"/>
              <a:gd name="connsiteY53" fmla="*/ 0 h 229615"/>
              <a:gd name="connsiteX54" fmla="*/ 213644 w 924217"/>
              <a:gd name="connsiteY54" fmla="*/ 0 h 229615"/>
              <a:gd name="connsiteX55" fmla="*/ 215476 w 924217"/>
              <a:gd name="connsiteY55" fmla="*/ 0 h 229615"/>
              <a:gd name="connsiteX56" fmla="*/ 215215 w 924217"/>
              <a:gd name="connsiteY56" fmla="*/ 52102 h 229615"/>
              <a:gd name="connsiteX57" fmla="*/ 213382 w 924217"/>
              <a:gd name="connsiteY57" fmla="*/ 52102 h 229615"/>
              <a:gd name="connsiteX58" fmla="*/ 109702 w 924217"/>
              <a:gd name="connsiteY58" fmla="*/ 53149 h 229615"/>
              <a:gd name="connsiteX59" fmla="*/ 54720 w 924217"/>
              <a:gd name="connsiteY59" fmla="*/ 112582 h 229615"/>
              <a:gd name="connsiteX60" fmla="*/ 111535 w 924217"/>
              <a:gd name="connsiteY60" fmla="*/ 173062 h 229615"/>
              <a:gd name="connsiteX61" fmla="*/ 213905 w 924217"/>
              <a:gd name="connsiteY61" fmla="*/ 174109 h 229615"/>
              <a:gd name="connsiteX62" fmla="*/ 216000 w 924217"/>
              <a:gd name="connsiteY62" fmla="*/ 174109 h 229615"/>
              <a:gd name="connsiteX63" fmla="*/ 215738 w 924217"/>
              <a:gd name="connsiteY63" fmla="*/ 229353 h 229615"/>
              <a:gd name="connsiteX64" fmla="*/ 213905 w 924217"/>
              <a:gd name="connsiteY64" fmla="*/ 229353 h 229615"/>
              <a:gd name="connsiteX65" fmla="*/ 145309 w 924217"/>
              <a:gd name="connsiteY65" fmla="*/ 229353 h 229615"/>
              <a:gd name="connsiteX66" fmla="*/ 126720 w 924217"/>
              <a:gd name="connsiteY66" fmla="*/ 229091 h 229615"/>
              <a:gd name="connsiteX67" fmla="*/ 64407 w 924217"/>
              <a:gd name="connsiteY67" fmla="*/ 216524 h 229615"/>
              <a:gd name="connsiteX68" fmla="*/ 1833 w 924217"/>
              <a:gd name="connsiteY68" fmla="*/ 137455 h 229615"/>
              <a:gd name="connsiteX69" fmla="*/ 0 w 924217"/>
              <a:gd name="connsiteY69" fmla="*/ 114415 h 229615"/>
              <a:gd name="connsiteX70" fmla="*/ 22516 w 924217"/>
              <a:gd name="connsiteY70" fmla="*/ 46080 h 229615"/>
              <a:gd name="connsiteX71" fmla="*/ 67811 w 924217"/>
              <a:gd name="connsiteY71" fmla="*/ 9687 h 229615"/>
              <a:gd name="connsiteX72" fmla="*/ 115462 w 924217"/>
              <a:gd name="connsiteY72" fmla="*/ 262 h 22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924217" h="229615">
                <a:moveTo>
                  <a:pt x="306851" y="137455"/>
                </a:moveTo>
                <a:lnTo>
                  <a:pt x="306851" y="175680"/>
                </a:lnTo>
                <a:lnTo>
                  <a:pt x="383040" y="175680"/>
                </a:lnTo>
                <a:cubicBezTo>
                  <a:pt x="393251" y="175680"/>
                  <a:pt x="402153" y="166778"/>
                  <a:pt x="402153" y="156305"/>
                </a:cubicBezTo>
                <a:cubicBezTo>
                  <a:pt x="402153" y="146618"/>
                  <a:pt x="394822" y="138502"/>
                  <a:pt x="385134" y="137455"/>
                </a:cubicBezTo>
                <a:lnTo>
                  <a:pt x="384873" y="137455"/>
                </a:lnTo>
                <a:lnTo>
                  <a:pt x="384611" y="137455"/>
                </a:lnTo>
                <a:close/>
                <a:moveTo>
                  <a:pt x="539868" y="50530"/>
                </a:moveTo>
                <a:lnTo>
                  <a:pt x="539868" y="87185"/>
                </a:lnTo>
                <a:lnTo>
                  <a:pt x="618414" y="87185"/>
                </a:lnTo>
                <a:cubicBezTo>
                  <a:pt x="627839" y="87185"/>
                  <a:pt x="635432" y="79068"/>
                  <a:pt x="636479" y="71476"/>
                </a:cubicBezTo>
                <a:lnTo>
                  <a:pt x="636218" y="71476"/>
                </a:lnTo>
                <a:lnTo>
                  <a:pt x="636218" y="66501"/>
                </a:lnTo>
                <a:cubicBezTo>
                  <a:pt x="635170" y="57337"/>
                  <a:pt x="627839" y="50530"/>
                  <a:pt x="618414" y="50530"/>
                </a:cubicBezTo>
                <a:close/>
                <a:moveTo>
                  <a:pt x="306589" y="49745"/>
                </a:moveTo>
                <a:lnTo>
                  <a:pt x="306851" y="87447"/>
                </a:lnTo>
                <a:lnTo>
                  <a:pt x="386443" y="87185"/>
                </a:lnTo>
                <a:cubicBezTo>
                  <a:pt x="395607" y="85876"/>
                  <a:pt x="402676" y="77236"/>
                  <a:pt x="402676" y="68073"/>
                </a:cubicBezTo>
                <a:cubicBezTo>
                  <a:pt x="402676" y="58909"/>
                  <a:pt x="396131" y="51316"/>
                  <a:pt x="386967" y="49745"/>
                </a:cubicBezTo>
                <a:lnTo>
                  <a:pt x="386705" y="49745"/>
                </a:lnTo>
                <a:lnTo>
                  <a:pt x="386443" y="49745"/>
                </a:lnTo>
                <a:close/>
                <a:moveTo>
                  <a:pt x="484363" y="261"/>
                </a:moveTo>
                <a:lnTo>
                  <a:pt x="606108" y="261"/>
                </a:lnTo>
                <a:cubicBezTo>
                  <a:pt x="645643" y="261"/>
                  <a:pt x="688319" y="10734"/>
                  <a:pt x="688581" y="60479"/>
                </a:cubicBezTo>
                <a:cubicBezTo>
                  <a:pt x="688581" y="100799"/>
                  <a:pt x="654807" y="111010"/>
                  <a:pt x="654807" y="111010"/>
                </a:cubicBezTo>
                <a:cubicBezTo>
                  <a:pt x="654807" y="111010"/>
                  <a:pt x="687796" y="121221"/>
                  <a:pt x="687796" y="155519"/>
                </a:cubicBezTo>
                <a:lnTo>
                  <a:pt x="687796" y="229614"/>
                </a:lnTo>
                <a:lnTo>
                  <a:pt x="633076" y="229614"/>
                </a:lnTo>
                <a:lnTo>
                  <a:pt x="633076" y="169396"/>
                </a:lnTo>
                <a:cubicBezTo>
                  <a:pt x="633076" y="151592"/>
                  <a:pt x="619199" y="137192"/>
                  <a:pt x="601658" y="136930"/>
                </a:cubicBezTo>
                <a:cubicBezTo>
                  <a:pt x="601658" y="136930"/>
                  <a:pt x="540130" y="136930"/>
                  <a:pt x="540130" y="136930"/>
                </a:cubicBezTo>
                <a:cubicBezTo>
                  <a:pt x="540130" y="136930"/>
                  <a:pt x="540130" y="223068"/>
                  <a:pt x="540130" y="229614"/>
                </a:cubicBezTo>
                <a:cubicBezTo>
                  <a:pt x="534370" y="229614"/>
                  <a:pt x="484363" y="229614"/>
                  <a:pt x="484363" y="229614"/>
                </a:cubicBezTo>
                <a:close/>
                <a:moveTo>
                  <a:pt x="722879" y="0"/>
                </a:moveTo>
                <a:lnTo>
                  <a:pt x="923955" y="0"/>
                </a:lnTo>
                <a:lnTo>
                  <a:pt x="923955" y="50007"/>
                </a:lnTo>
                <a:lnTo>
                  <a:pt x="778908" y="50007"/>
                </a:lnTo>
                <a:lnTo>
                  <a:pt x="779170" y="86924"/>
                </a:lnTo>
                <a:lnTo>
                  <a:pt x="909817" y="86924"/>
                </a:lnTo>
                <a:lnTo>
                  <a:pt x="909817" y="137193"/>
                </a:lnTo>
                <a:lnTo>
                  <a:pt x="779170" y="137193"/>
                </a:lnTo>
                <a:lnTo>
                  <a:pt x="779170" y="177251"/>
                </a:lnTo>
                <a:lnTo>
                  <a:pt x="924217" y="177251"/>
                </a:lnTo>
                <a:lnTo>
                  <a:pt x="924217" y="229615"/>
                </a:lnTo>
                <a:cubicBezTo>
                  <a:pt x="924217" y="229615"/>
                  <a:pt x="729948" y="229615"/>
                  <a:pt x="723141" y="229615"/>
                </a:cubicBezTo>
                <a:cubicBezTo>
                  <a:pt x="722879" y="223069"/>
                  <a:pt x="722879" y="0"/>
                  <a:pt x="722879" y="0"/>
                </a:cubicBezTo>
                <a:close/>
                <a:moveTo>
                  <a:pt x="250298" y="0"/>
                </a:moveTo>
                <a:lnTo>
                  <a:pt x="369163" y="0"/>
                </a:lnTo>
                <a:cubicBezTo>
                  <a:pt x="432785" y="0"/>
                  <a:pt x="454516" y="26444"/>
                  <a:pt x="454254" y="56815"/>
                </a:cubicBezTo>
                <a:cubicBezTo>
                  <a:pt x="454516" y="76713"/>
                  <a:pt x="449280" y="101324"/>
                  <a:pt x="419956" y="111011"/>
                </a:cubicBezTo>
                <a:cubicBezTo>
                  <a:pt x="419956" y="111011"/>
                  <a:pt x="456611" y="123316"/>
                  <a:pt x="456611" y="163113"/>
                </a:cubicBezTo>
                <a:cubicBezTo>
                  <a:pt x="456611" y="196102"/>
                  <a:pt x="433047" y="229091"/>
                  <a:pt x="368902" y="229091"/>
                </a:cubicBezTo>
                <a:cubicBezTo>
                  <a:pt x="368902" y="229091"/>
                  <a:pt x="256843" y="229091"/>
                  <a:pt x="250298" y="229091"/>
                </a:cubicBezTo>
                <a:cubicBezTo>
                  <a:pt x="250298" y="222545"/>
                  <a:pt x="250298" y="0"/>
                  <a:pt x="250298" y="0"/>
                </a:cubicBezTo>
                <a:close/>
                <a:moveTo>
                  <a:pt x="213644" y="0"/>
                </a:moveTo>
                <a:lnTo>
                  <a:pt x="215476" y="0"/>
                </a:lnTo>
                <a:lnTo>
                  <a:pt x="215215" y="52102"/>
                </a:lnTo>
                <a:lnTo>
                  <a:pt x="213382" y="52102"/>
                </a:lnTo>
                <a:cubicBezTo>
                  <a:pt x="212596" y="52102"/>
                  <a:pt x="125673" y="51055"/>
                  <a:pt x="109702" y="53149"/>
                </a:cubicBezTo>
                <a:cubicBezTo>
                  <a:pt x="76189" y="57600"/>
                  <a:pt x="54720" y="80902"/>
                  <a:pt x="54720" y="112582"/>
                </a:cubicBezTo>
                <a:cubicBezTo>
                  <a:pt x="54720" y="137978"/>
                  <a:pt x="69644" y="168873"/>
                  <a:pt x="111535" y="173062"/>
                </a:cubicBezTo>
                <a:cubicBezTo>
                  <a:pt x="137716" y="175680"/>
                  <a:pt x="213120" y="174109"/>
                  <a:pt x="213905" y="174109"/>
                </a:cubicBezTo>
                <a:lnTo>
                  <a:pt x="216000" y="174109"/>
                </a:lnTo>
                <a:lnTo>
                  <a:pt x="215738" y="229353"/>
                </a:lnTo>
                <a:lnTo>
                  <a:pt x="213905" y="229353"/>
                </a:lnTo>
                <a:cubicBezTo>
                  <a:pt x="213905" y="229353"/>
                  <a:pt x="145309" y="229353"/>
                  <a:pt x="145309" y="229353"/>
                </a:cubicBezTo>
                <a:cubicBezTo>
                  <a:pt x="145309" y="229353"/>
                  <a:pt x="126720" y="229091"/>
                  <a:pt x="126720" y="229091"/>
                </a:cubicBezTo>
                <a:cubicBezTo>
                  <a:pt x="92422" y="227258"/>
                  <a:pt x="75404" y="221498"/>
                  <a:pt x="64407" y="216524"/>
                </a:cubicBezTo>
                <a:cubicBezTo>
                  <a:pt x="31680" y="201076"/>
                  <a:pt x="8902" y="172276"/>
                  <a:pt x="1833" y="137455"/>
                </a:cubicBezTo>
                <a:cubicBezTo>
                  <a:pt x="524" y="129862"/>
                  <a:pt x="0" y="122269"/>
                  <a:pt x="0" y="114415"/>
                </a:cubicBezTo>
                <a:cubicBezTo>
                  <a:pt x="0" y="89542"/>
                  <a:pt x="7855" y="65978"/>
                  <a:pt x="22516" y="46080"/>
                </a:cubicBezTo>
                <a:cubicBezTo>
                  <a:pt x="34298" y="30371"/>
                  <a:pt x="49745" y="17804"/>
                  <a:pt x="67811" y="9687"/>
                </a:cubicBezTo>
                <a:cubicBezTo>
                  <a:pt x="86400" y="2095"/>
                  <a:pt x="104465" y="1047"/>
                  <a:pt x="115462" y="262"/>
                </a:cubicBezTo>
                <a:close/>
              </a:path>
            </a:pathLst>
          </a:custGeom>
          <a:solidFill>
            <a:schemeClr val="bg1"/>
          </a:solidFill>
          <a:ln w="2617" cap="flat">
            <a:noFill/>
            <a:prstDash val="solid"/>
            <a:miter/>
          </a:ln>
        </p:spPr>
        <p:txBody>
          <a:bodyPr wrap="square" rtlCol="0" anchor="ctr">
            <a:noAutofit/>
          </a:bodyPr>
          <a:lstStyle/>
          <a:p>
            <a:endParaRPr lang="en-GB" dirty="0"/>
          </a:p>
        </p:txBody>
      </p:sp>
      <p:sp>
        <p:nvSpPr>
          <p:cNvPr id="17" name="Multiple languages">
            <a:extLst>
              <a:ext uri="{FF2B5EF4-FFF2-40B4-BE49-F238E27FC236}">
                <a16:creationId xmlns:a16="http://schemas.microsoft.com/office/drawing/2014/main" id="{3B14E26C-344D-4D3B-8358-8B98BB4E3322}"/>
              </a:ext>
            </a:extLst>
          </p:cNvPr>
          <p:cNvSpPr txBox="1">
            <a:spLocks/>
          </p:cNvSpPr>
          <p:nvPr userDrawn="1"/>
        </p:nvSpPr>
        <p:spPr>
          <a:xfrm>
            <a:off x="407035" y="1269321"/>
            <a:ext cx="11373804" cy="523875"/>
          </a:xfrm>
          <a:prstGeom prst="rect">
            <a:avLst/>
          </a:prstGeom>
          <a:noFill/>
          <a:ln w="9525" algn="ctr">
            <a:noFill/>
            <a:miter lim="800000"/>
            <a:headEnd/>
            <a:tailEnd/>
          </a:ln>
        </p:spPr>
        <p:txBody>
          <a:bodyPr vert="horz" wrap="square" lIns="0" tIns="0" rIns="0" bIns="0" numCol="1" anchor="t" anchorCtr="0" compatLnSpc="1">
            <a:prstTxWarp prst="textNoShape">
              <a:avLst/>
            </a:prstTxWarp>
            <a:noAutofit/>
          </a:bodyPr>
          <a:lstStyle>
            <a:lvl1pPr algn="l" defTabSz="914400" rtl="0" eaLnBrk="1" latinLnBrk="0" hangingPunct="1">
              <a:spcBef>
                <a:spcPct val="0"/>
              </a:spcBef>
              <a:buNone/>
              <a:defRPr kumimoji="0" lang="en-US" sz="2600" b="0" i="0" u="none" strike="noStrike" kern="0" cap="none" spc="0" normalizeH="0" baseline="0" noProof="0" dirty="0">
                <a:ln>
                  <a:noFill/>
                </a:ln>
                <a:solidFill>
                  <a:srgbClr val="006A4D"/>
                </a:solidFill>
                <a:effectLst/>
                <a:uLnTx/>
                <a:uFillTx/>
                <a:latin typeface="+mj-lt"/>
                <a:ea typeface="+mj-ea"/>
                <a:cs typeface="+mj-cs"/>
              </a:defRPr>
            </a:lvl1pPr>
          </a:lstStyle>
          <a:p>
            <a:pPr marL="0" marR="0" lvl="0" indent="0" algn="ctr" defTabSz="914620" rtl="0" eaLnBrk="1" fontAlgn="auto" latinLnBrk="0" hangingPunct="1">
              <a:lnSpc>
                <a:spcPct val="25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CAD1D3"/>
                </a:solidFill>
                <a:effectLst/>
                <a:uLnTx/>
                <a:uFillTx/>
                <a:latin typeface="Calibre"/>
                <a:ea typeface="+mn-ea"/>
                <a:cs typeface="+mn-cs"/>
              </a:rPr>
              <a:t>Gracias   </a:t>
            </a:r>
            <a:r>
              <a:rPr kumimoji="0" lang="en-GB" sz="1200" b="0" i="0" u="none" strike="noStrike" kern="1200" cap="none" spc="0" normalizeH="0" baseline="0" noProof="0" dirty="0" err="1">
                <a:ln>
                  <a:noFill/>
                </a:ln>
                <a:solidFill>
                  <a:srgbClr val="CAD1D3"/>
                </a:solidFill>
                <a:effectLst/>
                <a:uLnTx/>
                <a:uFillTx/>
                <a:latin typeface="Calibre"/>
                <a:ea typeface="+mn-ea"/>
                <a:cs typeface="+mn-cs"/>
              </a:rPr>
              <a:t>ধন্যবাদ</a:t>
            </a:r>
            <a:r>
              <a:rPr kumimoji="0" lang="en-GB" sz="1200" b="0" i="0" u="none" strike="noStrike" kern="1200" cap="none" spc="0" normalizeH="0" baseline="0" noProof="0" dirty="0">
                <a:ln>
                  <a:noFill/>
                </a:ln>
                <a:solidFill>
                  <a:srgbClr val="CAD1D3"/>
                </a:solidFill>
                <a:effectLst/>
                <a:uLnTx/>
                <a:uFillTx/>
                <a:latin typeface="Calibre"/>
                <a:ea typeface="+mn-ea"/>
                <a:cs typeface="+mn-cs"/>
              </a:rPr>
              <a:t>   </a:t>
            </a:r>
            <a:r>
              <a:rPr kumimoji="0" lang="en-GB" altLang="ja-JP" sz="1200" b="0" i="0" u="none" strike="noStrike" kern="1200" cap="none" spc="0" normalizeH="0" baseline="0" noProof="0" dirty="0">
                <a:ln>
                  <a:noFill/>
                </a:ln>
                <a:solidFill>
                  <a:srgbClr val="CAD1D3"/>
                </a:solidFill>
                <a:effectLst/>
                <a:uLnTx/>
                <a:uFillTx/>
                <a:latin typeface="Calibre"/>
                <a:ea typeface="+mn-ea"/>
                <a:cs typeface="+mn-cs"/>
              </a:rPr>
              <a:t>Salamat </a:t>
            </a:r>
            <a:r>
              <a:rPr kumimoji="0" lang="en-GB" sz="1200" b="0" i="0" u="none" strike="noStrike" kern="1200" cap="none" spc="0" normalizeH="0" baseline="0" noProof="0" dirty="0">
                <a:ln>
                  <a:noFill/>
                </a:ln>
                <a:solidFill>
                  <a:srgbClr val="CAD1D3"/>
                </a:solidFill>
                <a:effectLst/>
                <a:uLnTx/>
                <a:uFillTx/>
                <a:latin typeface="Calibre"/>
                <a:ea typeface="+mn-ea"/>
                <a:cs typeface="+mn-cs"/>
              </a:rPr>
              <a:t>  </a:t>
            </a:r>
            <a:r>
              <a:rPr kumimoji="0" lang="en-GB" sz="1200" b="0" i="0" u="none" strike="noStrike" kern="1200" cap="none" spc="0" normalizeH="0" baseline="0" noProof="0" dirty="0" err="1">
                <a:ln>
                  <a:noFill/>
                </a:ln>
                <a:solidFill>
                  <a:srgbClr val="CAD1D3"/>
                </a:solidFill>
                <a:effectLst/>
                <a:uLnTx/>
                <a:uFillTx/>
                <a:latin typeface="Calibre"/>
                <a:ea typeface="+mn-ea"/>
                <a:cs typeface="+mn-cs"/>
              </a:rPr>
              <a:t>धन्यवाद</a:t>
            </a:r>
            <a:r>
              <a:rPr kumimoji="0" lang="en-GB" sz="1200" b="0" i="0" u="none" strike="noStrike" kern="1200" cap="none" spc="0" normalizeH="0" baseline="0" noProof="0" dirty="0">
                <a:ln>
                  <a:noFill/>
                </a:ln>
                <a:solidFill>
                  <a:srgbClr val="CAD1D3"/>
                </a:solidFill>
                <a:effectLst/>
                <a:uLnTx/>
                <a:uFillTx/>
                <a:latin typeface="Calibre"/>
                <a:ea typeface="+mn-ea"/>
                <a:cs typeface="+mn-cs"/>
              </a:rPr>
              <a:t>   </a:t>
            </a:r>
            <a:r>
              <a:rPr kumimoji="0" lang="en-GB" altLang="ja-JP" sz="1200" b="0" i="0" u="none" strike="noStrike" kern="1200" cap="none" spc="0" normalizeH="0" baseline="0" noProof="0" dirty="0" err="1">
                <a:ln>
                  <a:noFill/>
                </a:ln>
                <a:solidFill>
                  <a:srgbClr val="CAD1D3"/>
                </a:solidFill>
                <a:effectLst/>
                <a:uLnTx/>
                <a:uFillTx/>
                <a:latin typeface="Calibre"/>
                <a:ea typeface="+mn-ea"/>
                <a:cs typeface="+mn-cs"/>
              </a:rPr>
              <a:t>Obrigado</a:t>
            </a:r>
            <a:r>
              <a:rPr kumimoji="0" lang="en-GB" sz="1200" b="0" i="0" u="none" strike="noStrike" kern="1200" cap="none" spc="0" normalizeH="0" baseline="0" noProof="0" dirty="0">
                <a:ln>
                  <a:noFill/>
                </a:ln>
                <a:solidFill>
                  <a:srgbClr val="CAD1D3"/>
                </a:solidFill>
                <a:effectLst/>
                <a:uLnTx/>
                <a:uFillTx/>
                <a:latin typeface="Calibre"/>
                <a:ea typeface="+mn-ea"/>
                <a:cs typeface="+mn-cs"/>
              </a:rPr>
              <a:t>   </a:t>
            </a:r>
            <a:r>
              <a:rPr kumimoji="0" lang="ja-JP" altLang="en-GB" sz="1200" b="0" i="0" u="none" strike="noStrike" kern="1200" cap="none" spc="0" normalizeH="0" baseline="0" noProof="0" dirty="0">
                <a:ln>
                  <a:noFill/>
                </a:ln>
                <a:solidFill>
                  <a:srgbClr val="CAD1D3"/>
                </a:solidFill>
                <a:effectLst/>
                <a:uLnTx/>
                <a:uFillTx/>
                <a:latin typeface="Calibre"/>
                <a:ea typeface="+mn-ea"/>
                <a:cs typeface="+mn-cs"/>
              </a:rPr>
              <a:t>謝謝</a:t>
            </a:r>
            <a:r>
              <a:rPr kumimoji="0" lang="en-GB" sz="1200" b="0" i="0" u="none" strike="noStrike" kern="1200" cap="none" spc="0" normalizeH="0" baseline="0" noProof="0" dirty="0">
                <a:ln>
                  <a:noFill/>
                </a:ln>
                <a:solidFill>
                  <a:srgbClr val="CAD1D3"/>
                </a:solidFill>
                <a:effectLst/>
                <a:uLnTx/>
                <a:uFillTx/>
                <a:latin typeface="Calibre"/>
                <a:ea typeface="+mn-ea"/>
                <a:cs typeface="+mn-cs"/>
              </a:rPr>
              <a:t>   </a:t>
            </a:r>
            <a:r>
              <a:rPr kumimoji="0" lang="en-GB" altLang="ja-JP" sz="1200" b="0" i="0" u="none" strike="noStrike" kern="1200" cap="none" spc="0" normalizeH="0" baseline="0" noProof="0" dirty="0" err="1">
                <a:ln>
                  <a:noFill/>
                </a:ln>
                <a:solidFill>
                  <a:srgbClr val="CAD1D3"/>
                </a:solidFill>
                <a:effectLst/>
                <a:uLnTx/>
                <a:uFillTx/>
                <a:latin typeface="Calibre"/>
                <a:ea typeface="+mn-ea"/>
                <a:cs typeface="+mn-cs"/>
              </a:rPr>
              <a:t>Спасибо</a:t>
            </a:r>
            <a:r>
              <a:rPr kumimoji="0" lang="en-GB" altLang="ja-JP" sz="1200" b="0" i="0" u="none" strike="noStrike" kern="1200" cap="none" spc="0" normalizeH="0" baseline="0" noProof="0" dirty="0">
                <a:ln>
                  <a:noFill/>
                </a:ln>
                <a:solidFill>
                  <a:srgbClr val="CAD1D3"/>
                </a:solidFill>
                <a:effectLst/>
                <a:uLnTx/>
                <a:uFillTx/>
                <a:latin typeface="Calibre"/>
                <a:ea typeface="+mn-ea"/>
                <a:cs typeface="+mn-cs"/>
              </a:rPr>
              <a:t> </a:t>
            </a:r>
            <a:r>
              <a:rPr kumimoji="0" lang="en-GB" sz="1200" b="0" i="0" u="none" strike="noStrike" kern="1200" cap="none" spc="0" normalizeH="0" baseline="0" noProof="0" dirty="0">
                <a:ln>
                  <a:noFill/>
                </a:ln>
                <a:solidFill>
                  <a:srgbClr val="CAD1D3"/>
                </a:solidFill>
                <a:effectLst/>
                <a:uLnTx/>
                <a:uFillTx/>
                <a:latin typeface="Calibre"/>
                <a:ea typeface="+mn-ea"/>
                <a:cs typeface="+mn-cs"/>
              </a:rPr>
              <a:t>  </a:t>
            </a:r>
            <a:r>
              <a:rPr kumimoji="0" lang="ko-KR" altLang="en-GB" sz="1000" b="1" i="0" u="none" strike="noStrike" kern="1200" cap="none" spc="0" normalizeH="0" baseline="0" noProof="0" dirty="0">
                <a:ln>
                  <a:noFill/>
                </a:ln>
                <a:solidFill>
                  <a:srgbClr val="CAD1D3"/>
                </a:solidFill>
                <a:effectLst/>
                <a:uLnTx/>
                <a:uFillTx/>
                <a:latin typeface="Calibre"/>
                <a:ea typeface="+mn-ea"/>
                <a:cs typeface="+mn-cs"/>
              </a:rPr>
              <a:t>감사합니다</a:t>
            </a:r>
            <a:r>
              <a:rPr kumimoji="0" lang="en-GB" sz="1000" b="0" i="0" u="none" strike="noStrike" kern="1200" cap="none" spc="0" normalizeH="0" baseline="0" noProof="0" dirty="0">
                <a:ln>
                  <a:noFill/>
                </a:ln>
                <a:solidFill>
                  <a:srgbClr val="CAD1D3"/>
                </a:solidFill>
                <a:effectLst/>
                <a:uLnTx/>
                <a:uFillTx/>
                <a:latin typeface="Calibre"/>
                <a:ea typeface="+mn-ea"/>
                <a:cs typeface="+mn-cs"/>
              </a:rPr>
              <a:t>   </a:t>
            </a:r>
            <a:r>
              <a:rPr kumimoji="0" lang="en-GB" sz="1200" b="0" i="0" u="none" strike="noStrike" kern="1200" cap="none" spc="0" normalizeH="0" baseline="0" noProof="0" dirty="0">
                <a:ln>
                  <a:noFill/>
                </a:ln>
                <a:solidFill>
                  <a:srgbClr val="CAD1D3"/>
                </a:solidFill>
                <a:effectLst/>
                <a:uLnTx/>
                <a:uFillTx/>
                <a:latin typeface="Calibre"/>
                <a:ea typeface="+mn-ea"/>
                <a:cs typeface="+mn-cs"/>
              </a:rPr>
              <a:t>Merci</a:t>
            </a:r>
            <a:r>
              <a:rPr kumimoji="0" lang="en-GB" sz="1200" b="0" i="0" u="none" strike="noStrike" kern="1200" cap="none" spc="0" normalizeH="0" baseline="0" noProof="0" dirty="0">
                <a:ln>
                  <a:noFill/>
                </a:ln>
                <a:solidFill>
                  <a:srgbClr val="CAD1D3"/>
                </a:solidFill>
                <a:effectLst/>
                <a:uLnTx/>
                <a:uFillTx/>
                <a:latin typeface="+mj-lt"/>
                <a:ea typeface="+mn-ea"/>
                <a:cs typeface="+mn-cs"/>
              </a:rPr>
              <a:t>  </a:t>
            </a:r>
            <a:r>
              <a:rPr kumimoji="0" lang="en-GB" sz="1200" b="0" i="0" u="none" strike="noStrike" kern="0" cap="none" spc="0" normalizeH="0" baseline="0" noProof="0" dirty="0" err="1">
                <a:ln>
                  <a:noFill/>
                </a:ln>
                <a:solidFill>
                  <a:srgbClr val="CAD1D3"/>
                </a:solidFill>
                <a:effectLst/>
                <a:uLnTx/>
                <a:uFillTx/>
                <a:latin typeface="Calibre"/>
                <a:ea typeface="+mn-ea"/>
                <a:cs typeface="+mn-cs"/>
              </a:rPr>
              <a:t>תודה</a:t>
            </a:r>
            <a:r>
              <a:rPr kumimoji="0" lang="en-GB" sz="200" b="0" i="0" u="none" strike="noStrike" kern="0" cap="none" spc="0" normalizeH="0" baseline="0" noProof="0" dirty="0" err="1">
                <a:ln>
                  <a:noFill/>
                </a:ln>
                <a:solidFill>
                  <a:srgbClr val="CAD1D3"/>
                </a:solidFill>
                <a:effectLst/>
                <a:uLnTx/>
                <a:uFillTx/>
                <a:latin typeface="Calibre"/>
                <a:ea typeface="+mn-ea"/>
                <a:cs typeface="+mn-cs"/>
              </a:rPr>
              <a:t>.</a:t>
            </a:r>
            <a:r>
              <a:rPr kumimoji="0" lang="en-GB" sz="1200" b="0" i="0" u="none" strike="noStrike" kern="1200" cap="none" spc="0" normalizeH="0" baseline="0" noProof="0" dirty="0" err="1">
                <a:ln>
                  <a:noFill/>
                </a:ln>
                <a:solidFill>
                  <a:srgbClr val="CAD1D3"/>
                </a:solidFill>
                <a:effectLst/>
                <a:uLnTx/>
                <a:uFillTx/>
                <a:latin typeface="Calibre"/>
                <a:ea typeface="+mn-ea"/>
                <a:cs typeface="+mn-cs"/>
              </a:rPr>
              <a:t>شکریہ</a:t>
            </a:r>
            <a:r>
              <a:rPr kumimoji="0" lang="en-GB" sz="1200" b="0" i="0" u="none" strike="noStrike" kern="1200" cap="none" spc="0" normalizeH="0" baseline="0" noProof="0" dirty="0">
                <a:ln>
                  <a:noFill/>
                </a:ln>
                <a:solidFill>
                  <a:srgbClr val="CAD1D3"/>
                </a:solidFill>
                <a:effectLst/>
                <a:uLnTx/>
                <a:uFillTx/>
                <a:latin typeface="+mj-lt"/>
                <a:ea typeface="+mn-ea"/>
                <a:cs typeface="+mn-cs"/>
              </a:rPr>
              <a:t> </a:t>
            </a:r>
            <a:r>
              <a:rPr kumimoji="0" lang="en-GB" sz="1200" b="0" i="0" u="none" strike="noStrike" kern="1200" cap="none" spc="0" normalizeH="0" baseline="0" noProof="0" dirty="0">
                <a:ln>
                  <a:noFill/>
                </a:ln>
                <a:solidFill>
                  <a:srgbClr val="CAD1D3"/>
                </a:solidFill>
                <a:effectLst/>
                <a:uLnTx/>
                <a:uFillTx/>
                <a:latin typeface="+mj-lt"/>
                <a:ea typeface="+mj-ea"/>
                <a:cs typeface="+mj-cs"/>
              </a:rPr>
              <a:t> </a:t>
            </a:r>
            <a:r>
              <a:rPr kumimoji="0" lang="en-GB" sz="1200" b="0" i="0" u="none" strike="noStrike" kern="1200" cap="none" spc="0" normalizeH="0" baseline="0" noProof="0" dirty="0">
                <a:ln>
                  <a:noFill/>
                </a:ln>
                <a:solidFill>
                  <a:srgbClr val="CAD1D3"/>
                </a:solidFill>
                <a:effectLst/>
                <a:uLnTx/>
                <a:uFillTx/>
                <a:latin typeface="Calibre"/>
                <a:ea typeface="+mn-ea"/>
                <a:cs typeface="+mn-cs"/>
              </a:rPr>
              <a:t> </a:t>
            </a:r>
            <a:r>
              <a:rPr kumimoji="0" lang="en-GB" sz="1200" b="0" i="0" u="none" strike="noStrike" kern="1200" cap="none" spc="0" normalizeH="0" baseline="0" noProof="0" dirty="0">
                <a:ln>
                  <a:noFill/>
                </a:ln>
                <a:solidFill>
                  <a:srgbClr val="003F2D"/>
                </a:solidFill>
                <a:effectLst/>
                <a:uLnTx/>
                <a:uFillTx/>
                <a:latin typeface="Calibre"/>
                <a:ea typeface="+mn-ea"/>
                <a:cs typeface="+mn-cs"/>
              </a:rPr>
              <a:t>.</a:t>
            </a:r>
            <a:r>
              <a:rPr kumimoji="0" lang="en-GB" sz="1200" b="0" i="0" u="none" strike="noStrike" kern="1200" cap="none" spc="0" normalizeH="0" baseline="0" noProof="0" dirty="0">
                <a:ln>
                  <a:noFill/>
                </a:ln>
                <a:solidFill>
                  <a:srgbClr val="CAD1D3"/>
                </a:solidFill>
                <a:effectLst/>
                <a:uLnTx/>
                <a:uFillTx/>
                <a:latin typeface="Calibre"/>
                <a:ea typeface="+mn-ea"/>
                <a:cs typeface="+mn-cs"/>
              </a:rPr>
              <a:t>  Danke   </a:t>
            </a:r>
            <a:r>
              <a:rPr kumimoji="0" lang="ja-JP" altLang="en-GB" sz="1000" b="0" i="0" u="none" strike="noStrike" kern="1200" cap="none" spc="-350" normalizeH="0" baseline="0" noProof="0" dirty="0">
                <a:ln>
                  <a:noFill/>
                </a:ln>
                <a:solidFill>
                  <a:srgbClr val="CAD1D3"/>
                </a:solidFill>
                <a:effectLst/>
                <a:uLnTx/>
                <a:uFillTx/>
                <a:latin typeface="Calibre"/>
                <a:ea typeface="+mn-ea"/>
                <a:cs typeface="+mn-cs"/>
              </a:rPr>
              <a:t>ありがとう</a:t>
            </a:r>
            <a:r>
              <a:rPr kumimoji="0" lang="en-GB" sz="1000" b="0" i="0" u="none" strike="noStrike" kern="1200" cap="none" spc="0" normalizeH="0" baseline="0" noProof="0" dirty="0">
                <a:ln>
                  <a:noFill/>
                </a:ln>
                <a:solidFill>
                  <a:srgbClr val="CAD1D3"/>
                </a:solidFill>
                <a:effectLst/>
                <a:uLnTx/>
                <a:uFillTx/>
                <a:latin typeface="Calibre"/>
                <a:ea typeface="+mn-ea"/>
                <a:cs typeface="+mn-cs"/>
              </a:rPr>
              <a:t>   </a:t>
            </a:r>
            <a:r>
              <a:rPr kumimoji="0" lang="en-GB" sz="1200" b="0" i="0" u="none" strike="noStrike" kern="1200" cap="none" spc="0" normalizeH="0" baseline="0" noProof="0" dirty="0" err="1">
                <a:ln>
                  <a:noFill/>
                </a:ln>
                <a:solidFill>
                  <a:srgbClr val="CAD1D3"/>
                </a:solidFill>
                <a:effectLst/>
                <a:uLnTx/>
                <a:uFillTx/>
                <a:latin typeface="Calibre"/>
                <a:ea typeface="+mn-ea"/>
                <a:cs typeface="+mn-cs"/>
              </a:rPr>
              <a:t>Terima</a:t>
            </a:r>
            <a:r>
              <a:rPr kumimoji="0" lang="en-GB" sz="1200" b="0" i="0" u="none" strike="noStrike" kern="1200" cap="none" spc="0" normalizeH="0" baseline="0" noProof="0" dirty="0">
                <a:ln>
                  <a:noFill/>
                </a:ln>
                <a:solidFill>
                  <a:srgbClr val="CAD1D3"/>
                </a:solidFill>
                <a:effectLst/>
                <a:uLnTx/>
                <a:uFillTx/>
                <a:latin typeface="Calibre"/>
                <a:ea typeface="+mn-ea"/>
                <a:cs typeface="+mn-cs"/>
              </a:rPr>
              <a:t> Kasih  </a:t>
            </a:r>
            <a:r>
              <a:rPr kumimoji="0" lang="en-GB" altLang="ja-JP" sz="1200" b="0" i="0" u="none" strike="noStrike" kern="1200" cap="none" spc="0" normalizeH="0" baseline="0" noProof="0" dirty="0" err="1">
                <a:ln>
                  <a:noFill/>
                </a:ln>
                <a:solidFill>
                  <a:srgbClr val="CAD1D3"/>
                </a:solidFill>
                <a:effectLst/>
                <a:uLnTx/>
                <a:uFillTx/>
                <a:latin typeface="Calibre"/>
                <a:ea typeface="+mn-ea"/>
                <a:cs typeface="+mn-cs"/>
              </a:rPr>
              <a:t>شكرا</a:t>
            </a:r>
            <a:endParaRPr kumimoji="0" lang="en-GB" sz="1200" b="0" i="0" u="none" strike="noStrike" kern="1200" cap="none" spc="0" normalizeH="0" baseline="0" noProof="0" dirty="0">
              <a:ln>
                <a:noFill/>
              </a:ln>
              <a:solidFill>
                <a:srgbClr val="CAD1D3"/>
              </a:solidFill>
              <a:effectLst/>
              <a:uLnTx/>
              <a:uFillTx/>
              <a:latin typeface="Calibre"/>
              <a:ea typeface="+mn-ea"/>
              <a:cs typeface="+mn-cs"/>
            </a:endParaRPr>
          </a:p>
        </p:txBody>
      </p:sp>
      <p:sp>
        <p:nvSpPr>
          <p:cNvPr id="40" name="Mailing Placeholder 1">
            <a:extLst>
              <a:ext uri="{FF2B5EF4-FFF2-40B4-BE49-F238E27FC236}">
                <a16:creationId xmlns:a16="http://schemas.microsoft.com/office/drawing/2014/main" id="{EBB0830B-2703-4CC7-A57D-9B4164702B5F}"/>
              </a:ext>
            </a:extLst>
          </p:cNvPr>
          <p:cNvSpPr>
            <a:spLocks noGrp="1"/>
          </p:cNvSpPr>
          <p:nvPr>
            <p:ph sz="quarter" idx="62" hasCustomPrompt="1"/>
          </p:nvPr>
        </p:nvSpPr>
        <p:spPr>
          <a:xfrm>
            <a:off x="508635" y="4993178"/>
            <a:ext cx="11168062" cy="258271"/>
          </a:xfrm>
        </p:spPr>
        <p:txBody>
          <a:bodyPr rIns="0" anchor="b" anchorCtr="0"/>
          <a:lstStyle>
            <a:lvl1pPr>
              <a:spcBef>
                <a:spcPts val="0"/>
              </a:spcBef>
              <a:spcAft>
                <a:spcPts val="900"/>
              </a:spcAft>
              <a:defRPr sz="1000">
                <a:solidFill>
                  <a:schemeClr val="bg1"/>
                </a:solidFill>
                <a:latin typeface="+mn-lt"/>
              </a:defRPr>
            </a:lvl1pPr>
            <a:lvl2pPr>
              <a:spcBef>
                <a:spcPts val="100"/>
              </a:spcBef>
              <a:spcAft>
                <a:spcPts val="100"/>
              </a:spcAft>
              <a:defRPr sz="1200">
                <a:solidFill>
                  <a:schemeClr val="accent3"/>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Mailing address</a:t>
            </a:r>
          </a:p>
        </p:txBody>
      </p:sp>
      <p:sp>
        <p:nvSpPr>
          <p:cNvPr id="39" name="Contact Placeholder 6">
            <a:extLst>
              <a:ext uri="{FF2B5EF4-FFF2-40B4-BE49-F238E27FC236}">
                <a16:creationId xmlns:a16="http://schemas.microsoft.com/office/drawing/2014/main" id="{C040B7CF-3C08-46AD-95B1-D6C60D63B7FA}"/>
              </a:ext>
            </a:extLst>
          </p:cNvPr>
          <p:cNvSpPr>
            <a:spLocks noGrp="1"/>
          </p:cNvSpPr>
          <p:nvPr>
            <p:ph sz="quarter" idx="61" hasCustomPrompt="1"/>
          </p:nvPr>
        </p:nvSpPr>
        <p:spPr>
          <a:xfrm>
            <a:off x="10232072" y="3478214"/>
            <a:ext cx="1447165" cy="1249362"/>
          </a:xfrm>
        </p:spPr>
        <p:txBody>
          <a:bodyPr rIns="0"/>
          <a:lstStyle>
            <a:lvl1pPr>
              <a:spcBef>
                <a:spcPts val="0"/>
              </a:spcBef>
              <a:spcAft>
                <a:spcPts val="900"/>
              </a:spcAft>
              <a:defRPr sz="1200">
                <a:solidFill>
                  <a:schemeClr val="bg1"/>
                </a:solidFill>
                <a:latin typeface="Calibre Semibold" panose="020B0703030202060203" pitchFamily="34" charset="0"/>
              </a:defRPr>
            </a:lvl1pPr>
            <a:lvl2pPr>
              <a:spcBef>
                <a:spcPts val="100"/>
              </a:spcBef>
              <a:spcAft>
                <a:spcPts val="100"/>
              </a:spcAft>
              <a:defRPr sz="1000">
                <a:solidFill>
                  <a:schemeClr val="accent3"/>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First Last</a:t>
            </a:r>
          </a:p>
          <a:p>
            <a:pPr lvl="1"/>
            <a:r>
              <a:rPr lang="en-GB"/>
              <a:t>Title &amp; Contact</a:t>
            </a:r>
          </a:p>
        </p:txBody>
      </p:sp>
      <p:sp>
        <p:nvSpPr>
          <p:cNvPr id="38" name="Contact Placeholder 5">
            <a:extLst>
              <a:ext uri="{FF2B5EF4-FFF2-40B4-BE49-F238E27FC236}">
                <a16:creationId xmlns:a16="http://schemas.microsoft.com/office/drawing/2014/main" id="{A3545314-5741-4456-8F62-05AB8BF1AF5E}"/>
              </a:ext>
            </a:extLst>
          </p:cNvPr>
          <p:cNvSpPr>
            <a:spLocks noGrp="1"/>
          </p:cNvSpPr>
          <p:nvPr>
            <p:ph sz="quarter" idx="60" hasCustomPrompt="1"/>
          </p:nvPr>
        </p:nvSpPr>
        <p:spPr>
          <a:xfrm>
            <a:off x="8287383" y="3478214"/>
            <a:ext cx="1447165" cy="1249362"/>
          </a:xfrm>
        </p:spPr>
        <p:txBody>
          <a:bodyPr rIns="0"/>
          <a:lstStyle>
            <a:lvl1pPr>
              <a:spcBef>
                <a:spcPts val="0"/>
              </a:spcBef>
              <a:spcAft>
                <a:spcPts val="900"/>
              </a:spcAft>
              <a:defRPr sz="1200">
                <a:solidFill>
                  <a:schemeClr val="bg1"/>
                </a:solidFill>
                <a:latin typeface="Calibre Semibold" panose="020B0703030202060203" pitchFamily="34" charset="0"/>
              </a:defRPr>
            </a:lvl1pPr>
            <a:lvl2pPr>
              <a:spcBef>
                <a:spcPts val="100"/>
              </a:spcBef>
              <a:spcAft>
                <a:spcPts val="100"/>
              </a:spcAft>
              <a:defRPr sz="1000">
                <a:solidFill>
                  <a:schemeClr val="accent3"/>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First Last</a:t>
            </a:r>
          </a:p>
          <a:p>
            <a:pPr lvl="1"/>
            <a:r>
              <a:rPr lang="en-GB"/>
              <a:t>Title &amp; Contact</a:t>
            </a:r>
          </a:p>
        </p:txBody>
      </p:sp>
      <p:sp>
        <p:nvSpPr>
          <p:cNvPr id="37" name="Contact Placeholder 4">
            <a:extLst>
              <a:ext uri="{FF2B5EF4-FFF2-40B4-BE49-F238E27FC236}">
                <a16:creationId xmlns:a16="http://schemas.microsoft.com/office/drawing/2014/main" id="{F55C5D1C-8953-4158-8D8E-9845958DB239}"/>
              </a:ext>
            </a:extLst>
          </p:cNvPr>
          <p:cNvSpPr>
            <a:spLocks noGrp="1"/>
          </p:cNvSpPr>
          <p:nvPr>
            <p:ph sz="quarter" idx="59" hasCustomPrompt="1"/>
          </p:nvPr>
        </p:nvSpPr>
        <p:spPr>
          <a:xfrm>
            <a:off x="6342696" y="3478214"/>
            <a:ext cx="1447165" cy="1249362"/>
          </a:xfrm>
        </p:spPr>
        <p:txBody>
          <a:bodyPr rIns="0"/>
          <a:lstStyle>
            <a:lvl1pPr>
              <a:spcBef>
                <a:spcPts val="0"/>
              </a:spcBef>
              <a:spcAft>
                <a:spcPts val="900"/>
              </a:spcAft>
              <a:defRPr sz="1200">
                <a:solidFill>
                  <a:schemeClr val="bg1"/>
                </a:solidFill>
                <a:latin typeface="Calibre Semibold" panose="020B0703030202060203" pitchFamily="34" charset="0"/>
              </a:defRPr>
            </a:lvl1pPr>
            <a:lvl2pPr>
              <a:spcBef>
                <a:spcPts val="100"/>
              </a:spcBef>
              <a:spcAft>
                <a:spcPts val="100"/>
              </a:spcAft>
              <a:defRPr sz="1000">
                <a:solidFill>
                  <a:schemeClr val="accent3"/>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First Last</a:t>
            </a:r>
          </a:p>
          <a:p>
            <a:pPr lvl="1"/>
            <a:r>
              <a:rPr lang="en-GB"/>
              <a:t>Title &amp; Contact</a:t>
            </a:r>
          </a:p>
        </p:txBody>
      </p:sp>
      <p:sp>
        <p:nvSpPr>
          <p:cNvPr id="36" name="Contact Placeholder 3">
            <a:extLst>
              <a:ext uri="{FF2B5EF4-FFF2-40B4-BE49-F238E27FC236}">
                <a16:creationId xmlns:a16="http://schemas.microsoft.com/office/drawing/2014/main" id="{DF6CDF24-5470-4D40-9D03-854502243CFF}"/>
              </a:ext>
            </a:extLst>
          </p:cNvPr>
          <p:cNvSpPr>
            <a:spLocks noGrp="1"/>
          </p:cNvSpPr>
          <p:nvPr>
            <p:ph sz="quarter" idx="58" hasCustomPrompt="1"/>
          </p:nvPr>
        </p:nvSpPr>
        <p:spPr>
          <a:xfrm>
            <a:off x="4398009" y="3478214"/>
            <a:ext cx="1447165" cy="1249362"/>
          </a:xfrm>
        </p:spPr>
        <p:txBody>
          <a:bodyPr rIns="0"/>
          <a:lstStyle>
            <a:lvl1pPr>
              <a:spcBef>
                <a:spcPts val="0"/>
              </a:spcBef>
              <a:spcAft>
                <a:spcPts val="900"/>
              </a:spcAft>
              <a:defRPr sz="1200">
                <a:solidFill>
                  <a:schemeClr val="bg1"/>
                </a:solidFill>
                <a:latin typeface="Calibre Semibold" panose="020B0703030202060203" pitchFamily="34" charset="0"/>
              </a:defRPr>
            </a:lvl1pPr>
            <a:lvl2pPr>
              <a:spcBef>
                <a:spcPts val="100"/>
              </a:spcBef>
              <a:spcAft>
                <a:spcPts val="100"/>
              </a:spcAft>
              <a:defRPr sz="1000">
                <a:solidFill>
                  <a:schemeClr val="accent3"/>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First Last</a:t>
            </a:r>
          </a:p>
          <a:p>
            <a:pPr lvl="1"/>
            <a:r>
              <a:rPr lang="en-GB"/>
              <a:t>Title &amp; Contact</a:t>
            </a:r>
          </a:p>
        </p:txBody>
      </p:sp>
      <p:sp>
        <p:nvSpPr>
          <p:cNvPr id="35" name="Contact Placeholder 2">
            <a:extLst>
              <a:ext uri="{FF2B5EF4-FFF2-40B4-BE49-F238E27FC236}">
                <a16:creationId xmlns:a16="http://schemas.microsoft.com/office/drawing/2014/main" id="{8E33D06A-D9FE-4408-8330-495873669A61}"/>
              </a:ext>
            </a:extLst>
          </p:cNvPr>
          <p:cNvSpPr>
            <a:spLocks noGrp="1"/>
          </p:cNvSpPr>
          <p:nvPr>
            <p:ph sz="quarter" idx="57" hasCustomPrompt="1"/>
          </p:nvPr>
        </p:nvSpPr>
        <p:spPr>
          <a:xfrm>
            <a:off x="2453322" y="3478214"/>
            <a:ext cx="1447165" cy="1249362"/>
          </a:xfrm>
        </p:spPr>
        <p:txBody>
          <a:bodyPr rIns="0"/>
          <a:lstStyle>
            <a:lvl1pPr>
              <a:spcBef>
                <a:spcPts val="0"/>
              </a:spcBef>
              <a:spcAft>
                <a:spcPts val="900"/>
              </a:spcAft>
              <a:defRPr sz="1200">
                <a:solidFill>
                  <a:schemeClr val="bg1"/>
                </a:solidFill>
                <a:latin typeface="Calibre Semibold" panose="020B0703030202060203" pitchFamily="34" charset="0"/>
              </a:defRPr>
            </a:lvl1pPr>
            <a:lvl2pPr>
              <a:spcBef>
                <a:spcPts val="100"/>
              </a:spcBef>
              <a:spcAft>
                <a:spcPts val="100"/>
              </a:spcAft>
              <a:defRPr sz="1000">
                <a:solidFill>
                  <a:schemeClr val="accent3"/>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First Last</a:t>
            </a:r>
          </a:p>
          <a:p>
            <a:pPr lvl="1"/>
            <a:r>
              <a:rPr lang="en-GB"/>
              <a:t>Title &amp; Contact</a:t>
            </a:r>
          </a:p>
        </p:txBody>
      </p:sp>
      <p:sp>
        <p:nvSpPr>
          <p:cNvPr id="25" name="Contact Placeholder 1">
            <a:extLst>
              <a:ext uri="{FF2B5EF4-FFF2-40B4-BE49-F238E27FC236}">
                <a16:creationId xmlns:a16="http://schemas.microsoft.com/office/drawing/2014/main" id="{0C191A23-4DE5-4405-99C3-7A699AFE2FD7}"/>
              </a:ext>
            </a:extLst>
          </p:cNvPr>
          <p:cNvSpPr>
            <a:spLocks noGrp="1"/>
          </p:cNvSpPr>
          <p:nvPr>
            <p:ph sz="quarter" idx="56" hasCustomPrompt="1"/>
          </p:nvPr>
        </p:nvSpPr>
        <p:spPr>
          <a:xfrm>
            <a:off x="508635" y="3478214"/>
            <a:ext cx="1447165" cy="1249362"/>
          </a:xfrm>
        </p:spPr>
        <p:txBody>
          <a:bodyPr rIns="0"/>
          <a:lstStyle>
            <a:lvl1pPr>
              <a:spcBef>
                <a:spcPts val="0"/>
              </a:spcBef>
              <a:spcAft>
                <a:spcPts val="900"/>
              </a:spcAft>
              <a:defRPr sz="1200">
                <a:solidFill>
                  <a:schemeClr val="bg1"/>
                </a:solidFill>
                <a:latin typeface="Calibre Semibold" panose="020B0703030202060203" pitchFamily="34" charset="0"/>
              </a:defRPr>
            </a:lvl1pPr>
            <a:lvl2pPr>
              <a:spcBef>
                <a:spcPts val="100"/>
              </a:spcBef>
              <a:spcAft>
                <a:spcPts val="100"/>
              </a:spcAft>
              <a:defRPr sz="1000">
                <a:solidFill>
                  <a:schemeClr val="accent3"/>
                </a:solidFill>
                <a:latin typeface="+mn-lt"/>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First Last</a:t>
            </a:r>
          </a:p>
          <a:p>
            <a:pPr lvl="1"/>
            <a:r>
              <a:rPr lang="en-GB"/>
              <a:t>Title &amp; Contact</a:t>
            </a:r>
          </a:p>
        </p:txBody>
      </p:sp>
      <p:sp>
        <p:nvSpPr>
          <p:cNvPr id="4" name="More Info Placeholder 1">
            <a:extLst>
              <a:ext uri="{FF2B5EF4-FFF2-40B4-BE49-F238E27FC236}">
                <a16:creationId xmlns:a16="http://schemas.microsoft.com/office/drawing/2014/main" id="{083A918D-EA52-448A-9AA7-7394513545E9}"/>
              </a:ext>
            </a:extLst>
          </p:cNvPr>
          <p:cNvSpPr>
            <a:spLocks noGrp="1"/>
          </p:cNvSpPr>
          <p:nvPr>
            <p:ph type="body" sz="quarter" idx="63" hasCustomPrompt="1"/>
          </p:nvPr>
        </p:nvSpPr>
        <p:spPr>
          <a:xfrm>
            <a:off x="508000" y="2854323"/>
            <a:ext cx="1436688" cy="525463"/>
          </a:xfrm>
        </p:spPr>
        <p:txBody>
          <a:bodyPr rIns="0" anchor="b" anchorCtr="0"/>
          <a:lstStyle>
            <a:lvl1pPr>
              <a:defRPr sz="1000" cap="all" baseline="0">
                <a:solidFill>
                  <a:schemeClr val="bg1"/>
                </a:solidFill>
                <a:latin typeface="+mn-lt"/>
              </a:defRPr>
            </a:lvl1pPr>
          </a:lstStyle>
          <a:p>
            <a:pPr lvl="0"/>
            <a:r>
              <a:rPr lang="en-GB"/>
              <a:t>FOR MORE INFORMATION</a:t>
            </a:r>
          </a:p>
        </p:txBody>
      </p:sp>
      <p:sp>
        <p:nvSpPr>
          <p:cNvPr id="15" name="Disclaimer">
            <a:extLst>
              <a:ext uri="{FF2B5EF4-FFF2-40B4-BE49-F238E27FC236}">
                <a16:creationId xmlns:a16="http://schemas.microsoft.com/office/drawing/2014/main" id="{35BDE4BC-905D-4594-8B9D-E48E469F20CB}"/>
              </a:ext>
            </a:extLst>
          </p:cNvPr>
          <p:cNvSpPr>
            <a:spLocks noChangeArrowheads="1"/>
          </p:cNvSpPr>
          <p:nvPr userDrawn="1"/>
        </p:nvSpPr>
        <p:spPr bwMode="auto">
          <a:xfrm>
            <a:off x="511175" y="5876924"/>
            <a:ext cx="11168062" cy="625475"/>
          </a:xfrm>
          <a:prstGeom prst="rect">
            <a:avLst/>
          </a:prstGeom>
          <a:noFill/>
          <a:ln w="9525">
            <a:noFill/>
            <a:miter lim="800000"/>
            <a:headEnd/>
            <a:tailEnd/>
          </a:ln>
          <a:effectLst/>
        </p:spPr>
        <p:txBody>
          <a:bodyPr lIns="0" tIns="0" rIns="0" bIns="0" anchor="b" anchorCtr="0"/>
          <a:lstStyle/>
          <a:p>
            <a:pPr marL="0" marR="0">
              <a:lnSpc>
                <a:spcPct val="110000"/>
              </a:lnSpc>
              <a:spcBef>
                <a:spcPts val="0"/>
              </a:spcBef>
              <a:spcAft>
                <a:spcPts val="0"/>
              </a:spcAft>
            </a:pPr>
            <a:r>
              <a:rPr lang="en-GB" sz="700">
                <a:solidFill>
                  <a:srgbClr val="CAD1D3"/>
                </a:solidFill>
                <a:effectLst/>
                <a:latin typeface="Barlow Condensed" panose="00000506000000000000" pitchFamily="2" charset="0"/>
                <a:ea typeface="Calibre" panose="020B0503030202060203" pitchFamily="34" charset="0"/>
                <a:cs typeface="Times New Roman" panose="02020603050405020304" pitchFamily="18" charset="0"/>
              </a:rPr>
              <a:t>CBRE ©</a:t>
            </a:r>
            <a:fld id="{D77E52D6-371A-4DA0-99B7-8419BE382AC7}" type="datetimeyyyy">
              <a:rPr lang="en-GB" sz="700" smtClean="0">
                <a:solidFill>
                  <a:srgbClr val="CAD1D3"/>
                </a:solidFill>
                <a:effectLst/>
                <a:latin typeface="Barlow Condensed" panose="00000506000000000000" pitchFamily="2" charset="0"/>
                <a:ea typeface="Calibre" panose="020B0503030202060203" pitchFamily="34" charset="0"/>
                <a:cs typeface="Times New Roman" panose="02020603050405020304" pitchFamily="18" charset="0"/>
              </a:rPr>
              <a:t>2024</a:t>
            </a:fld>
            <a:r>
              <a:rPr lang="en-GB" sz="700">
                <a:solidFill>
                  <a:srgbClr val="CAD1D3"/>
                </a:solidFill>
                <a:effectLst/>
                <a:latin typeface="Barlow Condensed" panose="00000506000000000000" pitchFamily="2" charset="0"/>
                <a:ea typeface="Calibre" panose="020B0503030202060203" pitchFamily="34" charset="0"/>
                <a:cs typeface="Times New Roman" panose="02020603050405020304" pitchFamily="18" charset="0"/>
              </a:rPr>
              <a:t> All Rights Reserved. All information included in this proposal pertaining to CBRE—including but not limited to its operations, employees, technology and clients—are proprietary and confidential, and are supplied with the understanding that they will be held in confidence and not disclosed to third parties without the prior written consent of CBRE. This letter/proposal is intended solely as a preliminary expression of general intentions and is to be used for discussion purposes only. The parties intend that neither shall have any contractual obligations to the other with respect to the matters referred herein unless and until a definitive agreement has been fully executed and delivered by the parties. The parties agree that this letter/proposal is not intended to create any agreement or obligation by either party to negotiate a definitive lease/purchase and sale agreement and imposes no duty whatsoever on either party to continue negotiations, including without limitation any obligation to negotiate in good faith or in any way other than at arm’s length. Prior to delivery of a definitive executed agreement, and without any liability to the other party, either party may (1) propose different terms from those summarized herein, (2) enter into negotiations with other parties and/or (3) unilaterally terminate all negotiations with the other party hereto. CBRE and the CBRE logo are service marks of CBRE, Inc. All other marks displayed on this document are the property of their respective owners, and the use of such logos does not imply any affiliation with or endorsement of CBRE.</a:t>
            </a:r>
          </a:p>
        </p:txBody>
      </p:sp>
    </p:spTree>
    <p:extLst>
      <p:ext uri="{BB962C8B-B14F-4D97-AF65-F5344CB8AC3E}">
        <p14:creationId xmlns:p14="http://schemas.microsoft.com/office/powerpoint/2010/main" val="2968916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1250"/>
                                        <p:tgtEl>
                                          <p:spTgt spid="27"/>
                                        </p:tgtEl>
                                        <p:attrNameLst>
                                          <p:attrName>ppt_x</p:attrName>
                                        </p:attrNameLst>
                                      </p:cBhvr>
                                      <p:tavLst>
                                        <p:tav tm="0">
                                          <p:val>
                                            <p:strVal val="#ppt_x-#ppt_w*1.125000"/>
                                          </p:val>
                                        </p:tav>
                                        <p:tav tm="100000">
                                          <p:val>
                                            <p:strVal val="#ppt_x"/>
                                          </p:val>
                                        </p:tav>
                                      </p:tavLst>
                                    </p:anim>
                                    <p:animEffect transition="in" filter="wipe(right)">
                                      <p:cBhvr>
                                        <p:cTn id="8"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Title Slide_Aurora only">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extLst>
              <p:ext uri="{D42A27DB-BD31-4B8C-83A1-F6EECF244321}">
                <p14:modId xmlns:p14="http://schemas.microsoft.com/office/powerpoint/2010/main" val="103209061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492" imgH="504" progId="TCLayout.ActiveDocument.1">
                  <p:embed/>
                </p:oleObj>
              </mc:Choice>
              <mc:Fallback>
                <p:oleObj name="think-cell Slide" r:id="rId5" imgW="492" imgH="504" progId="TCLayout.ActiveDocument.1">
                  <p:embed/>
                  <p:pic>
                    <p:nvPicPr>
                      <p:cNvPr id="18" name="Object 17"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D08E92-02C7-40C9-B7CC-A2066E47388E}"/>
              </a:ext>
            </a:extLst>
          </p:cNvPr>
          <p:cNvSpPr/>
          <p:nvPr userDrawn="1">
            <p:custDataLst>
              <p:tags r:id="rId2"/>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GB" sz="3400" b="1" i="0" baseline="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nvGrpSpPr>
          <p:cNvPr id="8" name="07c27c03-86d7-43f9-a4a8-0264cf953919">
            <a:extLst>
              <a:ext uri="{FF2B5EF4-FFF2-40B4-BE49-F238E27FC236}">
                <a16:creationId xmlns:a16="http://schemas.microsoft.com/office/drawing/2014/main" id="{1FC626AE-19AB-4933-9C18-1AA73CB968B5}"/>
              </a:ext>
            </a:extLst>
          </p:cNvPr>
          <p:cNvGrpSpPr/>
          <p:nvPr/>
        </p:nvGrpSpPr>
        <p:grpSpPr>
          <a:xfrm>
            <a:off x="0" y="0"/>
            <a:ext cx="12192000" cy="6858000"/>
            <a:chOff x="0" y="0"/>
            <a:chExt cx="12192000" cy="6858000"/>
          </a:xfrm>
        </p:grpSpPr>
        <p:sp>
          <p:nvSpPr>
            <p:cNvPr id="10" name="Freeform: Shape 9">
              <a:extLst>
                <a:ext uri="{FF2B5EF4-FFF2-40B4-BE49-F238E27FC236}">
                  <a16:creationId xmlns:a16="http://schemas.microsoft.com/office/drawing/2014/main" id="{A18F3B72-2D96-4D16-B281-7A01BFE5536D}"/>
                </a:ext>
              </a:extLst>
            </p:cNvPr>
            <p:cNvSpPr/>
            <p:nvPr/>
          </p:nvSpPr>
          <p:spPr>
            <a:xfrm>
              <a:off x="0" y="0"/>
              <a:ext cx="12192000" cy="6858000"/>
            </a:xfrm>
            <a:custGeom>
              <a:avLst/>
              <a:gdLst>
                <a:gd name="connsiteX0" fmla="*/ 12192000 w 12192000"/>
                <a:gd name="connsiteY0" fmla="*/ 5903927 h 6858000"/>
                <a:gd name="connsiteX1" fmla="*/ 12192000 w 12192000"/>
                <a:gd name="connsiteY1" fmla="*/ 6858000 h 6858000"/>
                <a:gd name="connsiteX2" fmla="*/ 10516834 w 12192000"/>
                <a:gd name="connsiteY2" fmla="*/ 6858000 h 6858000"/>
                <a:gd name="connsiteX3" fmla="*/ 10558223 w 12192000"/>
                <a:gd name="connsiteY3" fmla="*/ 6848448 h 6858000"/>
                <a:gd name="connsiteX4" fmla="*/ 12172382 w 12192000"/>
                <a:gd name="connsiteY4" fmla="*/ 5925512 h 6858000"/>
                <a:gd name="connsiteX5" fmla="*/ 10516834 w 12192000"/>
                <a:gd name="connsiteY5" fmla="*/ 0 h 6858000"/>
                <a:gd name="connsiteX6" fmla="*/ 12192000 w 12192000"/>
                <a:gd name="connsiteY6" fmla="*/ 0 h 6858000"/>
                <a:gd name="connsiteX7" fmla="*/ 12192000 w 12192000"/>
                <a:gd name="connsiteY7" fmla="*/ 954074 h 6858000"/>
                <a:gd name="connsiteX8" fmla="*/ 12172382 w 12192000"/>
                <a:gd name="connsiteY8" fmla="*/ 932489 h 6858000"/>
                <a:gd name="connsiteX9" fmla="*/ 10558223 w 12192000"/>
                <a:gd name="connsiteY9" fmla="*/ 9553 h 6858000"/>
                <a:gd name="connsiteX10" fmla="*/ 0 w 12192000"/>
                <a:gd name="connsiteY10" fmla="*/ 0 h 6858000"/>
                <a:gd name="connsiteX11" fmla="*/ 8834908 w 12192000"/>
                <a:gd name="connsiteY11" fmla="*/ 0 h 6858000"/>
                <a:gd name="connsiteX12" fmla="*/ 8793519 w 12192000"/>
                <a:gd name="connsiteY12" fmla="*/ 9553 h 6858000"/>
                <a:gd name="connsiteX13" fmla="*/ 6145271 w 12192000"/>
                <a:gd name="connsiteY13" fmla="*/ 3429000 h 6858000"/>
                <a:gd name="connsiteX14" fmla="*/ 8793519 w 12192000"/>
                <a:gd name="connsiteY14" fmla="*/ 6848448 h 6858000"/>
                <a:gd name="connsiteX15" fmla="*/ 8834908 w 12192000"/>
                <a:gd name="connsiteY15" fmla="*/ 6858000 h 6858000"/>
                <a:gd name="connsiteX16" fmla="*/ 0 w 12192000"/>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6858000">
                  <a:moveTo>
                    <a:pt x="12192000" y="5903927"/>
                  </a:moveTo>
                  <a:lnTo>
                    <a:pt x="12192000" y="6858000"/>
                  </a:lnTo>
                  <a:lnTo>
                    <a:pt x="10516834" y="6858000"/>
                  </a:lnTo>
                  <a:lnTo>
                    <a:pt x="10558223" y="6848448"/>
                  </a:lnTo>
                  <a:cubicBezTo>
                    <a:pt x="11178673" y="6688813"/>
                    <a:pt x="11733130" y="6364764"/>
                    <a:pt x="12172382" y="5925512"/>
                  </a:cubicBezTo>
                  <a:close/>
                  <a:moveTo>
                    <a:pt x="10516834" y="0"/>
                  </a:moveTo>
                  <a:lnTo>
                    <a:pt x="12192000" y="0"/>
                  </a:lnTo>
                  <a:lnTo>
                    <a:pt x="12192000" y="954074"/>
                  </a:lnTo>
                  <a:lnTo>
                    <a:pt x="12172382" y="932489"/>
                  </a:lnTo>
                  <a:cubicBezTo>
                    <a:pt x="11733130" y="493236"/>
                    <a:pt x="11178673" y="169187"/>
                    <a:pt x="10558223" y="9553"/>
                  </a:cubicBezTo>
                  <a:close/>
                  <a:moveTo>
                    <a:pt x="0" y="0"/>
                  </a:moveTo>
                  <a:lnTo>
                    <a:pt x="8834908" y="0"/>
                  </a:lnTo>
                  <a:lnTo>
                    <a:pt x="8793519" y="9553"/>
                  </a:lnTo>
                  <a:cubicBezTo>
                    <a:pt x="7270596" y="401383"/>
                    <a:pt x="6145271" y="1783775"/>
                    <a:pt x="6145271" y="3429000"/>
                  </a:cubicBezTo>
                  <a:cubicBezTo>
                    <a:pt x="6145271" y="5074226"/>
                    <a:pt x="7270596" y="6456617"/>
                    <a:pt x="8793519" y="6848448"/>
                  </a:cubicBezTo>
                  <a:lnTo>
                    <a:pt x="8834908" y="6858000"/>
                  </a:lnTo>
                  <a:lnTo>
                    <a:pt x="0" y="6858000"/>
                  </a:lnTo>
                  <a:close/>
                </a:path>
              </a:pathLst>
            </a:custGeom>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Freeform: Shape 10">
              <a:extLst>
                <a:ext uri="{FF2B5EF4-FFF2-40B4-BE49-F238E27FC236}">
                  <a16:creationId xmlns:a16="http://schemas.microsoft.com/office/drawing/2014/main" id="{A4569E97-E2DB-4177-A1BA-8C69D20EF9B6}"/>
                </a:ext>
              </a:extLst>
            </p:cNvPr>
            <p:cNvSpPr>
              <a:spLocks/>
            </p:cNvSpPr>
            <p:nvPr/>
          </p:nvSpPr>
          <p:spPr>
            <a:xfrm>
              <a:off x="5877042" y="0"/>
              <a:ext cx="6314958" cy="6858000"/>
            </a:xfrm>
            <a:custGeom>
              <a:avLst/>
              <a:gdLst>
                <a:gd name="connsiteX0" fmla="*/ 6314958 w 6314958"/>
                <a:gd name="connsiteY0" fmla="*/ 5906568 h 6858000"/>
                <a:gd name="connsiteX1" fmla="*/ 6314958 w 6314958"/>
                <a:gd name="connsiteY1" fmla="*/ 6269729 h 6858000"/>
                <a:gd name="connsiteX2" fmla="*/ 6215237 w 6314958"/>
                <a:gd name="connsiteY2" fmla="*/ 6360361 h 6858000"/>
                <a:gd name="connsiteX3" fmla="*/ 5445778 w 6314958"/>
                <a:gd name="connsiteY3" fmla="*/ 6853223 h 6858000"/>
                <a:gd name="connsiteX4" fmla="*/ 5435212 w 6314958"/>
                <a:gd name="connsiteY4" fmla="*/ 6858000 h 6858000"/>
                <a:gd name="connsiteX5" fmla="*/ 4647701 w 6314958"/>
                <a:gd name="connsiteY5" fmla="*/ 6858000 h 6858000"/>
                <a:gd name="connsiteX6" fmla="*/ 4681626 w 6314958"/>
                <a:gd name="connsiteY6" fmla="*/ 6850171 h 6858000"/>
                <a:gd name="connsiteX7" fmla="*/ 5173790 w 6314958"/>
                <a:gd name="connsiteY7" fmla="*/ 6683787 h 6858000"/>
                <a:gd name="connsiteX8" fmla="*/ 5271135 w 6314958"/>
                <a:gd name="connsiteY8" fmla="*/ 6636894 h 6858000"/>
                <a:gd name="connsiteX9" fmla="*/ 5348751 w 6314958"/>
                <a:gd name="connsiteY9" fmla="*/ 6602092 h 6858000"/>
                <a:gd name="connsiteX10" fmla="*/ 5400784 w 6314958"/>
                <a:gd name="connsiteY10" fmla="*/ 6574439 h 6858000"/>
                <a:gd name="connsiteX11" fmla="*/ 5482571 w 6314958"/>
                <a:gd name="connsiteY11" fmla="*/ 6535040 h 6858000"/>
                <a:gd name="connsiteX12" fmla="*/ 5536048 w 6314958"/>
                <a:gd name="connsiteY12" fmla="*/ 6502552 h 6858000"/>
                <a:gd name="connsiteX13" fmla="*/ 5556210 w 6314958"/>
                <a:gd name="connsiteY13" fmla="*/ 6491837 h 6858000"/>
                <a:gd name="connsiteX14" fmla="*/ 5678830 w 6314958"/>
                <a:gd name="connsiteY14" fmla="*/ 6415809 h 6858000"/>
                <a:gd name="connsiteX15" fmla="*/ 5773816 w 6314958"/>
                <a:gd name="connsiteY15" fmla="*/ 6358104 h 6858000"/>
                <a:gd name="connsiteX16" fmla="*/ 5866153 w 6314958"/>
                <a:gd name="connsiteY16" fmla="*/ 6289055 h 6858000"/>
                <a:gd name="connsiteX17" fmla="*/ 5945069 w 6314958"/>
                <a:gd name="connsiteY17" fmla="*/ 6232582 h 6858000"/>
                <a:gd name="connsiteX18" fmla="*/ 5980102 w 6314958"/>
                <a:gd name="connsiteY18" fmla="*/ 6203847 h 6858000"/>
                <a:gd name="connsiteX19" fmla="*/ 6045750 w 6314958"/>
                <a:gd name="connsiteY19" fmla="*/ 6154756 h 6858000"/>
                <a:gd name="connsiteX20" fmla="*/ 6099423 w 6314958"/>
                <a:gd name="connsiteY20" fmla="*/ 6105974 h 6858000"/>
                <a:gd name="connsiteX21" fmla="*/ 6125316 w 6314958"/>
                <a:gd name="connsiteY21" fmla="*/ 6084735 h 6858000"/>
                <a:gd name="connsiteX22" fmla="*/ 6208411 w 6314958"/>
                <a:gd name="connsiteY22" fmla="*/ 6006920 h 6858000"/>
                <a:gd name="connsiteX23" fmla="*/ 6296598 w 6314958"/>
                <a:gd name="connsiteY23" fmla="*/ 5926769 h 6858000"/>
                <a:gd name="connsiteX24" fmla="*/ 4647701 w 6314958"/>
                <a:gd name="connsiteY24" fmla="*/ 0 h 6858000"/>
                <a:gd name="connsiteX25" fmla="*/ 5435212 w 6314958"/>
                <a:gd name="connsiteY25" fmla="*/ 0 h 6858000"/>
                <a:gd name="connsiteX26" fmla="*/ 5445778 w 6314958"/>
                <a:gd name="connsiteY26" fmla="*/ 4777 h 6858000"/>
                <a:gd name="connsiteX27" fmla="*/ 6215237 w 6314958"/>
                <a:gd name="connsiteY27" fmla="*/ 497639 h 6858000"/>
                <a:gd name="connsiteX28" fmla="*/ 6314958 w 6314958"/>
                <a:gd name="connsiteY28" fmla="*/ 588272 h 6858000"/>
                <a:gd name="connsiteX29" fmla="*/ 6314958 w 6314958"/>
                <a:gd name="connsiteY29" fmla="*/ 951432 h 6858000"/>
                <a:gd name="connsiteX30" fmla="*/ 6296598 w 6314958"/>
                <a:gd name="connsiteY30" fmla="*/ 931231 h 6858000"/>
                <a:gd name="connsiteX31" fmla="*/ 6208380 w 6314958"/>
                <a:gd name="connsiteY31" fmla="*/ 851053 h 6858000"/>
                <a:gd name="connsiteX32" fmla="*/ 6125316 w 6314958"/>
                <a:gd name="connsiteY32" fmla="*/ 773266 h 6858000"/>
                <a:gd name="connsiteX33" fmla="*/ 6099430 w 6314958"/>
                <a:gd name="connsiteY33" fmla="*/ 752033 h 6858000"/>
                <a:gd name="connsiteX34" fmla="*/ 6045750 w 6314958"/>
                <a:gd name="connsiteY34" fmla="*/ 703245 h 6858000"/>
                <a:gd name="connsiteX35" fmla="*/ 5980095 w 6314958"/>
                <a:gd name="connsiteY35" fmla="*/ 654149 h 6858000"/>
                <a:gd name="connsiteX36" fmla="*/ 5945069 w 6314958"/>
                <a:gd name="connsiteY36" fmla="*/ 625419 h 6858000"/>
                <a:gd name="connsiteX37" fmla="*/ 5866166 w 6314958"/>
                <a:gd name="connsiteY37" fmla="*/ 568954 h 6858000"/>
                <a:gd name="connsiteX38" fmla="*/ 5773816 w 6314958"/>
                <a:gd name="connsiteY38" fmla="*/ 499896 h 6858000"/>
                <a:gd name="connsiteX39" fmla="*/ 5678803 w 6314958"/>
                <a:gd name="connsiteY39" fmla="*/ 442174 h 6858000"/>
                <a:gd name="connsiteX40" fmla="*/ 5556210 w 6314958"/>
                <a:gd name="connsiteY40" fmla="*/ 366164 h 6858000"/>
                <a:gd name="connsiteX41" fmla="*/ 5536052 w 6314958"/>
                <a:gd name="connsiteY41" fmla="*/ 355451 h 6858000"/>
                <a:gd name="connsiteX42" fmla="*/ 5482571 w 6314958"/>
                <a:gd name="connsiteY42" fmla="*/ 322960 h 6858000"/>
                <a:gd name="connsiteX43" fmla="*/ 5400777 w 6314958"/>
                <a:gd name="connsiteY43" fmla="*/ 283558 h 6858000"/>
                <a:gd name="connsiteX44" fmla="*/ 5348751 w 6314958"/>
                <a:gd name="connsiteY44" fmla="*/ 255909 h 6858000"/>
                <a:gd name="connsiteX45" fmla="*/ 5271147 w 6314958"/>
                <a:gd name="connsiteY45" fmla="*/ 221112 h 6858000"/>
                <a:gd name="connsiteX46" fmla="*/ 5173790 w 6314958"/>
                <a:gd name="connsiteY46" fmla="*/ 174213 h 6858000"/>
                <a:gd name="connsiteX47" fmla="*/ 4681626 w 6314958"/>
                <a:gd name="connsiteY47" fmla="*/ 7830 h 6858000"/>
                <a:gd name="connsiteX48" fmla="*/ 2162446 w 6314958"/>
                <a:gd name="connsiteY48" fmla="*/ 0 h 6858000"/>
                <a:gd name="connsiteX49" fmla="*/ 2949957 w 6314958"/>
                <a:gd name="connsiteY49" fmla="*/ 0 h 6858000"/>
                <a:gd name="connsiteX50" fmla="*/ 2916032 w 6314958"/>
                <a:gd name="connsiteY50" fmla="*/ 7830 h 6858000"/>
                <a:gd name="connsiteX51" fmla="*/ 2423868 w 6314958"/>
                <a:gd name="connsiteY51" fmla="*/ 174213 h 6858000"/>
                <a:gd name="connsiteX52" fmla="*/ 2375455 w 6314958"/>
                <a:gd name="connsiteY52" fmla="*/ 197535 h 6858000"/>
                <a:gd name="connsiteX53" fmla="*/ 2365440 w 6314958"/>
                <a:gd name="connsiteY53" fmla="*/ 201501 h 6858000"/>
                <a:gd name="connsiteX54" fmla="*/ 2300569 w 6314958"/>
                <a:gd name="connsiteY54" fmla="*/ 233609 h 6858000"/>
                <a:gd name="connsiteX55" fmla="*/ 2115088 w 6314958"/>
                <a:gd name="connsiteY55" fmla="*/ 322960 h 6858000"/>
                <a:gd name="connsiteX56" fmla="*/ 1863446 w 6314958"/>
                <a:gd name="connsiteY56" fmla="*/ 475836 h 6858000"/>
                <a:gd name="connsiteX57" fmla="*/ 1860205 w 6314958"/>
                <a:gd name="connsiteY57" fmla="*/ 477785 h 6858000"/>
                <a:gd name="connsiteX58" fmla="*/ 1860025 w 6314958"/>
                <a:gd name="connsiteY58" fmla="*/ 477915 h 6858000"/>
                <a:gd name="connsiteX59" fmla="*/ 1823843 w 6314958"/>
                <a:gd name="connsiteY59" fmla="*/ 499896 h 6858000"/>
                <a:gd name="connsiteX60" fmla="*/ 1690354 w 6314958"/>
                <a:gd name="connsiteY60" fmla="*/ 599717 h 6858000"/>
                <a:gd name="connsiteX61" fmla="*/ 1627429 w 6314958"/>
                <a:gd name="connsiteY61" fmla="*/ 644889 h 6858000"/>
                <a:gd name="connsiteX62" fmla="*/ 1608663 w 6314958"/>
                <a:gd name="connsiteY62" fmla="*/ 660805 h 6858000"/>
                <a:gd name="connsiteX63" fmla="*/ 1551908 w 6314958"/>
                <a:gd name="connsiteY63" fmla="*/ 703245 h 6858000"/>
                <a:gd name="connsiteX64" fmla="*/ 1458256 w 6314958"/>
                <a:gd name="connsiteY64" fmla="*/ 788362 h 6858000"/>
                <a:gd name="connsiteX65" fmla="*/ 1409302 w 6314958"/>
                <a:gd name="connsiteY65" fmla="*/ 829879 h 6858000"/>
                <a:gd name="connsiteX66" fmla="*/ 1375552 w 6314958"/>
                <a:gd name="connsiteY66" fmla="*/ 863529 h 6858000"/>
                <a:gd name="connsiteX67" fmla="*/ 1301060 w 6314958"/>
                <a:gd name="connsiteY67" fmla="*/ 931231 h 6858000"/>
                <a:gd name="connsiteX68" fmla="*/ 1237457 w 6314958"/>
                <a:gd name="connsiteY68" fmla="*/ 1001213 h 6858000"/>
                <a:gd name="connsiteX69" fmla="*/ 1206889 w 6314958"/>
                <a:gd name="connsiteY69" fmla="*/ 1031689 h 6858000"/>
                <a:gd name="connsiteX70" fmla="*/ 1162896 w 6314958"/>
                <a:gd name="connsiteY70" fmla="*/ 1083250 h 6858000"/>
                <a:gd name="connsiteX71" fmla="*/ 1073074 w 6314958"/>
                <a:gd name="connsiteY71" fmla="*/ 1182079 h 6858000"/>
                <a:gd name="connsiteX72" fmla="*/ 1034080 w 6314958"/>
                <a:gd name="connsiteY72" fmla="*/ 1234225 h 6858000"/>
                <a:gd name="connsiteX73" fmla="*/ 1021257 w 6314958"/>
                <a:gd name="connsiteY73" fmla="*/ 1249253 h 6858000"/>
                <a:gd name="connsiteX74" fmla="*/ 976117 w 6314958"/>
                <a:gd name="connsiteY74" fmla="*/ 1311738 h 6858000"/>
                <a:gd name="connsiteX75" fmla="*/ 869725 w 6314958"/>
                <a:gd name="connsiteY75" fmla="*/ 1454013 h 6858000"/>
                <a:gd name="connsiteX76" fmla="*/ 692789 w 6314958"/>
                <a:gd name="connsiteY76" fmla="*/ 1745259 h 6858000"/>
                <a:gd name="connsiteX77" fmla="*/ 610933 w 6314958"/>
                <a:gd name="connsiteY77" fmla="*/ 1915182 h 6858000"/>
                <a:gd name="connsiteX78" fmla="*/ 575706 w 6314958"/>
                <a:gd name="connsiteY78" fmla="*/ 1985812 h 6858000"/>
                <a:gd name="connsiteX79" fmla="*/ 569857 w 6314958"/>
                <a:gd name="connsiteY79" fmla="*/ 2000450 h 6858000"/>
                <a:gd name="connsiteX80" fmla="*/ 544042 w 6314958"/>
                <a:gd name="connsiteY80" fmla="*/ 2054039 h 6858000"/>
                <a:gd name="connsiteX81" fmla="*/ 496009 w 6314958"/>
                <a:gd name="connsiteY81" fmla="*/ 2185276 h 6858000"/>
                <a:gd name="connsiteX82" fmla="*/ 467857 w 6314958"/>
                <a:gd name="connsiteY82" fmla="*/ 2255733 h 6858000"/>
                <a:gd name="connsiteX83" fmla="*/ 455842 w 6314958"/>
                <a:gd name="connsiteY83" fmla="*/ 2295020 h 6858000"/>
                <a:gd name="connsiteX84" fmla="*/ 425259 w 6314958"/>
                <a:gd name="connsiteY84" fmla="*/ 2378579 h 6858000"/>
                <a:gd name="connsiteX85" fmla="*/ 398714 w 6314958"/>
                <a:gd name="connsiteY85" fmla="*/ 2481816 h 6858000"/>
                <a:gd name="connsiteX86" fmla="*/ 382119 w 6314958"/>
                <a:gd name="connsiteY86" fmla="*/ 2536079 h 6858000"/>
                <a:gd name="connsiteX87" fmla="*/ 368259 w 6314958"/>
                <a:gd name="connsiteY87" fmla="*/ 2600260 h 6858000"/>
                <a:gd name="connsiteX88" fmla="*/ 338216 w 6314958"/>
                <a:gd name="connsiteY88" fmla="*/ 2717103 h 6858000"/>
                <a:gd name="connsiteX89" fmla="*/ 326621 w 6314958"/>
                <a:gd name="connsiteY89" fmla="*/ 2793072 h 6858000"/>
                <a:gd name="connsiteX90" fmla="*/ 319558 w 6314958"/>
                <a:gd name="connsiteY90" fmla="*/ 2825782 h 6858000"/>
                <a:gd name="connsiteX91" fmla="*/ 308473 w 6314958"/>
                <a:gd name="connsiteY91" fmla="*/ 2911989 h 6858000"/>
                <a:gd name="connsiteX92" fmla="*/ 284688 w 6314958"/>
                <a:gd name="connsiteY92" fmla="*/ 3067835 h 6858000"/>
                <a:gd name="connsiteX93" fmla="*/ 282266 w 6314958"/>
                <a:gd name="connsiteY93" fmla="*/ 3115792 h 6858000"/>
                <a:gd name="connsiteX94" fmla="*/ 281239 w 6314958"/>
                <a:gd name="connsiteY94" fmla="*/ 3123778 h 6858000"/>
                <a:gd name="connsiteX95" fmla="*/ 277862 w 6314958"/>
                <a:gd name="connsiteY95" fmla="*/ 3203005 h 6858000"/>
                <a:gd name="connsiteX96" fmla="*/ 266450 w 6314958"/>
                <a:gd name="connsiteY96" fmla="*/ 3429000 h 6858000"/>
                <a:gd name="connsiteX97" fmla="*/ 277862 w 6314958"/>
                <a:gd name="connsiteY97" fmla="*/ 3654994 h 6858000"/>
                <a:gd name="connsiteX98" fmla="*/ 281239 w 6314958"/>
                <a:gd name="connsiteY98" fmla="*/ 3734222 h 6858000"/>
                <a:gd name="connsiteX99" fmla="*/ 282266 w 6314958"/>
                <a:gd name="connsiteY99" fmla="*/ 3742209 h 6858000"/>
                <a:gd name="connsiteX100" fmla="*/ 284688 w 6314958"/>
                <a:gd name="connsiteY100" fmla="*/ 3790165 h 6858000"/>
                <a:gd name="connsiteX101" fmla="*/ 308472 w 6314958"/>
                <a:gd name="connsiteY101" fmla="*/ 3946009 h 6858000"/>
                <a:gd name="connsiteX102" fmla="*/ 319558 w 6314958"/>
                <a:gd name="connsiteY102" fmla="*/ 4032218 h 6858000"/>
                <a:gd name="connsiteX103" fmla="*/ 326622 w 6314958"/>
                <a:gd name="connsiteY103" fmla="*/ 4064929 h 6858000"/>
                <a:gd name="connsiteX104" fmla="*/ 338216 w 6314958"/>
                <a:gd name="connsiteY104" fmla="*/ 4140898 h 6858000"/>
                <a:gd name="connsiteX105" fmla="*/ 368259 w 6314958"/>
                <a:gd name="connsiteY105" fmla="*/ 4257739 h 6858000"/>
                <a:gd name="connsiteX106" fmla="*/ 382119 w 6314958"/>
                <a:gd name="connsiteY106" fmla="*/ 4321922 h 6858000"/>
                <a:gd name="connsiteX107" fmla="*/ 398715 w 6314958"/>
                <a:gd name="connsiteY107" fmla="*/ 4376187 h 6858000"/>
                <a:gd name="connsiteX108" fmla="*/ 425259 w 6314958"/>
                <a:gd name="connsiteY108" fmla="*/ 4479422 h 6858000"/>
                <a:gd name="connsiteX109" fmla="*/ 455841 w 6314958"/>
                <a:gd name="connsiteY109" fmla="*/ 4562978 h 6858000"/>
                <a:gd name="connsiteX110" fmla="*/ 467857 w 6314958"/>
                <a:gd name="connsiteY110" fmla="*/ 4602268 h 6858000"/>
                <a:gd name="connsiteX111" fmla="*/ 496011 w 6314958"/>
                <a:gd name="connsiteY111" fmla="*/ 4672730 h 6858000"/>
                <a:gd name="connsiteX112" fmla="*/ 544042 w 6314958"/>
                <a:gd name="connsiteY112" fmla="*/ 4803962 h 6858000"/>
                <a:gd name="connsiteX113" fmla="*/ 569856 w 6314958"/>
                <a:gd name="connsiteY113" fmla="*/ 4857548 h 6858000"/>
                <a:gd name="connsiteX114" fmla="*/ 575706 w 6314958"/>
                <a:gd name="connsiteY114" fmla="*/ 4872189 h 6858000"/>
                <a:gd name="connsiteX115" fmla="*/ 610939 w 6314958"/>
                <a:gd name="connsiteY115" fmla="*/ 4942832 h 6858000"/>
                <a:gd name="connsiteX116" fmla="*/ 692789 w 6314958"/>
                <a:gd name="connsiteY116" fmla="*/ 5112742 h 6858000"/>
                <a:gd name="connsiteX117" fmla="*/ 869725 w 6314958"/>
                <a:gd name="connsiteY117" fmla="*/ 5403987 h 6858000"/>
                <a:gd name="connsiteX118" fmla="*/ 976106 w 6314958"/>
                <a:gd name="connsiteY118" fmla="*/ 5546248 h 6858000"/>
                <a:gd name="connsiteX119" fmla="*/ 1021257 w 6314958"/>
                <a:gd name="connsiteY119" fmla="*/ 5608747 h 6858000"/>
                <a:gd name="connsiteX120" fmla="*/ 1034083 w 6314958"/>
                <a:gd name="connsiteY120" fmla="*/ 5623780 h 6858000"/>
                <a:gd name="connsiteX121" fmla="*/ 1073074 w 6314958"/>
                <a:gd name="connsiteY121" fmla="*/ 5675921 h 6858000"/>
                <a:gd name="connsiteX122" fmla="*/ 1162889 w 6314958"/>
                <a:gd name="connsiteY122" fmla="*/ 5774742 h 6858000"/>
                <a:gd name="connsiteX123" fmla="*/ 1206889 w 6314958"/>
                <a:gd name="connsiteY123" fmla="*/ 5826312 h 6858000"/>
                <a:gd name="connsiteX124" fmla="*/ 1237462 w 6314958"/>
                <a:gd name="connsiteY124" fmla="*/ 5856794 h 6858000"/>
                <a:gd name="connsiteX125" fmla="*/ 1301060 w 6314958"/>
                <a:gd name="connsiteY125" fmla="*/ 5926769 h 6858000"/>
                <a:gd name="connsiteX126" fmla="*/ 1375546 w 6314958"/>
                <a:gd name="connsiteY126" fmla="*/ 5994467 h 6858000"/>
                <a:gd name="connsiteX127" fmla="*/ 1409302 w 6314958"/>
                <a:gd name="connsiteY127" fmla="*/ 6028122 h 6858000"/>
                <a:gd name="connsiteX128" fmla="*/ 1458264 w 6314958"/>
                <a:gd name="connsiteY128" fmla="*/ 6069646 h 6858000"/>
                <a:gd name="connsiteX129" fmla="*/ 1551908 w 6314958"/>
                <a:gd name="connsiteY129" fmla="*/ 6154756 h 6858000"/>
                <a:gd name="connsiteX130" fmla="*/ 1608657 w 6314958"/>
                <a:gd name="connsiteY130" fmla="*/ 6197192 h 6858000"/>
                <a:gd name="connsiteX131" fmla="*/ 1627429 w 6314958"/>
                <a:gd name="connsiteY131" fmla="*/ 6213112 h 6858000"/>
                <a:gd name="connsiteX132" fmla="*/ 1690373 w 6314958"/>
                <a:gd name="connsiteY132" fmla="*/ 6258298 h 6858000"/>
                <a:gd name="connsiteX133" fmla="*/ 1823843 w 6314958"/>
                <a:gd name="connsiteY133" fmla="*/ 6358104 h 6858000"/>
                <a:gd name="connsiteX134" fmla="*/ 1860020 w 6314958"/>
                <a:gd name="connsiteY134" fmla="*/ 6380082 h 6858000"/>
                <a:gd name="connsiteX135" fmla="*/ 1860205 w 6314958"/>
                <a:gd name="connsiteY135" fmla="*/ 6380216 h 6858000"/>
                <a:gd name="connsiteX136" fmla="*/ 1863538 w 6314958"/>
                <a:gd name="connsiteY136" fmla="*/ 6382220 h 6858000"/>
                <a:gd name="connsiteX137" fmla="*/ 2115088 w 6314958"/>
                <a:gd name="connsiteY137" fmla="*/ 6535040 h 6858000"/>
                <a:gd name="connsiteX138" fmla="*/ 2300511 w 6314958"/>
                <a:gd name="connsiteY138" fmla="*/ 6624363 h 6858000"/>
                <a:gd name="connsiteX139" fmla="*/ 2365440 w 6314958"/>
                <a:gd name="connsiteY139" fmla="*/ 6656500 h 6858000"/>
                <a:gd name="connsiteX140" fmla="*/ 2375464 w 6314958"/>
                <a:gd name="connsiteY140" fmla="*/ 6660470 h 6858000"/>
                <a:gd name="connsiteX141" fmla="*/ 2423868 w 6314958"/>
                <a:gd name="connsiteY141" fmla="*/ 6683787 h 6858000"/>
                <a:gd name="connsiteX142" fmla="*/ 2916032 w 6314958"/>
                <a:gd name="connsiteY142" fmla="*/ 6850171 h 6858000"/>
                <a:gd name="connsiteX143" fmla="*/ 2949957 w 6314958"/>
                <a:gd name="connsiteY143" fmla="*/ 6858000 h 6858000"/>
                <a:gd name="connsiteX144" fmla="*/ 2162446 w 6314958"/>
                <a:gd name="connsiteY144" fmla="*/ 6858000 h 6858000"/>
                <a:gd name="connsiteX145" fmla="*/ 2151880 w 6314958"/>
                <a:gd name="connsiteY145" fmla="*/ 6853223 h 6858000"/>
                <a:gd name="connsiteX146" fmla="*/ 0 w 6314958"/>
                <a:gd name="connsiteY146" fmla="*/ 3429000 h 6858000"/>
                <a:gd name="connsiteX147" fmla="*/ 2151880 w 6314958"/>
                <a:gd name="connsiteY147" fmla="*/ 477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314958" h="6858000">
                  <a:moveTo>
                    <a:pt x="6314958" y="5906568"/>
                  </a:moveTo>
                  <a:lnTo>
                    <a:pt x="6314958" y="6269729"/>
                  </a:lnTo>
                  <a:lnTo>
                    <a:pt x="6215237" y="6360361"/>
                  </a:lnTo>
                  <a:cubicBezTo>
                    <a:pt x="5980715" y="6553906"/>
                    <a:pt x="5722571" y="6719851"/>
                    <a:pt x="5445778" y="6853223"/>
                  </a:cubicBezTo>
                  <a:lnTo>
                    <a:pt x="5435212" y="6858000"/>
                  </a:lnTo>
                  <a:lnTo>
                    <a:pt x="4647701" y="6858000"/>
                  </a:lnTo>
                  <a:lnTo>
                    <a:pt x="4681626" y="6850171"/>
                  </a:lnTo>
                  <a:cubicBezTo>
                    <a:pt x="4850924" y="6806612"/>
                    <a:pt x="5015312" y="6750818"/>
                    <a:pt x="5173790" y="6683787"/>
                  </a:cubicBezTo>
                  <a:lnTo>
                    <a:pt x="5271135" y="6636894"/>
                  </a:lnTo>
                  <a:lnTo>
                    <a:pt x="5348751" y="6602092"/>
                  </a:lnTo>
                  <a:lnTo>
                    <a:pt x="5400784" y="6574439"/>
                  </a:lnTo>
                  <a:lnTo>
                    <a:pt x="5482571" y="6535040"/>
                  </a:lnTo>
                  <a:lnTo>
                    <a:pt x="5536048" y="6502552"/>
                  </a:lnTo>
                  <a:lnTo>
                    <a:pt x="5556210" y="6491837"/>
                  </a:lnTo>
                  <a:lnTo>
                    <a:pt x="5678830" y="6415809"/>
                  </a:lnTo>
                  <a:lnTo>
                    <a:pt x="5773816" y="6358104"/>
                  </a:lnTo>
                  <a:lnTo>
                    <a:pt x="5866153" y="6289055"/>
                  </a:lnTo>
                  <a:lnTo>
                    <a:pt x="5945069" y="6232582"/>
                  </a:lnTo>
                  <a:lnTo>
                    <a:pt x="5980102" y="6203847"/>
                  </a:lnTo>
                  <a:lnTo>
                    <a:pt x="6045750" y="6154756"/>
                  </a:lnTo>
                  <a:lnTo>
                    <a:pt x="6099423" y="6105974"/>
                  </a:lnTo>
                  <a:lnTo>
                    <a:pt x="6125316" y="6084735"/>
                  </a:lnTo>
                  <a:lnTo>
                    <a:pt x="6208411" y="6006920"/>
                  </a:lnTo>
                  <a:lnTo>
                    <a:pt x="6296598" y="5926769"/>
                  </a:lnTo>
                  <a:close/>
                  <a:moveTo>
                    <a:pt x="4647701" y="0"/>
                  </a:moveTo>
                  <a:lnTo>
                    <a:pt x="5435212" y="0"/>
                  </a:lnTo>
                  <a:lnTo>
                    <a:pt x="5445778" y="4777"/>
                  </a:lnTo>
                  <a:cubicBezTo>
                    <a:pt x="5722571" y="138149"/>
                    <a:pt x="5980715" y="304094"/>
                    <a:pt x="6215237" y="497639"/>
                  </a:cubicBezTo>
                  <a:lnTo>
                    <a:pt x="6314958" y="588272"/>
                  </a:lnTo>
                  <a:lnTo>
                    <a:pt x="6314958" y="951432"/>
                  </a:lnTo>
                  <a:lnTo>
                    <a:pt x="6296598" y="931231"/>
                  </a:lnTo>
                  <a:lnTo>
                    <a:pt x="6208380" y="851053"/>
                  </a:lnTo>
                  <a:lnTo>
                    <a:pt x="6125316" y="773266"/>
                  </a:lnTo>
                  <a:lnTo>
                    <a:pt x="6099430" y="752033"/>
                  </a:lnTo>
                  <a:lnTo>
                    <a:pt x="6045750" y="703245"/>
                  </a:lnTo>
                  <a:lnTo>
                    <a:pt x="5980095" y="654149"/>
                  </a:lnTo>
                  <a:lnTo>
                    <a:pt x="5945069" y="625419"/>
                  </a:lnTo>
                  <a:lnTo>
                    <a:pt x="5866166" y="568954"/>
                  </a:lnTo>
                  <a:lnTo>
                    <a:pt x="5773816" y="499896"/>
                  </a:lnTo>
                  <a:lnTo>
                    <a:pt x="5678803" y="442174"/>
                  </a:lnTo>
                  <a:lnTo>
                    <a:pt x="5556210" y="366164"/>
                  </a:lnTo>
                  <a:lnTo>
                    <a:pt x="5536052" y="355451"/>
                  </a:lnTo>
                  <a:lnTo>
                    <a:pt x="5482571" y="322960"/>
                  </a:lnTo>
                  <a:lnTo>
                    <a:pt x="5400777" y="283558"/>
                  </a:lnTo>
                  <a:lnTo>
                    <a:pt x="5348751" y="255909"/>
                  </a:lnTo>
                  <a:lnTo>
                    <a:pt x="5271147" y="221112"/>
                  </a:lnTo>
                  <a:lnTo>
                    <a:pt x="5173790" y="174213"/>
                  </a:lnTo>
                  <a:cubicBezTo>
                    <a:pt x="5015312" y="107182"/>
                    <a:pt x="4850924" y="51388"/>
                    <a:pt x="4681626" y="7830"/>
                  </a:cubicBezTo>
                  <a:close/>
                  <a:moveTo>
                    <a:pt x="2162446" y="0"/>
                  </a:moveTo>
                  <a:lnTo>
                    <a:pt x="2949957" y="0"/>
                  </a:lnTo>
                  <a:lnTo>
                    <a:pt x="2916032" y="7830"/>
                  </a:lnTo>
                  <a:cubicBezTo>
                    <a:pt x="2746734" y="51388"/>
                    <a:pt x="2582346" y="107182"/>
                    <a:pt x="2423868" y="174213"/>
                  </a:cubicBezTo>
                  <a:lnTo>
                    <a:pt x="2375455" y="197535"/>
                  </a:lnTo>
                  <a:lnTo>
                    <a:pt x="2365440" y="201501"/>
                  </a:lnTo>
                  <a:lnTo>
                    <a:pt x="2300569" y="233609"/>
                  </a:lnTo>
                  <a:lnTo>
                    <a:pt x="2115088" y="322960"/>
                  </a:lnTo>
                  <a:lnTo>
                    <a:pt x="1863446" y="475836"/>
                  </a:lnTo>
                  <a:lnTo>
                    <a:pt x="1860205" y="477785"/>
                  </a:lnTo>
                  <a:lnTo>
                    <a:pt x="1860025" y="477915"/>
                  </a:lnTo>
                  <a:lnTo>
                    <a:pt x="1823843" y="499896"/>
                  </a:lnTo>
                  <a:lnTo>
                    <a:pt x="1690354" y="599717"/>
                  </a:lnTo>
                  <a:lnTo>
                    <a:pt x="1627429" y="644889"/>
                  </a:lnTo>
                  <a:lnTo>
                    <a:pt x="1608663" y="660805"/>
                  </a:lnTo>
                  <a:lnTo>
                    <a:pt x="1551908" y="703245"/>
                  </a:lnTo>
                  <a:lnTo>
                    <a:pt x="1458256" y="788362"/>
                  </a:lnTo>
                  <a:lnTo>
                    <a:pt x="1409302" y="829879"/>
                  </a:lnTo>
                  <a:lnTo>
                    <a:pt x="1375552" y="863529"/>
                  </a:lnTo>
                  <a:lnTo>
                    <a:pt x="1301060" y="931231"/>
                  </a:lnTo>
                  <a:lnTo>
                    <a:pt x="1237457" y="1001213"/>
                  </a:lnTo>
                  <a:lnTo>
                    <a:pt x="1206889" y="1031689"/>
                  </a:lnTo>
                  <a:lnTo>
                    <a:pt x="1162896" y="1083250"/>
                  </a:lnTo>
                  <a:lnTo>
                    <a:pt x="1073074" y="1182079"/>
                  </a:lnTo>
                  <a:lnTo>
                    <a:pt x="1034080" y="1234225"/>
                  </a:lnTo>
                  <a:lnTo>
                    <a:pt x="1021257" y="1249253"/>
                  </a:lnTo>
                  <a:lnTo>
                    <a:pt x="976117" y="1311738"/>
                  </a:lnTo>
                  <a:lnTo>
                    <a:pt x="869725" y="1454013"/>
                  </a:lnTo>
                  <a:cubicBezTo>
                    <a:pt x="806246" y="1547975"/>
                    <a:pt x="747169" y="1645156"/>
                    <a:pt x="692789" y="1745259"/>
                  </a:cubicBezTo>
                  <a:lnTo>
                    <a:pt x="610933" y="1915182"/>
                  </a:lnTo>
                  <a:lnTo>
                    <a:pt x="575706" y="1985812"/>
                  </a:lnTo>
                  <a:lnTo>
                    <a:pt x="569857" y="2000450"/>
                  </a:lnTo>
                  <a:lnTo>
                    <a:pt x="544042" y="2054039"/>
                  </a:lnTo>
                  <a:lnTo>
                    <a:pt x="496009" y="2185276"/>
                  </a:lnTo>
                  <a:lnTo>
                    <a:pt x="467857" y="2255733"/>
                  </a:lnTo>
                  <a:lnTo>
                    <a:pt x="455842" y="2295020"/>
                  </a:lnTo>
                  <a:lnTo>
                    <a:pt x="425259" y="2378579"/>
                  </a:lnTo>
                  <a:lnTo>
                    <a:pt x="398714" y="2481816"/>
                  </a:lnTo>
                  <a:lnTo>
                    <a:pt x="382119" y="2536079"/>
                  </a:lnTo>
                  <a:lnTo>
                    <a:pt x="368259" y="2600260"/>
                  </a:lnTo>
                  <a:lnTo>
                    <a:pt x="338216" y="2717103"/>
                  </a:lnTo>
                  <a:lnTo>
                    <a:pt x="326621" y="2793072"/>
                  </a:lnTo>
                  <a:lnTo>
                    <a:pt x="319558" y="2825782"/>
                  </a:lnTo>
                  <a:lnTo>
                    <a:pt x="308473" y="2911989"/>
                  </a:lnTo>
                  <a:lnTo>
                    <a:pt x="284688" y="3067835"/>
                  </a:lnTo>
                  <a:lnTo>
                    <a:pt x="282266" y="3115792"/>
                  </a:lnTo>
                  <a:lnTo>
                    <a:pt x="281239" y="3123778"/>
                  </a:lnTo>
                  <a:lnTo>
                    <a:pt x="277862" y="3203005"/>
                  </a:lnTo>
                  <a:lnTo>
                    <a:pt x="266450" y="3429000"/>
                  </a:lnTo>
                  <a:lnTo>
                    <a:pt x="277862" y="3654994"/>
                  </a:lnTo>
                  <a:lnTo>
                    <a:pt x="281239" y="3734222"/>
                  </a:lnTo>
                  <a:lnTo>
                    <a:pt x="282266" y="3742209"/>
                  </a:lnTo>
                  <a:lnTo>
                    <a:pt x="284688" y="3790165"/>
                  </a:lnTo>
                  <a:lnTo>
                    <a:pt x="308472" y="3946009"/>
                  </a:lnTo>
                  <a:lnTo>
                    <a:pt x="319558" y="4032218"/>
                  </a:lnTo>
                  <a:lnTo>
                    <a:pt x="326622" y="4064929"/>
                  </a:lnTo>
                  <a:lnTo>
                    <a:pt x="338216" y="4140898"/>
                  </a:lnTo>
                  <a:lnTo>
                    <a:pt x="368259" y="4257739"/>
                  </a:lnTo>
                  <a:lnTo>
                    <a:pt x="382119" y="4321922"/>
                  </a:lnTo>
                  <a:lnTo>
                    <a:pt x="398715" y="4376187"/>
                  </a:lnTo>
                  <a:lnTo>
                    <a:pt x="425259" y="4479422"/>
                  </a:lnTo>
                  <a:lnTo>
                    <a:pt x="455841" y="4562978"/>
                  </a:lnTo>
                  <a:lnTo>
                    <a:pt x="467857" y="4602268"/>
                  </a:lnTo>
                  <a:lnTo>
                    <a:pt x="496011" y="4672730"/>
                  </a:lnTo>
                  <a:lnTo>
                    <a:pt x="544042" y="4803962"/>
                  </a:lnTo>
                  <a:lnTo>
                    <a:pt x="569856" y="4857548"/>
                  </a:lnTo>
                  <a:lnTo>
                    <a:pt x="575706" y="4872189"/>
                  </a:lnTo>
                  <a:lnTo>
                    <a:pt x="610939" y="4942832"/>
                  </a:lnTo>
                  <a:lnTo>
                    <a:pt x="692789" y="5112742"/>
                  </a:lnTo>
                  <a:cubicBezTo>
                    <a:pt x="747169" y="5212845"/>
                    <a:pt x="806246" y="5310025"/>
                    <a:pt x="869725" y="5403987"/>
                  </a:cubicBezTo>
                  <a:lnTo>
                    <a:pt x="976106" y="5546248"/>
                  </a:lnTo>
                  <a:lnTo>
                    <a:pt x="1021257" y="5608747"/>
                  </a:lnTo>
                  <a:lnTo>
                    <a:pt x="1034083" y="5623780"/>
                  </a:lnTo>
                  <a:lnTo>
                    <a:pt x="1073074" y="5675921"/>
                  </a:lnTo>
                  <a:lnTo>
                    <a:pt x="1162889" y="5774742"/>
                  </a:lnTo>
                  <a:lnTo>
                    <a:pt x="1206889" y="5826312"/>
                  </a:lnTo>
                  <a:lnTo>
                    <a:pt x="1237462" y="5856794"/>
                  </a:lnTo>
                  <a:lnTo>
                    <a:pt x="1301060" y="5926769"/>
                  </a:lnTo>
                  <a:lnTo>
                    <a:pt x="1375546" y="5994467"/>
                  </a:lnTo>
                  <a:lnTo>
                    <a:pt x="1409302" y="6028122"/>
                  </a:lnTo>
                  <a:lnTo>
                    <a:pt x="1458264" y="6069646"/>
                  </a:lnTo>
                  <a:lnTo>
                    <a:pt x="1551908" y="6154756"/>
                  </a:lnTo>
                  <a:lnTo>
                    <a:pt x="1608657" y="6197192"/>
                  </a:lnTo>
                  <a:lnTo>
                    <a:pt x="1627429" y="6213112"/>
                  </a:lnTo>
                  <a:lnTo>
                    <a:pt x="1690373" y="6258298"/>
                  </a:lnTo>
                  <a:lnTo>
                    <a:pt x="1823843" y="6358104"/>
                  </a:lnTo>
                  <a:lnTo>
                    <a:pt x="1860020" y="6380082"/>
                  </a:lnTo>
                  <a:lnTo>
                    <a:pt x="1860205" y="6380216"/>
                  </a:lnTo>
                  <a:lnTo>
                    <a:pt x="1863538" y="6382220"/>
                  </a:lnTo>
                  <a:lnTo>
                    <a:pt x="2115088" y="6535040"/>
                  </a:lnTo>
                  <a:lnTo>
                    <a:pt x="2300511" y="6624363"/>
                  </a:lnTo>
                  <a:lnTo>
                    <a:pt x="2365440" y="6656500"/>
                  </a:lnTo>
                  <a:lnTo>
                    <a:pt x="2375464" y="6660470"/>
                  </a:lnTo>
                  <a:lnTo>
                    <a:pt x="2423868" y="6683787"/>
                  </a:lnTo>
                  <a:cubicBezTo>
                    <a:pt x="2582346" y="6750818"/>
                    <a:pt x="2746734" y="6806612"/>
                    <a:pt x="2916032" y="6850171"/>
                  </a:cubicBezTo>
                  <a:lnTo>
                    <a:pt x="2949957" y="6858000"/>
                  </a:lnTo>
                  <a:lnTo>
                    <a:pt x="2162446" y="6858000"/>
                  </a:lnTo>
                  <a:lnTo>
                    <a:pt x="2151880" y="6853223"/>
                  </a:lnTo>
                  <a:cubicBezTo>
                    <a:pt x="878633" y="6239710"/>
                    <a:pt x="0" y="4936963"/>
                    <a:pt x="0" y="3429000"/>
                  </a:cubicBezTo>
                  <a:cubicBezTo>
                    <a:pt x="0" y="1921037"/>
                    <a:pt x="878633" y="618290"/>
                    <a:pt x="2151880" y="4777"/>
                  </a:cubicBezTo>
                  <a:close/>
                </a:path>
              </a:pathLst>
            </a:custGeom>
            <a:solidFill>
              <a:schemeClr val="accent2"/>
            </a:solidFill>
            <a:ln>
              <a:noFill/>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marL="285750" indent="-285750" algn="l">
                <a:spcAft>
                  <a:spcPts val="1000"/>
                </a:spcAft>
                <a:buFont typeface="Wingdings" panose="05000000000000000000" pitchFamily="2" charset="2"/>
                <a:buChar char="§"/>
              </a:pPr>
              <a:endParaRPr lang="en-GB" sz="1400">
                <a:solidFill>
                  <a:schemeClr val="accent6"/>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grpSp>
      <p:sp>
        <p:nvSpPr>
          <p:cNvPr id="16" name="e09db3f0-6e02-44e0-9dd8-3eaaa4d6d991">
            <a:extLst>
              <a:ext uri="{FF2B5EF4-FFF2-40B4-BE49-F238E27FC236}">
                <a16:creationId xmlns:a16="http://schemas.microsoft.com/office/drawing/2014/main" id="{EC36045C-2F27-4D1F-8FC2-77CB5C497B18}"/>
              </a:ext>
            </a:extLst>
          </p:cNvPr>
          <p:cNvSpPr txBox="1"/>
          <p:nvPr/>
        </p:nvSpPr>
        <p:spPr>
          <a:xfrm>
            <a:off x="467784" y="6677739"/>
            <a:ext cx="2250616" cy="123111"/>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1000"/>
              </a:spcAft>
              <a:buClrTx/>
              <a:buSzTx/>
              <a:buFont typeface="Wingdings" panose="05000000000000000000" pitchFamily="2" charset="2"/>
              <a:buNone/>
              <a:tabLst/>
            </a:pPr>
            <a:r>
              <a:rPr lang="en-US" sz="800">
                <a:solidFill>
                  <a:schemeClr val="bg1">
                    <a:lumMod val="50000"/>
                  </a:schemeClr>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 Aurora Energy Research Ltd. – CONFIDENTIAL</a:t>
            </a:r>
          </a:p>
        </p:txBody>
      </p:sp>
      <p:sp>
        <p:nvSpPr>
          <p:cNvPr id="12" name="Title 1"/>
          <p:cNvSpPr>
            <a:spLocks noGrp="1"/>
          </p:cNvSpPr>
          <p:nvPr>
            <p:ph type="ctrTitle" hasCustomPrompt="1"/>
          </p:nvPr>
        </p:nvSpPr>
        <p:spPr>
          <a:xfrm>
            <a:off x="391584" y="3677095"/>
            <a:ext cx="5158316" cy="1046440"/>
          </a:xfrm>
          <a:prstGeom prst="rect">
            <a:avLst/>
          </a:prstGeom>
        </p:spPr>
        <p:txBody>
          <a:bodyPr lIns="0" rIns="0" anchor="b" anchorCtr="0">
            <a:spAutoFit/>
          </a:bodyPr>
          <a:lstStyle>
            <a:lvl1pPr>
              <a:lnSpc>
                <a:spcPct val="100000"/>
              </a:lnSpc>
              <a:defRPr sz="3400" baseline="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r>
              <a:rPr lang="en-GB"/>
              <a:t>Presentation title </a:t>
            </a:r>
            <a:br>
              <a:rPr lang="en-GB"/>
            </a:br>
            <a:r>
              <a:rPr lang="en-GB" err="1"/>
              <a:t>Lato</a:t>
            </a:r>
            <a:r>
              <a:rPr lang="en-GB"/>
              <a:t> 34pt (max. 2 lines)</a:t>
            </a:r>
          </a:p>
        </p:txBody>
      </p:sp>
      <p:sp>
        <p:nvSpPr>
          <p:cNvPr id="14" name="Text Placeholder 3"/>
          <p:cNvSpPr>
            <a:spLocks noGrp="1"/>
          </p:cNvSpPr>
          <p:nvPr>
            <p:ph type="body" sz="quarter" idx="11" hasCustomPrompt="1"/>
          </p:nvPr>
        </p:nvSpPr>
        <p:spPr>
          <a:xfrm>
            <a:off x="391585" y="4892984"/>
            <a:ext cx="5158316" cy="595035"/>
          </a:xfrm>
          <a:prstGeom prst="rect">
            <a:avLst/>
          </a:prstGeom>
        </p:spPr>
        <p:txBody>
          <a:bodyPr lIns="0">
            <a:spAutoFit/>
          </a:bodyPr>
          <a:lstStyle>
            <a:lvl1pPr marL="0" indent="0">
              <a:lnSpc>
                <a:spcPct val="100000"/>
              </a:lnSpc>
              <a:buNone/>
              <a:defRPr sz="1600">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GB"/>
              <a:t>Subtitle | Author (max. 2 lines)</a:t>
            </a:r>
          </a:p>
          <a:p>
            <a:pPr lvl="0"/>
            <a:r>
              <a:rPr lang="en-GB"/>
              <a:t>Location, Date</a:t>
            </a:r>
          </a:p>
        </p:txBody>
      </p:sp>
      <p:pic>
        <p:nvPicPr>
          <p:cNvPr id="17" name="76b2c494-e833-47c5-ac9f-1f63996dd2f9">
            <a:extLst>
              <a:ext uri="{FF2B5EF4-FFF2-40B4-BE49-F238E27FC236}">
                <a16:creationId xmlns:a16="http://schemas.microsoft.com/office/drawing/2014/main" id="{042F3FEA-3A90-4E71-A2A9-E49B6FE2258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91584" y="655041"/>
            <a:ext cx="2389716" cy="558125"/>
          </a:xfrm>
          <a:prstGeom prst="rect">
            <a:avLst/>
          </a:prstGeom>
        </p:spPr>
      </p:pic>
      <p:sp>
        <p:nvSpPr>
          <p:cNvPr id="13" name="TextBox 12">
            <a:extLst>
              <a:ext uri="{FF2B5EF4-FFF2-40B4-BE49-F238E27FC236}">
                <a16:creationId xmlns:a16="http://schemas.microsoft.com/office/drawing/2014/main" id="{71D3F1E6-FC24-4027-8703-DD054B62F84B}"/>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22444462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_Presentati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34947424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E482D81-5A53-4272-99E2-F748697E0896}"/>
              </a:ext>
            </a:extLst>
          </p:cNvPr>
          <p:cNvSpPr>
            <a:spLocks noGrp="1"/>
          </p:cNvSpPr>
          <p:nvPr>
            <p:ph type="body" sz="quarter" idx="28"/>
          </p:nvPr>
        </p:nvSpPr>
        <p:spPr>
          <a:xfrm>
            <a:off x="0" y="1273038"/>
            <a:ext cx="12192000" cy="355799"/>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A973469-D94E-4DFF-BEA2-7F02DADA0F87}"/>
              </a:ext>
            </a:extLst>
          </p:cNvPr>
          <p:cNvSpPr>
            <a:spLocks noGrp="1"/>
          </p:cNvSpPr>
          <p:nvPr>
            <p:ph type="body" sz="quarter" idx="27" hasCustomPrompt="1"/>
          </p:nvPr>
        </p:nvSpPr>
        <p:spPr>
          <a:xfrm>
            <a:off x="381000" y="1348181"/>
            <a:ext cx="11428411" cy="4878259"/>
          </a:xfrm>
          <a:prstGeom prst="rect">
            <a:avLst/>
          </a:prstGeom>
        </p:spPr>
        <p:txBody>
          <a:bodyPr/>
          <a:lstStyle>
            <a:lvl1pPr marL="447675" indent="-447675" fontAlgn="base">
              <a:lnSpc>
                <a:spcPct val="100000"/>
              </a:lnSpc>
              <a:spcBef>
                <a:spcPts val="1800"/>
              </a:spcBef>
              <a:spcAft>
                <a:spcPct val="0"/>
              </a:spcAft>
              <a:buClr>
                <a:schemeClr val="tx1"/>
              </a:buClr>
              <a:buSzPct val="100000"/>
              <a:buFont typeface="+mj-lt"/>
              <a:buAutoNum type="romanUcPeriod"/>
              <a:tabLst>
                <a:tab pos="11412538" algn="r"/>
              </a:tabLst>
              <a:defRPr sz="1600"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800100" indent="-342900" fontAlgn="base">
              <a:lnSpc>
                <a:spcPct val="100000"/>
              </a:lnSpc>
              <a:spcBef>
                <a:spcPts val="1200"/>
              </a:spcBef>
              <a:spcAft>
                <a:spcPct val="0"/>
              </a:spcAft>
              <a:buClr>
                <a:schemeClr val="tx1"/>
              </a:buClr>
              <a:buSzPct val="100000"/>
              <a:buFont typeface="+mj-lt"/>
              <a:buAutoNum type="arabicPeriod"/>
              <a:tabLst>
                <a:tab pos="11412538" algn="r"/>
              </a:tabLst>
              <a:defRPr sz="1600" b="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1073150" indent="-271463">
              <a:buFont typeface="+mj-lt"/>
              <a:buAutoNum type="romanLcPeriod"/>
              <a:tabLst>
                <a:tab pos="11412000" algn="r"/>
              </a:tabLst>
              <a:defRPr sz="1600" b="0"/>
            </a:lvl3pPr>
            <a:lvl4pPr marL="758825" indent="-400050">
              <a:buFont typeface="+mj-lt"/>
              <a:buAutoNum type="romanUcPeriod"/>
              <a:defRPr sz="1600" b="1"/>
            </a:lvl4pPr>
            <a:lvl5pPr marL="1771616" indent="-400050">
              <a:buFont typeface="+mj-lt"/>
              <a:buAutoNum type="romanUcPeriod"/>
              <a:defRPr sz="1600" b="1"/>
            </a:lvl5pPr>
          </a:lstStyle>
          <a:p>
            <a:pPr lvl="0"/>
            <a:r>
              <a:rPr lang="en-GB"/>
              <a:t>Section I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a:p>
            <a:pPr lvl="0"/>
            <a:r>
              <a:rPr lang="en-GB"/>
              <a:t>Sub-section 2	xx</a:t>
            </a:r>
          </a:p>
          <a:p>
            <a:pPr lvl="1"/>
            <a:r>
              <a:rPr lang="en-GB"/>
              <a:t>Sub-section 1	xx</a:t>
            </a:r>
          </a:p>
          <a:p>
            <a:pPr lvl="1"/>
            <a:r>
              <a:rPr lang="en-GB"/>
              <a:t>Sub-section 2	xx</a:t>
            </a:r>
          </a:p>
        </p:txBody>
      </p:sp>
      <p:sp>
        <p:nvSpPr>
          <p:cNvPr id="8" name="38f1b144-a7dc-4fbe-8223-e0ddcb76a106">
            <a:extLst>
              <a:ext uri="{FF2B5EF4-FFF2-40B4-BE49-F238E27FC236}">
                <a16:creationId xmlns:a16="http://schemas.microsoft.com/office/drawing/2014/main" id="{CECB2688-9A12-4EEC-A783-25B02F3230D6}"/>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395850902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_Repor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0318638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92" imgH="504" progId="TCLayout.ActiveDocument.1">
                  <p:embed/>
                </p:oleObj>
              </mc:Choice>
              <mc:Fallback>
                <p:oleObj name="think-cell Slide" r:id="rId3" imgW="492" imgH="504" progId="TCLayout.ActiveDocument.1">
                  <p:embed/>
                  <p:pic>
                    <p:nvPicPr>
                      <p:cNvPr id="17" name="Object 1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91C5274C-F47E-4592-A554-EF60A986DFB9}"/>
              </a:ext>
            </a:extLst>
          </p:cNvPr>
          <p:cNvSpPr>
            <a:spLocks noGrp="1"/>
          </p:cNvSpPr>
          <p:nvPr>
            <p:ph type="body" sz="quarter" idx="29"/>
          </p:nvPr>
        </p:nvSpPr>
        <p:spPr>
          <a:xfrm>
            <a:off x="0" y="1272245"/>
            <a:ext cx="6095996" cy="252000"/>
          </a:xfrm>
          <a:solidFill>
            <a:schemeClr val="accent2"/>
          </a:solidFill>
        </p:spPr>
        <p:txBody>
          <a:bodyPr anchor="ctr" anchorCtr="0">
            <a:noAutofit/>
          </a:bodyPr>
          <a:lstStyle>
            <a:lvl1pPr>
              <a:defRPr>
                <a:solidFill>
                  <a:schemeClr val="accent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stStyle>
          <a:p>
            <a:pPr lvl="0"/>
            <a:r>
              <a:rPr lang="en-US"/>
              <a:t>Click to edit Master text styles</a:t>
            </a:r>
          </a:p>
        </p:txBody>
      </p:sp>
      <p:sp>
        <p:nvSpPr>
          <p:cNvPr id="23" name="Confidential">
            <a:extLst>
              <a:ext uri="{FF2B5EF4-FFF2-40B4-BE49-F238E27FC236}">
                <a16:creationId xmlns:a16="http://schemas.microsoft.com/office/drawing/2014/main" id="{C0B480F0-6059-4BD9-8684-DCFF21A0C491}"/>
              </a:ext>
            </a:extLst>
          </p:cNvPr>
          <p:cNvSpPr txBox="1"/>
          <p:nvPr/>
        </p:nvSpPr>
        <p:spPr>
          <a:xfrm>
            <a:off x="10822352" y="6715169"/>
            <a:ext cx="743793" cy="110800"/>
          </a:xfrm>
          <a:prstGeom prst="rect">
            <a:avLst/>
          </a:prstGeom>
          <a:noFill/>
        </p:spPr>
        <p:txBody>
          <a:bodyPr wrap="none" lIns="0" tIns="0" rIns="0" bIns="0" rtlCol="0" anchor="b" anchorCtr="0">
            <a:spAutoFit/>
          </a:bodyPr>
          <a:lstStyle/>
          <a:p>
            <a:pPr marL="0" marR="0" indent="0" algn="r" defTabSz="914400" rtl="0" eaLnBrk="1" fontAlgn="auto" latinLnBrk="0" hangingPunct="1">
              <a:lnSpc>
                <a:spcPct val="90000"/>
              </a:lnSpc>
              <a:spcBef>
                <a:spcPts val="0"/>
              </a:spcBef>
              <a:spcAft>
                <a:spcPts val="0"/>
              </a:spcAft>
              <a:buClrTx/>
              <a:buSzTx/>
              <a:buFont typeface="Wingdings" panose="05000000000000000000" pitchFamily="2" charset="2"/>
              <a:buNone/>
              <a:tabLst/>
            </a:pPr>
            <a:r>
              <a:rPr lang="en-GB" sz="800">
                <a:solidFill>
                  <a:schemeClr val="accent5"/>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CONFIDENTIAL</a:t>
            </a:r>
          </a:p>
        </p:txBody>
      </p:sp>
      <p:cxnSp>
        <p:nvCxnSpPr>
          <p:cNvPr id="27" name="Straight Connector 26">
            <a:extLst>
              <a:ext uri="{FF2B5EF4-FFF2-40B4-BE49-F238E27FC236}">
                <a16:creationId xmlns:a16="http://schemas.microsoft.com/office/drawing/2014/main" id="{10E43CBB-4B2C-42F9-942F-CD66C7E23E35}"/>
              </a:ext>
            </a:extLst>
          </p:cNvPr>
          <p:cNvCxnSpPr>
            <a:cxnSpLocks/>
          </p:cNvCxnSpPr>
          <p:nvPr/>
        </p:nvCxnSpPr>
        <p:spPr>
          <a:xfrm>
            <a:off x="380996" y="1115128"/>
            <a:ext cx="609523" cy="0"/>
          </a:xfrm>
          <a:prstGeom prst="line">
            <a:avLst/>
          </a:prstGeom>
          <a:ln w="317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62c64e16-bc6f-401c-8aa6-7389769131f3">
            <a:extLst>
              <a:ext uri="{FF2B5EF4-FFF2-40B4-BE49-F238E27FC236}">
                <a16:creationId xmlns:a16="http://schemas.microsoft.com/office/drawing/2014/main" id="{24CDEDBE-51B8-4919-89D3-38AB9D7D93CE}"/>
              </a:ext>
            </a:extLst>
          </p:cNvPr>
          <p:cNvCxnSpPr>
            <a:cxnSpLocks/>
          </p:cNvCxnSpPr>
          <p:nvPr/>
        </p:nvCxnSpPr>
        <p:spPr>
          <a:xfrm>
            <a:off x="6096000" y="1281770"/>
            <a:ext cx="0" cy="489305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F1D0497-9D43-47C1-B0A9-27757300FDD8}"/>
              </a:ext>
            </a:extLst>
          </p:cNvPr>
          <p:cNvSpPr>
            <a:spLocks noGrp="1"/>
          </p:cNvSpPr>
          <p:nvPr>
            <p:ph type="body" sz="quarter" idx="28" hasCustomPrompt="1"/>
          </p:nvPr>
        </p:nvSpPr>
        <p:spPr>
          <a:xfrm>
            <a:off x="381000" y="1306835"/>
            <a:ext cx="11428413" cy="3813596"/>
          </a:xfrm>
          <a:prstGeom prst="rect">
            <a:avLst/>
          </a:prstGeom>
        </p:spPr>
        <p:txBody>
          <a:bodyPr numCol="2" spcCol="216000">
            <a:noAutofit/>
          </a:bodyPr>
          <a:lstStyle>
            <a:lvl1pPr marL="361950" indent="-361950">
              <a:spcBef>
                <a:spcPts val="1800"/>
              </a:spcBef>
              <a:buClr>
                <a:schemeClr val="tx1"/>
              </a:buClr>
              <a:buFont typeface="+mj-lt"/>
              <a:buAutoNum type="romanUcPeriod"/>
              <a:tabLst>
                <a:tab pos="5599113" algn="r"/>
              </a:tabLst>
              <a:defRPr b="1">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a:lvl2pPr marL="628650" indent="-266700">
              <a:buFont typeface="+mj-lt"/>
              <a:buAutoNum type="arabicPeriod"/>
              <a:tabLst>
                <a:tab pos="5599113" algn="r"/>
              </a:tabLst>
              <a:defRPr>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2pPr>
            <a:lvl3pPr marL="896938" indent="-266700">
              <a:buFont typeface="+mj-lt"/>
              <a:buAutoNum type="romanLcPeriod"/>
              <a:tabLst>
                <a:tab pos="5598000" algn="r"/>
              </a:tabLst>
              <a:defRPr/>
            </a:lvl3pPr>
          </a:lstStyle>
          <a:p>
            <a:r>
              <a:rPr lang="en-GB"/>
              <a:t>Section 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r>
              <a:rPr lang="en-GB"/>
              <a:t>Section II	xx</a:t>
            </a:r>
          </a:p>
          <a:p>
            <a:pPr lvl="1"/>
            <a:r>
              <a:rPr lang="en-GB"/>
              <a:t>Sub-section 1	xx</a:t>
            </a:r>
          </a:p>
          <a:p>
            <a:pPr lvl="1"/>
            <a:r>
              <a:rPr lang="en-GB"/>
              <a:t>Sub-section 2	xx</a:t>
            </a:r>
          </a:p>
          <a:p>
            <a:pPr lvl="1"/>
            <a:r>
              <a:rPr lang="en-GB"/>
              <a:t>Sub-section 3	xx</a:t>
            </a:r>
          </a:p>
          <a:p>
            <a:endParaRPr lang="en-GB"/>
          </a:p>
          <a:p>
            <a:r>
              <a:rPr lang="en-GB"/>
              <a:t>Section III	xx</a:t>
            </a:r>
          </a:p>
          <a:p>
            <a:pPr lvl="1"/>
            <a:r>
              <a:rPr lang="en-GB"/>
              <a:t>Sub-section 1	xx</a:t>
            </a:r>
          </a:p>
          <a:p>
            <a:pPr lvl="1"/>
            <a:r>
              <a:rPr lang="en-GB"/>
              <a:t>Sub-section 2	xx</a:t>
            </a:r>
          </a:p>
          <a:p>
            <a:pPr lvl="1"/>
            <a:r>
              <a:rPr lang="en-GB"/>
              <a:t>Sub-section 3	xx</a:t>
            </a:r>
          </a:p>
          <a:p>
            <a:r>
              <a:rPr lang="en-GB"/>
              <a:t>Section IV	xx</a:t>
            </a:r>
          </a:p>
          <a:p>
            <a:pPr lvl="1"/>
            <a:r>
              <a:rPr lang="en-GB"/>
              <a:t>Sub-section 1	xx</a:t>
            </a:r>
          </a:p>
          <a:p>
            <a:pPr lvl="1"/>
            <a:r>
              <a:rPr lang="en-GB"/>
              <a:t>Sub-section 2	xx</a:t>
            </a:r>
          </a:p>
          <a:p>
            <a:pPr lvl="1"/>
            <a:r>
              <a:rPr lang="en-GB"/>
              <a:t>Sub-section 3	xx</a:t>
            </a:r>
          </a:p>
          <a:p>
            <a:r>
              <a:rPr lang="en-GB"/>
              <a:t>Section V	xx</a:t>
            </a:r>
          </a:p>
          <a:p>
            <a:pPr lvl="1"/>
            <a:r>
              <a:rPr lang="en-GB"/>
              <a:t>Sub-section 1	xx</a:t>
            </a:r>
          </a:p>
          <a:p>
            <a:pPr lvl="1"/>
            <a:r>
              <a:rPr lang="en-GB"/>
              <a:t>Sub-section 2	xx</a:t>
            </a:r>
          </a:p>
          <a:p>
            <a:pPr lvl="1"/>
            <a:r>
              <a:rPr lang="en-GB"/>
              <a:t>Sub-section 3	xx</a:t>
            </a:r>
          </a:p>
        </p:txBody>
      </p:sp>
      <p:sp>
        <p:nvSpPr>
          <p:cNvPr id="9" name="38f1b144-a7dc-4fbe-8223-e0ddcb76a106">
            <a:extLst>
              <a:ext uri="{FF2B5EF4-FFF2-40B4-BE49-F238E27FC236}">
                <a16:creationId xmlns:a16="http://schemas.microsoft.com/office/drawing/2014/main" id="{2019F545-B144-4AAC-AF7F-6469E7AAFFCD}"/>
              </a:ext>
            </a:extLst>
          </p:cNvPr>
          <p:cNvSpPr txBox="1">
            <a:spLocks/>
          </p:cNvSpPr>
          <p:nvPr/>
        </p:nvSpPr>
        <p:spPr>
          <a:xfrm>
            <a:off x="381000" y="411856"/>
            <a:ext cx="8600471" cy="304699"/>
          </a:xfrm>
          <a:prstGeom prst="rect">
            <a:avLst/>
          </a:prstGeom>
        </p:spPr>
        <p:txBody>
          <a:bodyPr vert="horz" lIns="0" tIns="0" rIns="0" bIns="0" rtlCol="0" anchor="t" anchorCtr="0">
            <a:noAutofit/>
          </a:bodyPr>
          <a:lstStyle>
            <a:lvl1pPr defTabSz="685783">
              <a:lnSpc>
                <a:spcPct val="90000"/>
              </a:lnSpc>
              <a:spcBef>
                <a:spcPct val="0"/>
              </a:spcBef>
              <a:buNone/>
              <a:defRPr lang="en-GB" sz="2200" b="1" dirty="0">
                <a:solidFill>
                  <a:schemeClr val="tx2"/>
                </a:solidFill>
                <a:latin typeface="+mj-lt"/>
                <a:ea typeface="+mj-ea"/>
                <a:cs typeface="+mj-cs"/>
              </a:defRPr>
            </a:lvl1pPr>
          </a:lstStyle>
          <a:p>
            <a:pPr lvl="0"/>
            <a:r>
              <a:rPr lang="en-GB">
                <a:latin typeface="Lato" panose="020F0502020204030203" pitchFamily="34" charset="0"/>
                <a:ea typeface="Lato" panose="020F0502020204030203" pitchFamily="34" charset="0"/>
                <a:cs typeface="Lato" panose="020F0502020204030203" pitchFamily="34" charset="0"/>
                <a:sym typeface="Lato" panose="020F0502020204030203" pitchFamily="34" charset="0"/>
              </a:rPr>
              <a:t>Agenda</a:t>
            </a:r>
          </a:p>
        </p:txBody>
      </p:sp>
    </p:spTree>
    <p:extLst>
      <p:ext uri="{BB962C8B-B14F-4D97-AF65-F5344CB8AC3E}">
        <p14:creationId xmlns:p14="http://schemas.microsoft.com/office/powerpoint/2010/main" val="390268901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slideLayout" Target="../slideLayouts/slideLayout135.xml"/><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42" Type="http://schemas.openxmlformats.org/officeDocument/2006/relationships/slideLayout" Target="../slideLayouts/slideLayout138.xml"/><Relationship Id="rId47" Type="http://schemas.openxmlformats.org/officeDocument/2006/relationships/theme" Target="../theme/theme2.xml"/><Relationship Id="rId50" Type="http://schemas.openxmlformats.org/officeDocument/2006/relationships/oleObject" Target="../embeddings/oleObject1.bin"/><Relationship Id="rId7" Type="http://schemas.openxmlformats.org/officeDocument/2006/relationships/slideLayout" Target="../slideLayouts/slideLayout10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9" Type="http://schemas.openxmlformats.org/officeDocument/2006/relationships/slideLayout" Target="../slideLayouts/slideLayout125.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slideLayout" Target="../slideLayouts/slideLayout133.xml"/><Relationship Id="rId40" Type="http://schemas.openxmlformats.org/officeDocument/2006/relationships/slideLayout" Target="../slideLayouts/slideLayout136.xml"/><Relationship Id="rId45" Type="http://schemas.openxmlformats.org/officeDocument/2006/relationships/slideLayout" Target="../slideLayouts/slideLayout141.xml"/><Relationship Id="rId53" Type="http://schemas.openxmlformats.org/officeDocument/2006/relationships/image" Target="../media/image3.svg"/><Relationship Id="rId5" Type="http://schemas.openxmlformats.org/officeDocument/2006/relationships/slideLayout" Target="../slideLayouts/slideLayout101.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4" Type="http://schemas.openxmlformats.org/officeDocument/2006/relationships/slideLayout" Target="../slideLayouts/slideLayout140.xml"/><Relationship Id="rId52" Type="http://schemas.openxmlformats.org/officeDocument/2006/relationships/image" Target="../media/image2.png"/><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43" Type="http://schemas.openxmlformats.org/officeDocument/2006/relationships/slideLayout" Target="../slideLayouts/slideLayout139.xml"/><Relationship Id="rId48" Type="http://schemas.openxmlformats.org/officeDocument/2006/relationships/tags" Target="../tags/tag1.xml"/><Relationship Id="rId8" Type="http://schemas.openxmlformats.org/officeDocument/2006/relationships/slideLayout" Target="../slideLayouts/slideLayout104.xml"/><Relationship Id="rId51" Type="http://schemas.openxmlformats.org/officeDocument/2006/relationships/image" Target="../media/image1.emf"/><Relationship Id="rId3" Type="http://schemas.openxmlformats.org/officeDocument/2006/relationships/slideLayout" Target="../slideLayouts/slideLayout99.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slideLayout" Target="../slideLayouts/slideLayout134.xml"/><Relationship Id="rId46" Type="http://schemas.openxmlformats.org/officeDocument/2006/relationships/slideLayout" Target="../slideLayouts/slideLayout142.xml"/><Relationship Id="rId20" Type="http://schemas.openxmlformats.org/officeDocument/2006/relationships/slideLayout" Target="../slideLayouts/slideLayout116.xml"/><Relationship Id="rId41" Type="http://schemas.openxmlformats.org/officeDocument/2006/relationships/slideLayout" Target="../slideLayouts/slideLayout137.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slideLayout" Target="../slideLayouts/slideLayout132.xml"/><Relationship Id="rId4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theme" Target="../theme/theme3.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3.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theme" Target="../theme/theme4.xml"/><Relationship Id="rId5" Type="http://schemas.openxmlformats.org/officeDocument/2006/relationships/slideLayout" Target="../slideLayouts/slideLayout175.xml"/><Relationship Id="rId4" Type="http://schemas.openxmlformats.org/officeDocument/2006/relationships/slideLayout" Target="../slideLayouts/slideLayout17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9" Type="http://schemas.openxmlformats.org/officeDocument/2006/relationships/slideLayout" Target="../slideLayouts/slideLayout214.xml"/><Relationship Id="rId21" Type="http://schemas.openxmlformats.org/officeDocument/2006/relationships/slideLayout" Target="../slideLayouts/slideLayout196.xml"/><Relationship Id="rId34" Type="http://schemas.openxmlformats.org/officeDocument/2006/relationships/slideLayout" Target="../slideLayouts/slideLayout209.xml"/><Relationship Id="rId42" Type="http://schemas.openxmlformats.org/officeDocument/2006/relationships/slideLayout" Target="../slideLayouts/slideLayout217.xml"/><Relationship Id="rId47" Type="http://schemas.openxmlformats.org/officeDocument/2006/relationships/slideLayout" Target="../slideLayouts/slideLayout222.xml"/><Relationship Id="rId50" Type="http://schemas.openxmlformats.org/officeDocument/2006/relationships/slideLayout" Target="../slideLayouts/slideLayout225.xml"/><Relationship Id="rId55" Type="http://schemas.openxmlformats.org/officeDocument/2006/relationships/slideLayout" Target="../slideLayouts/slideLayout230.xml"/><Relationship Id="rId7" Type="http://schemas.openxmlformats.org/officeDocument/2006/relationships/slideLayout" Target="../slideLayouts/slideLayout18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9" Type="http://schemas.openxmlformats.org/officeDocument/2006/relationships/slideLayout" Target="../slideLayouts/slideLayout204.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37" Type="http://schemas.openxmlformats.org/officeDocument/2006/relationships/slideLayout" Target="../slideLayouts/slideLayout212.xml"/><Relationship Id="rId40" Type="http://schemas.openxmlformats.org/officeDocument/2006/relationships/slideLayout" Target="../slideLayouts/slideLayout215.xml"/><Relationship Id="rId45" Type="http://schemas.openxmlformats.org/officeDocument/2006/relationships/slideLayout" Target="../slideLayouts/slideLayout220.xml"/><Relationship Id="rId53" Type="http://schemas.openxmlformats.org/officeDocument/2006/relationships/slideLayout" Target="../slideLayouts/slideLayout228.xml"/><Relationship Id="rId58" Type="http://schemas.openxmlformats.org/officeDocument/2006/relationships/slideLayout" Target="../slideLayouts/slideLayout233.xml"/><Relationship Id="rId5" Type="http://schemas.openxmlformats.org/officeDocument/2006/relationships/slideLayout" Target="../slideLayouts/slideLayout180.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 Id="rId35" Type="http://schemas.openxmlformats.org/officeDocument/2006/relationships/slideLayout" Target="../slideLayouts/slideLayout210.xml"/><Relationship Id="rId43" Type="http://schemas.openxmlformats.org/officeDocument/2006/relationships/slideLayout" Target="../slideLayouts/slideLayout218.xml"/><Relationship Id="rId48" Type="http://schemas.openxmlformats.org/officeDocument/2006/relationships/slideLayout" Target="../slideLayouts/slideLayout223.xml"/><Relationship Id="rId56" Type="http://schemas.openxmlformats.org/officeDocument/2006/relationships/slideLayout" Target="../slideLayouts/slideLayout231.xml"/><Relationship Id="rId8" Type="http://schemas.openxmlformats.org/officeDocument/2006/relationships/slideLayout" Target="../slideLayouts/slideLayout183.xml"/><Relationship Id="rId51" Type="http://schemas.openxmlformats.org/officeDocument/2006/relationships/slideLayout" Target="../slideLayouts/slideLayout226.xml"/><Relationship Id="rId3" Type="http://schemas.openxmlformats.org/officeDocument/2006/relationships/slideLayout" Target="../slideLayouts/slideLayout178.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slideLayout" Target="../slideLayouts/slideLayout208.xml"/><Relationship Id="rId38" Type="http://schemas.openxmlformats.org/officeDocument/2006/relationships/slideLayout" Target="../slideLayouts/slideLayout213.xml"/><Relationship Id="rId46" Type="http://schemas.openxmlformats.org/officeDocument/2006/relationships/slideLayout" Target="../slideLayouts/slideLayout221.xml"/><Relationship Id="rId59" Type="http://schemas.openxmlformats.org/officeDocument/2006/relationships/slideLayout" Target="../slideLayouts/slideLayout234.xml"/><Relationship Id="rId20" Type="http://schemas.openxmlformats.org/officeDocument/2006/relationships/slideLayout" Target="../slideLayouts/slideLayout195.xml"/><Relationship Id="rId41" Type="http://schemas.openxmlformats.org/officeDocument/2006/relationships/slideLayout" Target="../slideLayouts/slideLayout216.xml"/><Relationship Id="rId54" Type="http://schemas.openxmlformats.org/officeDocument/2006/relationships/slideLayout" Target="../slideLayouts/slideLayout229.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36" Type="http://schemas.openxmlformats.org/officeDocument/2006/relationships/slideLayout" Target="../slideLayouts/slideLayout211.xml"/><Relationship Id="rId49" Type="http://schemas.openxmlformats.org/officeDocument/2006/relationships/slideLayout" Target="../slideLayouts/slideLayout224.xml"/><Relationship Id="rId57" Type="http://schemas.openxmlformats.org/officeDocument/2006/relationships/slideLayout" Target="../slideLayouts/slideLayout232.xml"/><Relationship Id="rId10" Type="http://schemas.openxmlformats.org/officeDocument/2006/relationships/slideLayout" Target="../slideLayouts/slideLayout185.xml"/><Relationship Id="rId31" Type="http://schemas.openxmlformats.org/officeDocument/2006/relationships/slideLayout" Target="../slideLayouts/slideLayout206.xml"/><Relationship Id="rId44" Type="http://schemas.openxmlformats.org/officeDocument/2006/relationships/slideLayout" Target="../slideLayouts/slideLayout219.xml"/><Relationship Id="rId52" Type="http://schemas.openxmlformats.org/officeDocument/2006/relationships/slideLayout" Target="../slideLayouts/slideLayout227.xml"/><Relationship Id="rId60"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 name="Revised Grid" hidden="1">
            <a:extLst>
              <a:ext uri="{FF2B5EF4-FFF2-40B4-BE49-F238E27FC236}">
                <a16:creationId xmlns:a16="http://schemas.microsoft.com/office/drawing/2014/main" id="{40D5A349-09EA-47CD-92F0-BDB9254C6FC5}"/>
              </a:ext>
            </a:extLst>
          </p:cNvPr>
          <p:cNvGrpSpPr/>
          <p:nvPr userDrawn="1"/>
        </p:nvGrpSpPr>
        <p:grpSpPr>
          <a:xfrm>
            <a:off x="-2" y="0"/>
            <a:ext cx="12192002" cy="6858000"/>
            <a:chOff x="-2" y="0"/>
            <a:chExt cx="12192002" cy="6858000"/>
          </a:xfrm>
        </p:grpSpPr>
        <p:sp>
          <p:nvSpPr>
            <p:cNvPr id="128" name="Rectangle 127">
              <a:extLst>
                <a:ext uri="{FF2B5EF4-FFF2-40B4-BE49-F238E27FC236}">
                  <a16:creationId xmlns:a16="http://schemas.microsoft.com/office/drawing/2014/main" id="{7FD1F024-68D9-41EE-AE55-7A3797E8EB8F}"/>
                </a:ext>
              </a:extLst>
            </p:cNvPr>
            <p:cNvSpPr/>
            <p:nvPr userDrawn="1"/>
          </p:nvSpPr>
          <p:spPr>
            <a:xfrm>
              <a:off x="11782424" y="0"/>
              <a:ext cx="409576" cy="352425"/>
            </a:xfrm>
            <a:prstGeom prst="rect">
              <a:avLst/>
            </a:prstGeom>
            <a:solidFill>
              <a:srgbClr val="003F2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30" name="Rectangle 129">
              <a:extLst>
                <a:ext uri="{FF2B5EF4-FFF2-40B4-BE49-F238E27FC236}">
                  <a16:creationId xmlns:a16="http://schemas.microsoft.com/office/drawing/2014/main" id="{192A3B52-ED93-496C-BC02-3F1B37908847}"/>
                </a:ext>
              </a:extLst>
            </p:cNvPr>
            <p:cNvSpPr/>
            <p:nvPr userDrawn="1"/>
          </p:nvSpPr>
          <p:spPr>
            <a:xfrm>
              <a:off x="920411"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31" name="Rectangle 130">
              <a:extLst>
                <a:ext uri="{FF2B5EF4-FFF2-40B4-BE49-F238E27FC236}">
                  <a16:creationId xmlns:a16="http://schemas.microsoft.com/office/drawing/2014/main" id="{E69B75DB-CF66-403F-A1C7-9FAFD772037E}"/>
                </a:ext>
              </a:extLst>
            </p:cNvPr>
            <p:cNvSpPr/>
            <p:nvPr userDrawn="1"/>
          </p:nvSpPr>
          <p:spPr>
            <a:xfrm>
              <a:off x="1432860"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32" name="Rectangle 131">
              <a:extLst>
                <a:ext uri="{FF2B5EF4-FFF2-40B4-BE49-F238E27FC236}">
                  <a16:creationId xmlns:a16="http://schemas.microsoft.com/office/drawing/2014/main" id="{5BC723CD-6EEB-4635-A055-D5E5E2F2E16C}"/>
                </a:ext>
              </a:extLst>
            </p:cNvPr>
            <p:cNvSpPr/>
            <p:nvPr userDrawn="1"/>
          </p:nvSpPr>
          <p:spPr>
            <a:xfrm>
              <a:off x="1945309"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33" name="Rectangle 132">
              <a:extLst>
                <a:ext uri="{FF2B5EF4-FFF2-40B4-BE49-F238E27FC236}">
                  <a16:creationId xmlns:a16="http://schemas.microsoft.com/office/drawing/2014/main" id="{41DD2B6A-F957-4D03-A677-40B7B9E0C501}"/>
                </a:ext>
              </a:extLst>
            </p:cNvPr>
            <p:cNvSpPr/>
            <p:nvPr userDrawn="1"/>
          </p:nvSpPr>
          <p:spPr>
            <a:xfrm>
              <a:off x="2457758"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34" name="Rectangle 133">
              <a:extLst>
                <a:ext uri="{FF2B5EF4-FFF2-40B4-BE49-F238E27FC236}">
                  <a16:creationId xmlns:a16="http://schemas.microsoft.com/office/drawing/2014/main" id="{E09D14ED-EC22-47DE-9CCF-B61DB9B2A518}"/>
                </a:ext>
              </a:extLst>
            </p:cNvPr>
            <p:cNvSpPr/>
            <p:nvPr userDrawn="1"/>
          </p:nvSpPr>
          <p:spPr>
            <a:xfrm>
              <a:off x="2970207"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35" name="Rectangle 134">
              <a:extLst>
                <a:ext uri="{FF2B5EF4-FFF2-40B4-BE49-F238E27FC236}">
                  <a16:creationId xmlns:a16="http://schemas.microsoft.com/office/drawing/2014/main" id="{9CC243E3-B536-42DB-A4D7-19C88EA31B5A}"/>
                </a:ext>
              </a:extLst>
            </p:cNvPr>
            <p:cNvSpPr/>
            <p:nvPr userDrawn="1"/>
          </p:nvSpPr>
          <p:spPr>
            <a:xfrm>
              <a:off x="3482656"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36" name="Rectangle 135">
              <a:extLst>
                <a:ext uri="{FF2B5EF4-FFF2-40B4-BE49-F238E27FC236}">
                  <a16:creationId xmlns:a16="http://schemas.microsoft.com/office/drawing/2014/main" id="{A57FF7C2-44AB-4FDE-A52E-68E4FBEB0AAD}"/>
                </a:ext>
              </a:extLst>
            </p:cNvPr>
            <p:cNvSpPr/>
            <p:nvPr userDrawn="1"/>
          </p:nvSpPr>
          <p:spPr>
            <a:xfrm>
              <a:off x="3995105"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37" name="Rectangle 136">
              <a:extLst>
                <a:ext uri="{FF2B5EF4-FFF2-40B4-BE49-F238E27FC236}">
                  <a16:creationId xmlns:a16="http://schemas.microsoft.com/office/drawing/2014/main" id="{CE9D51E0-83FA-44B9-A096-0BAABF3324BA}"/>
                </a:ext>
              </a:extLst>
            </p:cNvPr>
            <p:cNvSpPr/>
            <p:nvPr userDrawn="1"/>
          </p:nvSpPr>
          <p:spPr>
            <a:xfrm>
              <a:off x="4507554"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38" name="Rectangle 137">
              <a:extLst>
                <a:ext uri="{FF2B5EF4-FFF2-40B4-BE49-F238E27FC236}">
                  <a16:creationId xmlns:a16="http://schemas.microsoft.com/office/drawing/2014/main" id="{759A6952-75EA-4006-BFEE-A8D5EACBEB8E}"/>
                </a:ext>
              </a:extLst>
            </p:cNvPr>
            <p:cNvSpPr/>
            <p:nvPr userDrawn="1"/>
          </p:nvSpPr>
          <p:spPr>
            <a:xfrm>
              <a:off x="5020003"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39" name="Rectangle 138">
              <a:extLst>
                <a:ext uri="{FF2B5EF4-FFF2-40B4-BE49-F238E27FC236}">
                  <a16:creationId xmlns:a16="http://schemas.microsoft.com/office/drawing/2014/main" id="{96AADF5F-0499-449B-8747-88B8506BE02A}"/>
                </a:ext>
              </a:extLst>
            </p:cNvPr>
            <p:cNvSpPr/>
            <p:nvPr userDrawn="1"/>
          </p:nvSpPr>
          <p:spPr>
            <a:xfrm>
              <a:off x="5532452"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40" name="Rectangle 139">
              <a:extLst>
                <a:ext uri="{FF2B5EF4-FFF2-40B4-BE49-F238E27FC236}">
                  <a16:creationId xmlns:a16="http://schemas.microsoft.com/office/drawing/2014/main" id="{B9151978-45CD-461E-B011-A990B422E3A9}"/>
                </a:ext>
              </a:extLst>
            </p:cNvPr>
            <p:cNvSpPr/>
            <p:nvPr userDrawn="1"/>
          </p:nvSpPr>
          <p:spPr>
            <a:xfrm>
              <a:off x="6044901"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41" name="Rectangle 140">
              <a:extLst>
                <a:ext uri="{FF2B5EF4-FFF2-40B4-BE49-F238E27FC236}">
                  <a16:creationId xmlns:a16="http://schemas.microsoft.com/office/drawing/2014/main" id="{FAF5CEEA-4D46-48C2-99A8-5DFA12AC103D}"/>
                </a:ext>
              </a:extLst>
            </p:cNvPr>
            <p:cNvSpPr/>
            <p:nvPr userDrawn="1"/>
          </p:nvSpPr>
          <p:spPr>
            <a:xfrm>
              <a:off x="6557350"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42" name="Rectangle 141">
              <a:extLst>
                <a:ext uri="{FF2B5EF4-FFF2-40B4-BE49-F238E27FC236}">
                  <a16:creationId xmlns:a16="http://schemas.microsoft.com/office/drawing/2014/main" id="{A7B2740F-04C2-4A3D-927E-404F03E7595F}"/>
                </a:ext>
              </a:extLst>
            </p:cNvPr>
            <p:cNvSpPr/>
            <p:nvPr userDrawn="1"/>
          </p:nvSpPr>
          <p:spPr>
            <a:xfrm>
              <a:off x="7069799"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43" name="Rectangle 142">
              <a:extLst>
                <a:ext uri="{FF2B5EF4-FFF2-40B4-BE49-F238E27FC236}">
                  <a16:creationId xmlns:a16="http://schemas.microsoft.com/office/drawing/2014/main" id="{BCE2FC30-5ADB-4B87-A94C-B2DC8CD00050}"/>
                </a:ext>
              </a:extLst>
            </p:cNvPr>
            <p:cNvSpPr/>
            <p:nvPr userDrawn="1"/>
          </p:nvSpPr>
          <p:spPr>
            <a:xfrm>
              <a:off x="7582248"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44" name="Rectangle 143">
              <a:extLst>
                <a:ext uri="{FF2B5EF4-FFF2-40B4-BE49-F238E27FC236}">
                  <a16:creationId xmlns:a16="http://schemas.microsoft.com/office/drawing/2014/main" id="{88D366A8-5332-47E5-9DCF-8093A122ABD4}"/>
                </a:ext>
              </a:extLst>
            </p:cNvPr>
            <p:cNvSpPr/>
            <p:nvPr userDrawn="1"/>
          </p:nvSpPr>
          <p:spPr>
            <a:xfrm>
              <a:off x="8094697"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45" name="Rectangle 144">
              <a:extLst>
                <a:ext uri="{FF2B5EF4-FFF2-40B4-BE49-F238E27FC236}">
                  <a16:creationId xmlns:a16="http://schemas.microsoft.com/office/drawing/2014/main" id="{2B08E73A-2A02-4F1E-8D73-D04CE6F6D7C9}"/>
                </a:ext>
              </a:extLst>
            </p:cNvPr>
            <p:cNvSpPr/>
            <p:nvPr userDrawn="1"/>
          </p:nvSpPr>
          <p:spPr>
            <a:xfrm>
              <a:off x="8607146"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46" name="Rectangle 145">
              <a:extLst>
                <a:ext uri="{FF2B5EF4-FFF2-40B4-BE49-F238E27FC236}">
                  <a16:creationId xmlns:a16="http://schemas.microsoft.com/office/drawing/2014/main" id="{D460EBA2-54A5-4465-835F-A6B4BCF739B5}"/>
                </a:ext>
              </a:extLst>
            </p:cNvPr>
            <p:cNvSpPr/>
            <p:nvPr userDrawn="1"/>
          </p:nvSpPr>
          <p:spPr>
            <a:xfrm>
              <a:off x="9119595"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47" name="Rectangle 146">
              <a:extLst>
                <a:ext uri="{FF2B5EF4-FFF2-40B4-BE49-F238E27FC236}">
                  <a16:creationId xmlns:a16="http://schemas.microsoft.com/office/drawing/2014/main" id="{C80E8C01-E64E-4413-BAE2-91A570AD9574}"/>
                </a:ext>
              </a:extLst>
            </p:cNvPr>
            <p:cNvSpPr/>
            <p:nvPr userDrawn="1"/>
          </p:nvSpPr>
          <p:spPr>
            <a:xfrm>
              <a:off x="9632044"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48" name="Rectangle 147">
              <a:extLst>
                <a:ext uri="{FF2B5EF4-FFF2-40B4-BE49-F238E27FC236}">
                  <a16:creationId xmlns:a16="http://schemas.microsoft.com/office/drawing/2014/main" id="{4C781C87-E5B5-4699-9863-ED4EE1F62AD1}"/>
                </a:ext>
              </a:extLst>
            </p:cNvPr>
            <p:cNvSpPr/>
            <p:nvPr userDrawn="1"/>
          </p:nvSpPr>
          <p:spPr>
            <a:xfrm>
              <a:off x="10144493"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49" name="Rectangle 148">
              <a:extLst>
                <a:ext uri="{FF2B5EF4-FFF2-40B4-BE49-F238E27FC236}">
                  <a16:creationId xmlns:a16="http://schemas.microsoft.com/office/drawing/2014/main" id="{DCF1D9D4-8D5D-4D04-AE67-17DE2551E116}"/>
                </a:ext>
              </a:extLst>
            </p:cNvPr>
            <p:cNvSpPr/>
            <p:nvPr userDrawn="1"/>
          </p:nvSpPr>
          <p:spPr>
            <a:xfrm>
              <a:off x="10656942"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50" name="Rectangle 149">
              <a:extLst>
                <a:ext uri="{FF2B5EF4-FFF2-40B4-BE49-F238E27FC236}">
                  <a16:creationId xmlns:a16="http://schemas.microsoft.com/office/drawing/2014/main" id="{20BFFB2E-577F-42EA-A727-7FC53BA957F0}"/>
                </a:ext>
              </a:extLst>
            </p:cNvPr>
            <p:cNvSpPr/>
            <p:nvPr userDrawn="1"/>
          </p:nvSpPr>
          <p:spPr>
            <a:xfrm>
              <a:off x="11169391"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51" name="Rectangle 150">
              <a:extLst>
                <a:ext uri="{FF2B5EF4-FFF2-40B4-BE49-F238E27FC236}">
                  <a16:creationId xmlns:a16="http://schemas.microsoft.com/office/drawing/2014/main" id="{B10A0499-CCDC-4C98-962C-98F02BA63DBF}"/>
                </a:ext>
              </a:extLst>
            </p:cNvPr>
            <p:cNvSpPr/>
            <p:nvPr userDrawn="1"/>
          </p:nvSpPr>
          <p:spPr>
            <a:xfrm>
              <a:off x="11681840"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2" name="Rectangle 1">
              <a:extLst>
                <a:ext uri="{FF2B5EF4-FFF2-40B4-BE49-F238E27FC236}">
                  <a16:creationId xmlns:a16="http://schemas.microsoft.com/office/drawing/2014/main" id="{1F2E5F9A-FAFC-4685-AB96-6D8CFFCC3A11}"/>
                </a:ext>
              </a:extLst>
            </p:cNvPr>
            <p:cNvSpPr/>
            <p:nvPr userDrawn="1"/>
          </p:nvSpPr>
          <p:spPr>
            <a:xfrm>
              <a:off x="-2" y="0"/>
              <a:ext cx="407964" cy="352425"/>
            </a:xfrm>
            <a:prstGeom prst="rect">
              <a:avLst/>
            </a:prstGeom>
            <a:solidFill>
              <a:srgbClr val="003F2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56" name="Rectangle 155">
              <a:extLst>
                <a:ext uri="{FF2B5EF4-FFF2-40B4-BE49-F238E27FC236}">
                  <a16:creationId xmlns:a16="http://schemas.microsoft.com/office/drawing/2014/main" id="{2C45F6DD-57AA-4B23-A232-BC495AF23A85}"/>
                </a:ext>
              </a:extLst>
            </p:cNvPr>
            <p:cNvSpPr/>
            <p:nvPr userDrawn="1"/>
          </p:nvSpPr>
          <p:spPr>
            <a:xfrm>
              <a:off x="-2" y="1499795"/>
              <a:ext cx="407964" cy="10058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57" name="Rectangle 156">
              <a:extLst>
                <a:ext uri="{FF2B5EF4-FFF2-40B4-BE49-F238E27FC236}">
                  <a16:creationId xmlns:a16="http://schemas.microsoft.com/office/drawing/2014/main" id="{B757AC7E-7339-48E4-8427-1FC7B3CF63C5}"/>
                </a:ext>
              </a:extLst>
            </p:cNvPr>
            <p:cNvSpPr/>
            <p:nvPr userDrawn="1"/>
          </p:nvSpPr>
          <p:spPr>
            <a:xfrm>
              <a:off x="-2" y="2126099"/>
              <a:ext cx="407964" cy="10058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58" name="Rectangle 157">
              <a:extLst>
                <a:ext uri="{FF2B5EF4-FFF2-40B4-BE49-F238E27FC236}">
                  <a16:creationId xmlns:a16="http://schemas.microsoft.com/office/drawing/2014/main" id="{405CC6FA-8976-4A8D-849E-AB90D510B847}"/>
                </a:ext>
              </a:extLst>
            </p:cNvPr>
            <p:cNvSpPr/>
            <p:nvPr userDrawn="1"/>
          </p:nvSpPr>
          <p:spPr>
            <a:xfrm>
              <a:off x="-2" y="2752403"/>
              <a:ext cx="407964" cy="10058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59" name="Rectangle 158">
              <a:extLst>
                <a:ext uri="{FF2B5EF4-FFF2-40B4-BE49-F238E27FC236}">
                  <a16:creationId xmlns:a16="http://schemas.microsoft.com/office/drawing/2014/main" id="{5A90981E-485F-4B9A-8192-7F577B4132FC}"/>
                </a:ext>
              </a:extLst>
            </p:cNvPr>
            <p:cNvSpPr/>
            <p:nvPr userDrawn="1"/>
          </p:nvSpPr>
          <p:spPr>
            <a:xfrm>
              <a:off x="-2" y="3378707"/>
              <a:ext cx="407964" cy="10058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60" name="Rectangle 159">
              <a:extLst>
                <a:ext uri="{FF2B5EF4-FFF2-40B4-BE49-F238E27FC236}">
                  <a16:creationId xmlns:a16="http://schemas.microsoft.com/office/drawing/2014/main" id="{A919F441-23FA-4B71-86D4-78CA1BBCA16E}"/>
                </a:ext>
              </a:extLst>
            </p:cNvPr>
            <p:cNvSpPr/>
            <p:nvPr userDrawn="1"/>
          </p:nvSpPr>
          <p:spPr>
            <a:xfrm>
              <a:off x="-2" y="4005011"/>
              <a:ext cx="407964" cy="10058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61" name="Rectangle 160">
              <a:extLst>
                <a:ext uri="{FF2B5EF4-FFF2-40B4-BE49-F238E27FC236}">
                  <a16:creationId xmlns:a16="http://schemas.microsoft.com/office/drawing/2014/main" id="{FC93837A-3379-45BD-A289-BBB7E078CB90}"/>
                </a:ext>
              </a:extLst>
            </p:cNvPr>
            <p:cNvSpPr/>
            <p:nvPr userDrawn="1"/>
          </p:nvSpPr>
          <p:spPr>
            <a:xfrm>
              <a:off x="-2" y="4631315"/>
              <a:ext cx="407964" cy="10058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66" name="Rectangle 165">
              <a:extLst>
                <a:ext uri="{FF2B5EF4-FFF2-40B4-BE49-F238E27FC236}">
                  <a16:creationId xmlns:a16="http://schemas.microsoft.com/office/drawing/2014/main" id="{44F5F903-BB9D-43EB-A5D0-12CF0F1AE1B5}"/>
                </a:ext>
              </a:extLst>
            </p:cNvPr>
            <p:cNvSpPr/>
            <p:nvPr userDrawn="1"/>
          </p:nvSpPr>
          <p:spPr>
            <a:xfrm>
              <a:off x="-2" y="5257619"/>
              <a:ext cx="407964" cy="100584"/>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70" name="Rectangle 169">
              <a:extLst>
                <a:ext uri="{FF2B5EF4-FFF2-40B4-BE49-F238E27FC236}">
                  <a16:creationId xmlns:a16="http://schemas.microsoft.com/office/drawing/2014/main" id="{8A325BCE-C99F-4B84-91CA-F3643F4B1DE8}"/>
                </a:ext>
              </a:extLst>
            </p:cNvPr>
            <p:cNvSpPr/>
            <p:nvPr userDrawn="1"/>
          </p:nvSpPr>
          <p:spPr>
            <a:xfrm>
              <a:off x="-2" y="876300"/>
              <a:ext cx="407964" cy="9777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72" name="Rectangle 171">
              <a:extLst>
                <a:ext uri="{FF2B5EF4-FFF2-40B4-BE49-F238E27FC236}">
                  <a16:creationId xmlns:a16="http://schemas.microsoft.com/office/drawing/2014/main" id="{F9DE1136-277D-40EC-8A26-E9B9345DF0F6}"/>
                </a:ext>
              </a:extLst>
            </p:cNvPr>
            <p:cNvSpPr/>
            <p:nvPr userDrawn="1"/>
          </p:nvSpPr>
          <p:spPr>
            <a:xfrm flipV="1">
              <a:off x="-2" y="6505575"/>
              <a:ext cx="407964" cy="352425"/>
            </a:xfrm>
            <a:prstGeom prst="rect">
              <a:avLst/>
            </a:prstGeom>
            <a:solidFill>
              <a:srgbClr val="003F2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75" name="Rectangle 174">
              <a:extLst>
                <a:ext uri="{FF2B5EF4-FFF2-40B4-BE49-F238E27FC236}">
                  <a16:creationId xmlns:a16="http://schemas.microsoft.com/office/drawing/2014/main" id="{AEFF5538-8C30-46ED-A7AE-32352DB97E32}"/>
                </a:ext>
              </a:extLst>
            </p:cNvPr>
            <p:cNvSpPr/>
            <p:nvPr userDrawn="1"/>
          </p:nvSpPr>
          <p:spPr>
            <a:xfrm flipV="1">
              <a:off x="-2" y="5883925"/>
              <a:ext cx="407964" cy="9777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dirty="0">
                <a:solidFill>
                  <a:schemeClr val="bg1"/>
                </a:solidFill>
              </a:endParaRPr>
            </a:p>
          </p:txBody>
        </p:sp>
        <p:sp>
          <p:nvSpPr>
            <p:cNvPr id="187" name="Rectangle 186">
              <a:extLst>
                <a:ext uri="{FF2B5EF4-FFF2-40B4-BE49-F238E27FC236}">
                  <a16:creationId xmlns:a16="http://schemas.microsoft.com/office/drawing/2014/main" id="{E7387E6F-45D4-4A80-B30C-DAA65504A7D8}"/>
                </a:ext>
              </a:extLst>
            </p:cNvPr>
            <p:cNvSpPr/>
            <p:nvPr userDrawn="1"/>
          </p:nvSpPr>
          <p:spPr>
            <a:xfrm flipH="1">
              <a:off x="407962" y="0"/>
              <a:ext cx="100584" cy="352425"/>
            </a:xfrm>
            <a:prstGeom prst="rect">
              <a:avLst/>
            </a:prstGeom>
            <a:solidFill>
              <a:srgbClr val="80BB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lvl="0" algn="ctr">
                <a:spcAft>
                  <a:spcPts val="300"/>
                </a:spcAft>
              </a:pPr>
              <a:endParaRPr lang="en-GB" dirty="0">
                <a:solidFill>
                  <a:schemeClr val="bg1"/>
                </a:solidFill>
              </a:endParaRPr>
            </a:p>
          </p:txBody>
        </p:sp>
        <p:sp>
          <p:nvSpPr>
            <p:cNvPr id="193" name="Rectangle 192">
              <a:extLst>
                <a:ext uri="{FF2B5EF4-FFF2-40B4-BE49-F238E27FC236}">
                  <a16:creationId xmlns:a16="http://schemas.microsoft.com/office/drawing/2014/main" id="{6B90070F-20C9-4260-8302-B2307941D71F}"/>
                </a:ext>
              </a:extLst>
            </p:cNvPr>
            <p:cNvSpPr/>
            <p:nvPr userDrawn="1"/>
          </p:nvSpPr>
          <p:spPr>
            <a:xfrm>
              <a:off x="-2" y="352425"/>
              <a:ext cx="411480" cy="100584"/>
            </a:xfrm>
            <a:prstGeom prst="rect">
              <a:avLst/>
            </a:prstGeom>
            <a:solidFill>
              <a:srgbClr val="D278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sz="2200" dirty="0">
                <a:solidFill>
                  <a:schemeClr val="bg1"/>
                </a:solidFill>
              </a:endParaRPr>
            </a:p>
          </p:txBody>
        </p:sp>
        <p:sp>
          <p:nvSpPr>
            <p:cNvPr id="194" name="Rectangle 193">
              <a:extLst>
                <a:ext uri="{FF2B5EF4-FFF2-40B4-BE49-F238E27FC236}">
                  <a16:creationId xmlns:a16="http://schemas.microsoft.com/office/drawing/2014/main" id="{77977B84-E179-47CE-9642-3E31FE2F018A}"/>
                </a:ext>
              </a:extLst>
            </p:cNvPr>
            <p:cNvSpPr/>
            <p:nvPr userDrawn="1"/>
          </p:nvSpPr>
          <p:spPr>
            <a:xfrm flipV="1">
              <a:off x="-2" y="6404991"/>
              <a:ext cx="411480" cy="100584"/>
            </a:xfrm>
            <a:prstGeom prst="rect">
              <a:avLst/>
            </a:prstGeom>
            <a:solidFill>
              <a:srgbClr val="D278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ctr">
                <a:spcAft>
                  <a:spcPts val="300"/>
                </a:spcAft>
              </a:pPr>
              <a:endParaRPr lang="en-GB" sz="2200" dirty="0">
                <a:solidFill>
                  <a:schemeClr val="bg1"/>
                </a:solidFill>
              </a:endParaRPr>
            </a:p>
          </p:txBody>
        </p:sp>
      </p:grpSp>
      <p:sp>
        <p:nvSpPr>
          <p:cNvPr id="6" name="Copyright">
            <a:extLst>
              <a:ext uri="{FF2B5EF4-FFF2-40B4-BE49-F238E27FC236}">
                <a16:creationId xmlns:a16="http://schemas.microsoft.com/office/drawing/2014/main" id="{F635EDC6-6E44-4FEB-ADC2-DD75954004E7}"/>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tx1"/>
                </a:solidFill>
                <a:latin typeface="+mn-lt"/>
                <a:ea typeface="+mn-ea"/>
                <a:cs typeface="+mn-cs"/>
              </a:rPr>
              <a:t>Confidential &amp; Proprietary | © </a:t>
            </a:r>
            <a:fld id="{B068ACA0-8C9F-4E58-A054-F52B2223E874}" type="datetimeyyyy">
              <a:rPr lang="en-GB" sz="800" b="0" kern="1200" cap="none" baseline="0" smtClean="0">
                <a:solidFill>
                  <a:schemeClr val="tx1"/>
                </a:solidFill>
                <a:latin typeface="+mn-lt"/>
                <a:ea typeface="+mn-ea"/>
                <a:cs typeface="+mn-cs"/>
              </a:rPr>
              <a:t>2024</a:t>
            </a:fld>
            <a:r>
              <a:rPr lang="en-GB" sz="800" b="0" kern="1200" cap="none" baseline="0" dirty="0">
                <a:solidFill>
                  <a:schemeClr val="tx1"/>
                </a:solidFill>
                <a:latin typeface="+mn-lt"/>
                <a:ea typeface="+mn-ea"/>
                <a:cs typeface="+mn-cs"/>
              </a:rPr>
              <a:t> CBRE, Inc.</a:t>
            </a:r>
          </a:p>
        </p:txBody>
      </p:sp>
      <p:sp>
        <p:nvSpPr>
          <p:cNvPr id="18" name="Text Placeholder 17">
            <a:extLst>
              <a:ext uri="{FF2B5EF4-FFF2-40B4-BE49-F238E27FC236}">
                <a16:creationId xmlns:a16="http://schemas.microsoft.com/office/drawing/2014/main" id="{2593EE55-8927-4040-B221-77F9998365E8}"/>
              </a:ext>
            </a:extLst>
          </p:cNvPr>
          <p:cNvSpPr>
            <a:spLocks noGrp="1"/>
          </p:cNvSpPr>
          <p:nvPr userDrawn="1">
            <p:ph type="body" idx="1"/>
          </p:nvPr>
        </p:nvSpPr>
        <p:spPr>
          <a:xfrm>
            <a:off x="3584575" y="1601788"/>
            <a:ext cx="3484562" cy="4275137"/>
          </a:xfrm>
          <a:prstGeom prst="rect">
            <a:avLst/>
          </a:prstGeom>
        </p:spPr>
        <p:txBody>
          <a:bodyPr vert="horz" lIns="0" tIns="0" rIns="72000" bIns="0" rtlCol="0">
            <a:noAutofit/>
          </a:bodyPr>
          <a:lstStyle/>
          <a:p>
            <a:pPr lvl="0"/>
            <a:r>
              <a:rPr lang="en-GB"/>
              <a:t>Heading 1</a:t>
            </a:r>
          </a:p>
          <a:p>
            <a:pPr lvl="1"/>
            <a:r>
              <a:rPr lang="en-GB"/>
              <a:t>Heading 2</a:t>
            </a:r>
          </a:p>
          <a:p>
            <a:pPr lvl="2"/>
            <a:r>
              <a:rPr lang="en-GB"/>
              <a:t>Body Copy</a:t>
            </a:r>
          </a:p>
          <a:p>
            <a:pPr lvl="3"/>
            <a:r>
              <a:rPr lang="en-GB"/>
              <a:t>Body Bullet</a:t>
            </a:r>
          </a:p>
          <a:p>
            <a:pPr lvl="4"/>
            <a:r>
              <a:rPr lang="en-GB"/>
              <a:t>Body Bullet 2</a:t>
            </a:r>
          </a:p>
          <a:p>
            <a:pPr lvl="5"/>
            <a:r>
              <a:rPr lang="en-GB"/>
              <a:t>Heading 3</a:t>
            </a:r>
          </a:p>
          <a:p>
            <a:pPr lvl="6"/>
            <a:r>
              <a:rPr lang="en-GB"/>
              <a:t>Caption</a:t>
            </a:r>
          </a:p>
          <a:p>
            <a:pPr lvl="7"/>
            <a:r>
              <a:rPr lang="en-GB"/>
              <a:t>Caption copy</a:t>
            </a:r>
          </a:p>
          <a:p>
            <a:pPr lvl="8"/>
            <a:r>
              <a:rPr lang="en-GB"/>
              <a:t>Caption bullet</a:t>
            </a:r>
          </a:p>
        </p:txBody>
      </p:sp>
      <p:sp>
        <p:nvSpPr>
          <p:cNvPr id="14" name="Title Placeholder 13">
            <a:extLst>
              <a:ext uri="{FF2B5EF4-FFF2-40B4-BE49-F238E27FC236}">
                <a16:creationId xmlns:a16="http://schemas.microsoft.com/office/drawing/2014/main" id="{A9727837-E2B5-42C2-9C90-3857161612D6}"/>
              </a:ext>
            </a:extLst>
          </p:cNvPr>
          <p:cNvSpPr>
            <a:spLocks noGrp="1"/>
          </p:cNvSpPr>
          <p:nvPr userDrawn="1">
            <p:ph type="title"/>
          </p:nvPr>
        </p:nvSpPr>
        <p:spPr>
          <a:xfrm>
            <a:off x="511176" y="1601788"/>
            <a:ext cx="2971800" cy="1325563"/>
          </a:xfrm>
          <a:prstGeom prst="rect">
            <a:avLst/>
          </a:prstGeom>
        </p:spPr>
        <p:txBody>
          <a:bodyPr vert="horz" lIns="0" tIns="0" rIns="0" bIns="0" rtlCol="0" anchor="t">
            <a:noAutofit/>
          </a:bodyPr>
          <a:lstStyle/>
          <a:p>
            <a:r>
              <a:rPr lang="en-GB"/>
              <a:t>Click to edit Master title style</a:t>
            </a:r>
          </a:p>
        </p:txBody>
      </p:sp>
      <p:grpSp>
        <p:nvGrpSpPr>
          <p:cNvPr id="3" name="3 RULERS">
            <a:extLst>
              <a:ext uri="{FF2B5EF4-FFF2-40B4-BE49-F238E27FC236}">
                <a16:creationId xmlns:a16="http://schemas.microsoft.com/office/drawing/2014/main" id="{58546772-EDD0-49D0-8555-CCCD409EC605}"/>
              </a:ext>
            </a:extLst>
          </p:cNvPr>
          <p:cNvGrpSpPr/>
          <p:nvPr userDrawn="1"/>
        </p:nvGrpSpPr>
        <p:grpSpPr>
          <a:xfrm>
            <a:off x="-1" y="-1101852"/>
            <a:ext cx="12700255" cy="8655870"/>
            <a:chOff x="-1" y="-1101852"/>
            <a:chExt cx="12700255" cy="8655870"/>
          </a:xfrm>
        </p:grpSpPr>
        <p:grpSp>
          <p:nvGrpSpPr>
            <p:cNvPr id="231" name="BOTTOM RULER">
              <a:extLst>
                <a:ext uri="{FF2B5EF4-FFF2-40B4-BE49-F238E27FC236}">
                  <a16:creationId xmlns:a16="http://schemas.microsoft.com/office/drawing/2014/main" id="{FF19BDBA-4DD0-4E84-A507-BE3A8B1A597A}"/>
                </a:ext>
              </a:extLst>
            </p:cNvPr>
            <p:cNvGrpSpPr/>
            <p:nvPr userDrawn="1"/>
          </p:nvGrpSpPr>
          <p:grpSpPr>
            <a:xfrm>
              <a:off x="0" y="6977946"/>
              <a:ext cx="12191991" cy="576072"/>
              <a:chOff x="0" y="6977946"/>
              <a:chExt cx="12191991" cy="576072"/>
            </a:xfrm>
          </p:grpSpPr>
          <p:sp>
            <p:nvSpPr>
              <p:cNvPr id="342" name="Rectangle 341">
                <a:extLst>
                  <a:ext uri="{FF2B5EF4-FFF2-40B4-BE49-F238E27FC236}">
                    <a16:creationId xmlns:a16="http://schemas.microsoft.com/office/drawing/2014/main" id="{EB93C678-614C-454B-9F72-5DC02AD9F826}"/>
                  </a:ext>
                </a:extLst>
              </p:cNvPr>
              <p:cNvSpPr/>
              <p:nvPr userDrawn="1"/>
            </p:nvSpPr>
            <p:spPr>
              <a:xfrm>
                <a:off x="0" y="6977946"/>
                <a:ext cx="12191991" cy="576072"/>
              </a:xfrm>
              <a:prstGeom prst="rect">
                <a:avLst/>
              </a:prstGeom>
              <a:solidFill>
                <a:srgbClr val="FFFFFF">
                  <a:alpha val="30000"/>
                </a:srgbClr>
              </a:solidFill>
              <a:ln w="25400" cap="flat" cmpd="sng" algn="ctr">
                <a:noFill/>
                <a:prstDash val="solid"/>
              </a:ln>
              <a:effectLst/>
            </p:spPr>
            <p:txBody>
              <a:bodyPr rtlCol="0" anchor="ctr"/>
              <a:lstStyle/>
              <a:p>
                <a:pPr marL="0" marR="0" lvl="0" indent="0" algn="ctr" defTabSz="871317" eaLnBrk="1" fontAlgn="auto" latinLnBrk="0" hangingPunct="1">
                  <a:lnSpc>
                    <a:spcPct val="100000"/>
                  </a:lnSpc>
                  <a:spcBef>
                    <a:spcPts val="0"/>
                  </a:spcBef>
                  <a:spcAft>
                    <a:spcPts val="0"/>
                  </a:spcAft>
                  <a:buClrTx/>
                  <a:buSzTx/>
                  <a:buFontTx/>
                  <a:buNone/>
                  <a:tabLst/>
                  <a:defRPr/>
                </a:pPr>
                <a:endParaRPr kumimoji="0" lang="en-GB" sz="1715"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grpSp>
            <p:nvGrpSpPr>
              <p:cNvPr id="230" name="Group 229">
                <a:extLst>
                  <a:ext uri="{FF2B5EF4-FFF2-40B4-BE49-F238E27FC236}">
                    <a16:creationId xmlns:a16="http://schemas.microsoft.com/office/drawing/2014/main" id="{5F8DFE26-6034-49EF-BDB4-A1FC69A21E6A}"/>
                  </a:ext>
                </a:extLst>
              </p:cNvPr>
              <p:cNvGrpSpPr/>
              <p:nvPr userDrawn="1"/>
            </p:nvGrpSpPr>
            <p:grpSpPr>
              <a:xfrm>
                <a:off x="511175" y="7434126"/>
                <a:ext cx="11168063" cy="54864"/>
                <a:chOff x="511175" y="7434126"/>
                <a:chExt cx="11168063" cy="54864"/>
              </a:xfrm>
            </p:grpSpPr>
            <p:sp>
              <p:nvSpPr>
                <p:cNvPr id="360" name="Rectangle 359">
                  <a:extLst>
                    <a:ext uri="{FF2B5EF4-FFF2-40B4-BE49-F238E27FC236}">
                      <a16:creationId xmlns:a16="http://schemas.microsoft.com/office/drawing/2014/main" id="{D2924E4D-109A-4FF1-B165-149C0C8DB05E}"/>
                    </a:ext>
                  </a:extLst>
                </p:cNvPr>
                <p:cNvSpPr/>
                <p:nvPr userDrawn="1"/>
              </p:nvSpPr>
              <p:spPr>
                <a:xfrm>
                  <a:off x="511175" y="7434126"/>
                  <a:ext cx="5533467" cy="54864"/>
                </a:xfrm>
                <a:prstGeom prst="rect">
                  <a:avLst/>
                </a:prstGeom>
                <a:gradFill flip="none" rotWithShape="1">
                  <a:gsLst>
                    <a:gs pos="0">
                      <a:srgbClr val="3E7CA6">
                        <a:alpha val="10000"/>
                      </a:srgbClr>
                    </a:gs>
                    <a:gs pos="50000">
                      <a:srgbClr val="3E7CA6">
                        <a:alpha val="20000"/>
                      </a:srgb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18288" rtlCol="0" anchor="ctr" anchorCtr="0"/>
                <a:lstStyle/>
                <a:p>
                  <a:pPr lvl="0" algn="l">
                    <a:spcAft>
                      <a:spcPts val="300"/>
                    </a:spcAft>
                  </a:pPr>
                  <a:r>
                    <a:rPr lang="en-GB" sz="1050" dirty="0">
                      <a:solidFill>
                        <a:srgbClr val="3E7CA6"/>
                      </a:solidFill>
                      <a:latin typeface="Calibre Medium" panose="020B0603030202060203" pitchFamily="34" charset="0"/>
                    </a:rPr>
                    <a:t>1/2 = 6.05” / 15.37 cm</a:t>
                  </a:r>
                </a:p>
              </p:txBody>
            </p:sp>
            <p:sp>
              <p:nvSpPr>
                <p:cNvPr id="361" name="Rectangle 360">
                  <a:extLst>
                    <a:ext uri="{FF2B5EF4-FFF2-40B4-BE49-F238E27FC236}">
                      <a16:creationId xmlns:a16="http://schemas.microsoft.com/office/drawing/2014/main" id="{E557CE4E-1758-4C80-95DC-F1BA07C7A284}"/>
                    </a:ext>
                  </a:extLst>
                </p:cNvPr>
                <p:cNvSpPr/>
                <p:nvPr userDrawn="1"/>
              </p:nvSpPr>
              <p:spPr>
                <a:xfrm>
                  <a:off x="6145771" y="7434126"/>
                  <a:ext cx="5533467" cy="54864"/>
                </a:xfrm>
                <a:prstGeom prst="rect">
                  <a:avLst/>
                </a:prstGeom>
                <a:gradFill flip="none" rotWithShape="1">
                  <a:gsLst>
                    <a:gs pos="0">
                      <a:srgbClr val="3E7CA6">
                        <a:alpha val="10000"/>
                      </a:srgbClr>
                    </a:gs>
                    <a:gs pos="50000">
                      <a:srgbClr val="3E7CA6">
                        <a:alpha val="20000"/>
                      </a:srgb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18288" rtlCol="0" anchor="ctr" anchorCtr="0"/>
                <a:lstStyle/>
                <a:p>
                  <a:pPr lvl="0" algn="l">
                    <a:spcAft>
                      <a:spcPts val="300"/>
                    </a:spcAft>
                  </a:pPr>
                  <a:endParaRPr lang="en-GB" sz="1050" dirty="0">
                    <a:solidFill>
                      <a:srgbClr val="3E7CA6"/>
                    </a:solidFill>
                    <a:latin typeface="Calibre Medium" panose="020B0603030202060203" pitchFamily="34" charset="0"/>
                  </a:endParaRPr>
                </a:p>
              </p:txBody>
            </p:sp>
          </p:grpSp>
          <p:grpSp>
            <p:nvGrpSpPr>
              <p:cNvPr id="229" name="Group 228">
                <a:extLst>
                  <a:ext uri="{FF2B5EF4-FFF2-40B4-BE49-F238E27FC236}">
                    <a16:creationId xmlns:a16="http://schemas.microsoft.com/office/drawing/2014/main" id="{F89F4776-A138-474F-A930-62CF2F72883E}"/>
                  </a:ext>
                </a:extLst>
              </p:cNvPr>
              <p:cNvGrpSpPr/>
              <p:nvPr userDrawn="1"/>
            </p:nvGrpSpPr>
            <p:grpSpPr>
              <a:xfrm>
                <a:off x="511175" y="7303742"/>
                <a:ext cx="10656888" cy="54864"/>
                <a:chOff x="511175" y="7303742"/>
                <a:chExt cx="10656888" cy="54864"/>
              </a:xfrm>
            </p:grpSpPr>
            <p:sp>
              <p:nvSpPr>
                <p:cNvPr id="357" name="Rectangle 356">
                  <a:extLst>
                    <a:ext uri="{FF2B5EF4-FFF2-40B4-BE49-F238E27FC236}">
                      <a16:creationId xmlns:a16="http://schemas.microsoft.com/office/drawing/2014/main" id="{6A6B30C3-B12A-45E8-818E-616322CE96A6}"/>
                    </a:ext>
                  </a:extLst>
                </p:cNvPr>
                <p:cNvSpPr/>
                <p:nvPr userDrawn="1"/>
              </p:nvSpPr>
              <p:spPr>
                <a:xfrm>
                  <a:off x="511175" y="7303742"/>
                  <a:ext cx="3484562" cy="54864"/>
                </a:xfrm>
                <a:prstGeom prst="rect">
                  <a:avLst/>
                </a:prstGeom>
                <a:gradFill>
                  <a:gsLst>
                    <a:gs pos="20000">
                      <a:schemeClr val="tx1">
                        <a:alpha val="10000"/>
                      </a:schemeClr>
                    </a:gs>
                    <a:gs pos="62000">
                      <a:schemeClr val="tx1">
                        <a:alpha val="20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18288" rtlCol="0" anchor="ctr" anchorCtr="0"/>
                <a:lstStyle/>
                <a:p>
                  <a:pPr lvl="0" algn="l">
                    <a:spcAft>
                      <a:spcPts val="300"/>
                    </a:spcAft>
                  </a:pPr>
                  <a:r>
                    <a:rPr lang="en-GB" sz="1050" dirty="0">
                      <a:solidFill>
                        <a:schemeClr val="tx1"/>
                      </a:solidFill>
                      <a:latin typeface="Calibre Medium" panose="020B0603030202060203" pitchFamily="34" charset="0"/>
                    </a:rPr>
                    <a:t>1/3 = 3.81” / 9.68 cm</a:t>
                  </a:r>
                </a:p>
              </p:txBody>
            </p:sp>
            <p:sp>
              <p:nvSpPr>
                <p:cNvPr id="358" name="Rectangle 357">
                  <a:extLst>
                    <a:ext uri="{FF2B5EF4-FFF2-40B4-BE49-F238E27FC236}">
                      <a16:creationId xmlns:a16="http://schemas.microsoft.com/office/drawing/2014/main" id="{9B8007E8-7732-435C-8A7E-4EF40E9FD16A}"/>
                    </a:ext>
                  </a:extLst>
                </p:cNvPr>
                <p:cNvSpPr/>
                <p:nvPr userDrawn="1"/>
              </p:nvSpPr>
              <p:spPr>
                <a:xfrm>
                  <a:off x="4097338" y="7303742"/>
                  <a:ext cx="3484562" cy="54864"/>
                </a:xfrm>
                <a:prstGeom prst="rect">
                  <a:avLst/>
                </a:prstGeom>
                <a:gradFill>
                  <a:gsLst>
                    <a:gs pos="20000">
                      <a:schemeClr val="tx1">
                        <a:alpha val="10000"/>
                      </a:schemeClr>
                    </a:gs>
                    <a:gs pos="62000">
                      <a:schemeClr val="tx1">
                        <a:alpha val="20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18288" rtlCol="0" anchor="ctr" anchorCtr="0"/>
                <a:lstStyle/>
                <a:p>
                  <a:pPr lvl="0" algn="l">
                    <a:spcAft>
                      <a:spcPts val="300"/>
                    </a:spcAft>
                  </a:pPr>
                  <a:endParaRPr lang="en-GB" sz="1050" dirty="0">
                    <a:solidFill>
                      <a:schemeClr val="tx1"/>
                    </a:solidFill>
                    <a:latin typeface="Calibre Medium" panose="020B0603030202060203" pitchFamily="34" charset="0"/>
                  </a:endParaRPr>
                </a:p>
              </p:txBody>
            </p:sp>
            <p:sp>
              <p:nvSpPr>
                <p:cNvPr id="359" name="Rectangle 358">
                  <a:extLst>
                    <a:ext uri="{FF2B5EF4-FFF2-40B4-BE49-F238E27FC236}">
                      <a16:creationId xmlns:a16="http://schemas.microsoft.com/office/drawing/2014/main" id="{5DAE70A1-8DE5-4291-B7C8-395C41615B07}"/>
                    </a:ext>
                  </a:extLst>
                </p:cNvPr>
                <p:cNvSpPr/>
                <p:nvPr userDrawn="1"/>
              </p:nvSpPr>
              <p:spPr>
                <a:xfrm>
                  <a:off x="7683501" y="7303742"/>
                  <a:ext cx="3484562" cy="54864"/>
                </a:xfrm>
                <a:prstGeom prst="rect">
                  <a:avLst/>
                </a:prstGeom>
                <a:gradFill>
                  <a:gsLst>
                    <a:gs pos="20000">
                      <a:schemeClr val="tx1">
                        <a:alpha val="10000"/>
                      </a:schemeClr>
                    </a:gs>
                    <a:gs pos="62000">
                      <a:schemeClr val="tx1">
                        <a:alpha val="20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18288" rtlCol="0" anchor="ctr" anchorCtr="0"/>
                <a:lstStyle/>
                <a:p>
                  <a:pPr lvl="0" algn="l">
                    <a:spcAft>
                      <a:spcPts val="300"/>
                    </a:spcAft>
                  </a:pPr>
                  <a:endParaRPr lang="en-GB" sz="1050" dirty="0">
                    <a:solidFill>
                      <a:schemeClr val="tx1"/>
                    </a:solidFill>
                    <a:latin typeface="Calibre Medium" panose="020B0603030202060203" pitchFamily="34" charset="0"/>
                  </a:endParaRPr>
                </a:p>
              </p:txBody>
            </p:sp>
          </p:grpSp>
          <p:grpSp>
            <p:nvGrpSpPr>
              <p:cNvPr id="228" name="Group 227">
                <a:extLst>
                  <a:ext uri="{FF2B5EF4-FFF2-40B4-BE49-F238E27FC236}">
                    <a16:creationId xmlns:a16="http://schemas.microsoft.com/office/drawing/2014/main" id="{DBCE480A-06A5-4217-BD84-B0A6F8EA0356}"/>
                  </a:ext>
                </a:extLst>
              </p:cNvPr>
              <p:cNvGrpSpPr/>
              <p:nvPr userDrawn="1"/>
            </p:nvGrpSpPr>
            <p:grpSpPr>
              <a:xfrm>
                <a:off x="511175" y="7173358"/>
                <a:ext cx="10145425" cy="54864"/>
                <a:chOff x="511175" y="7173358"/>
                <a:chExt cx="10145425" cy="54864"/>
              </a:xfrm>
            </p:grpSpPr>
            <p:sp>
              <p:nvSpPr>
                <p:cNvPr id="353" name="Rectangle 352">
                  <a:extLst>
                    <a:ext uri="{FF2B5EF4-FFF2-40B4-BE49-F238E27FC236}">
                      <a16:creationId xmlns:a16="http://schemas.microsoft.com/office/drawing/2014/main" id="{E14F47AB-9517-49F6-9BC1-943BAE70D7A0}"/>
                    </a:ext>
                  </a:extLst>
                </p:cNvPr>
                <p:cNvSpPr/>
                <p:nvPr userDrawn="1"/>
              </p:nvSpPr>
              <p:spPr>
                <a:xfrm>
                  <a:off x="511175" y="7173358"/>
                  <a:ext cx="2457450" cy="54864"/>
                </a:xfrm>
                <a:prstGeom prst="rect">
                  <a:avLst/>
                </a:prstGeom>
                <a:gradFill>
                  <a:gsLst>
                    <a:gs pos="20000">
                      <a:srgbClr val="A388BF">
                        <a:alpha val="10000"/>
                      </a:srgbClr>
                    </a:gs>
                    <a:gs pos="50000">
                      <a:srgbClr val="A388BF">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18288" rtlCol="0" anchor="ctr" anchorCtr="0"/>
                <a:lstStyle/>
                <a:p>
                  <a:pPr lvl="0" algn="l">
                    <a:spcAft>
                      <a:spcPts val="300"/>
                    </a:spcAft>
                  </a:pPr>
                  <a:r>
                    <a:rPr lang="en-GB" sz="1050" dirty="0">
                      <a:solidFill>
                        <a:srgbClr val="885073"/>
                      </a:solidFill>
                      <a:latin typeface="Calibre Medium" panose="020B0603030202060203" pitchFamily="34" charset="0"/>
                    </a:rPr>
                    <a:t>1/4 = 2.69” / 6.83 cm</a:t>
                  </a:r>
                </a:p>
              </p:txBody>
            </p:sp>
            <p:sp>
              <p:nvSpPr>
                <p:cNvPr id="206" name="Rectangle 205">
                  <a:extLst>
                    <a:ext uri="{FF2B5EF4-FFF2-40B4-BE49-F238E27FC236}">
                      <a16:creationId xmlns:a16="http://schemas.microsoft.com/office/drawing/2014/main" id="{7BB9E822-17F5-4ACA-96AC-AD97EAAC3EB4}"/>
                    </a:ext>
                  </a:extLst>
                </p:cNvPr>
                <p:cNvSpPr/>
                <p:nvPr userDrawn="1"/>
              </p:nvSpPr>
              <p:spPr>
                <a:xfrm>
                  <a:off x="3073833" y="7173358"/>
                  <a:ext cx="2457450" cy="54864"/>
                </a:xfrm>
                <a:prstGeom prst="rect">
                  <a:avLst/>
                </a:prstGeom>
                <a:gradFill>
                  <a:gsLst>
                    <a:gs pos="20000">
                      <a:srgbClr val="A388BF">
                        <a:alpha val="10000"/>
                      </a:srgbClr>
                    </a:gs>
                    <a:gs pos="50000">
                      <a:srgbClr val="A388BF">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18288" rtlCol="0" anchor="ctr" anchorCtr="0"/>
                <a:lstStyle/>
                <a:p>
                  <a:pPr lvl="0" algn="l">
                    <a:spcAft>
                      <a:spcPts val="300"/>
                    </a:spcAft>
                  </a:pPr>
                  <a:endParaRPr lang="en-GB" sz="1050" dirty="0">
                    <a:solidFill>
                      <a:srgbClr val="885073"/>
                    </a:solidFill>
                    <a:latin typeface="Calibre Medium" panose="020B0603030202060203" pitchFamily="34" charset="0"/>
                  </a:endParaRPr>
                </a:p>
              </p:txBody>
            </p:sp>
            <p:sp>
              <p:nvSpPr>
                <p:cNvPr id="207" name="Rectangle 206">
                  <a:extLst>
                    <a:ext uri="{FF2B5EF4-FFF2-40B4-BE49-F238E27FC236}">
                      <a16:creationId xmlns:a16="http://schemas.microsoft.com/office/drawing/2014/main" id="{07942AB1-52C2-4422-9D39-D93776150E3B}"/>
                    </a:ext>
                  </a:extLst>
                </p:cNvPr>
                <p:cNvSpPr/>
                <p:nvPr userDrawn="1"/>
              </p:nvSpPr>
              <p:spPr>
                <a:xfrm>
                  <a:off x="5636491" y="7173358"/>
                  <a:ext cx="2457450" cy="54864"/>
                </a:xfrm>
                <a:prstGeom prst="rect">
                  <a:avLst/>
                </a:prstGeom>
                <a:gradFill>
                  <a:gsLst>
                    <a:gs pos="20000">
                      <a:srgbClr val="A388BF">
                        <a:alpha val="10000"/>
                      </a:srgbClr>
                    </a:gs>
                    <a:gs pos="50000">
                      <a:srgbClr val="A388BF">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18288" rtlCol="0" anchor="ctr" anchorCtr="0"/>
                <a:lstStyle/>
                <a:p>
                  <a:pPr lvl="0" algn="l">
                    <a:spcAft>
                      <a:spcPts val="300"/>
                    </a:spcAft>
                  </a:pPr>
                  <a:endParaRPr lang="en-GB" sz="1050" dirty="0">
                    <a:solidFill>
                      <a:srgbClr val="885073"/>
                    </a:solidFill>
                    <a:latin typeface="Calibre Medium" panose="020B0603030202060203" pitchFamily="34" charset="0"/>
                  </a:endParaRPr>
                </a:p>
              </p:txBody>
            </p:sp>
            <p:sp>
              <p:nvSpPr>
                <p:cNvPr id="208" name="Rectangle 207">
                  <a:extLst>
                    <a:ext uri="{FF2B5EF4-FFF2-40B4-BE49-F238E27FC236}">
                      <a16:creationId xmlns:a16="http://schemas.microsoft.com/office/drawing/2014/main" id="{A0D2AC96-C1E5-437B-BC76-60BD8BEBEB0E}"/>
                    </a:ext>
                  </a:extLst>
                </p:cNvPr>
                <p:cNvSpPr/>
                <p:nvPr userDrawn="1"/>
              </p:nvSpPr>
              <p:spPr>
                <a:xfrm>
                  <a:off x="8199150" y="7173358"/>
                  <a:ext cx="2457450" cy="54864"/>
                </a:xfrm>
                <a:prstGeom prst="rect">
                  <a:avLst/>
                </a:prstGeom>
                <a:gradFill>
                  <a:gsLst>
                    <a:gs pos="20000">
                      <a:srgbClr val="A388BF">
                        <a:alpha val="10000"/>
                      </a:srgbClr>
                    </a:gs>
                    <a:gs pos="50000">
                      <a:srgbClr val="A388BF">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18288" rtlCol="0" anchor="ctr" anchorCtr="0"/>
                <a:lstStyle/>
                <a:p>
                  <a:pPr lvl="0" algn="l">
                    <a:spcAft>
                      <a:spcPts val="300"/>
                    </a:spcAft>
                  </a:pPr>
                  <a:endParaRPr lang="en-GB" sz="1050" dirty="0">
                    <a:solidFill>
                      <a:srgbClr val="885073"/>
                    </a:solidFill>
                    <a:latin typeface="Calibre Medium" panose="020B0603030202060203" pitchFamily="34" charset="0"/>
                  </a:endParaRPr>
                </a:p>
              </p:txBody>
            </p:sp>
          </p:grpSp>
          <p:grpSp>
            <p:nvGrpSpPr>
              <p:cNvPr id="227" name="Group 226">
                <a:extLst>
                  <a:ext uri="{FF2B5EF4-FFF2-40B4-BE49-F238E27FC236}">
                    <a16:creationId xmlns:a16="http://schemas.microsoft.com/office/drawing/2014/main" id="{A75F7D3C-640F-4D99-A460-2CE3171CFCF6}"/>
                  </a:ext>
                </a:extLst>
              </p:cNvPr>
              <p:cNvGrpSpPr/>
              <p:nvPr userDrawn="1"/>
            </p:nvGrpSpPr>
            <p:grpSpPr>
              <a:xfrm>
                <a:off x="511173" y="7042974"/>
                <a:ext cx="10145715" cy="54864"/>
                <a:chOff x="511173" y="7042974"/>
                <a:chExt cx="10145715" cy="54864"/>
              </a:xfrm>
            </p:grpSpPr>
            <p:sp>
              <p:nvSpPr>
                <p:cNvPr id="348" name="Rectangle 347">
                  <a:extLst>
                    <a:ext uri="{FF2B5EF4-FFF2-40B4-BE49-F238E27FC236}">
                      <a16:creationId xmlns:a16="http://schemas.microsoft.com/office/drawing/2014/main" id="{6FD6198B-89D4-4599-9984-049000E8A992}"/>
                    </a:ext>
                  </a:extLst>
                </p:cNvPr>
                <p:cNvSpPr/>
                <p:nvPr userDrawn="1"/>
              </p:nvSpPr>
              <p:spPr>
                <a:xfrm>
                  <a:off x="511173" y="7042974"/>
                  <a:ext cx="1947672" cy="54864"/>
                </a:xfrm>
                <a:prstGeom prst="rect">
                  <a:avLst/>
                </a:prstGeom>
                <a:gradFill>
                  <a:gsLst>
                    <a:gs pos="20000">
                      <a:srgbClr val="D2785A">
                        <a:alpha val="10000"/>
                      </a:srgbClr>
                    </a:gs>
                    <a:gs pos="65000">
                      <a:srgbClr val="D2785A">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18288" rtlCol="0" anchor="ctr" anchorCtr="0"/>
                <a:lstStyle/>
                <a:p>
                  <a:pPr lvl="0" algn="l">
                    <a:spcAft>
                      <a:spcPts val="300"/>
                    </a:spcAft>
                  </a:pPr>
                  <a:r>
                    <a:rPr lang="en-GB" sz="1050" dirty="0">
                      <a:solidFill>
                        <a:srgbClr val="D2785A"/>
                      </a:solidFill>
                      <a:latin typeface="Calibre Medium" panose="020B0603030202060203" pitchFamily="34" charset="0"/>
                    </a:rPr>
                    <a:t>1/5 = 2.13” / 5.41 cm</a:t>
                  </a:r>
                </a:p>
              </p:txBody>
            </p:sp>
            <p:sp>
              <p:nvSpPr>
                <p:cNvPr id="349" name="Rectangle 348">
                  <a:extLst>
                    <a:ext uri="{FF2B5EF4-FFF2-40B4-BE49-F238E27FC236}">
                      <a16:creationId xmlns:a16="http://schemas.microsoft.com/office/drawing/2014/main" id="{8496B313-A6A0-40A3-A49C-2CA437660C77}"/>
                    </a:ext>
                  </a:extLst>
                </p:cNvPr>
                <p:cNvSpPr/>
                <p:nvPr userDrawn="1"/>
              </p:nvSpPr>
              <p:spPr>
                <a:xfrm>
                  <a:off x="6659706" y="7042974"/>
                  <a:ext cx="1947672" cy="54864"/>
                </a:xfrm>
                <a:prstGeom prst="rect">
                  <a:avLst/>
                </a:prstGeom>
                <a:gradFill>
                  <a:gsLst>
                    <a:gs pos="20000">
                      <a:srgbClr val="D2785A">
                        <a:alpha val="10000"/>
                      </a:srgbClr>
                    </a:gs>
                    <a:gs pos="65000">
                      <a:srgbClr val="D2785A">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18288" rtlCol="0" anchor="ctr" anchorCtr="0"/>
                <a:lstStyle/>
                <a:p>
                  <a:pPr lvl="0" algn="l">
                    <a:spcAft>
                      <a:spcPts val="300"/>
                    </a:spcAft>
                  </a:pPr>
                  <a:endParaRPr lang="en-GB" sz="1050" dirty="0">
                    <a:solidFill>
                      <a:srgbClr val="D2785A"/>
                    </a:solidFill>
                    <a:latin typeface="Calibre Medium" panose="020B0603030202060203" pitchFamily="34" charset="0"/>
                  </a:endParaRPr>
                </a:p>
              </p:txBody>
            </p:sp>
            <p:sp>
              <p:nvSpPr>
                <p:cNvPr id="350" name="Rectangle 349">
                  <a:extLst>
                    <a:ext uri="{FF2B5EF4-FFF2-40B4-BE49-F238E27FC236}">
                      <a16:creationId xmlns:a16="http://schemas.microsoft.com/office/drawing/2014/main" id="{1833EDF0-6232-4468-AD67-BE4687B1AA78}"/>
                    </a:ext>
                  </a:extLst>
                </p:cNvPr>
                <p:cNvSpPr/>
                <p:nvPr userDrawn="1"/>
              </p:nvSpPr>
              <p:spPr>
                <a:xfrm>
                  <a:off x="2560684" y="7042974"/>
                  <a:ext cx="1947672" cy="54864"/>
                </a:xfrm>
                <a:prstGeom prst="rect">
                  <a:avLst/>
                </a:prstGeom>
                <a:gradFill>
                  <a:gsLst>
                    <a:gs pos="20000">
                      <a:srgbClr val="D2785A">
                        <a:alpha val="10000"/>
                      </a:srgbClr>
                    </a:gs>
                    <a:gs pos="65000">
                      <a:srgbClr val="D2785A">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18288" rtlCol="0" anchor="ctr" anchorCtr="0"/>
                <a:lstStyle/>
                <a:p>
                  <a:pPr lvl="0" algn="l">
                    <a:spcAft>
                      <a:spcPts val="300"/>
                    </a:spcAft>
                  </a:pPr>
                  <a:endParaRPr lang="en-GB" sz="1050" dirty="0">
                    <a:solidFill>
                      <a:srgbClr val="D2785A"/>
                    </a:solidFill>
                    <a:latin typeface="Calibre Medium" panose="020B0603030202060203" pitchFamily="34" charset="0"/>
                  </a:endParaRPr>
                </a:p>
              </p:txBody>
            </p:sp>
            <p:sp>
              <p:nvSpPr>
                <p:cNvPr id="351" name="Rectangle 350">
                  <a:extLst>
                    <a:ext uri="{FF2B5EF4-FFF2-40B4-BE49-F238E27FC236}">
                      <a16:creationId xmlns:a16="http://schemas.microsoft.com/office/drawing/2014/main" id="{A8BDB860-6409-4B19-A6F1-120487B17D9C}"/>
                    </a:ext>
                  </a:extLst>
                </p:cNvPr>
                <p:cNvSpPr/>
                <p:nvPr userDrawn="1"/>
              </p:nvSpPr>
              <p:spPr>
                <a:xfrm>
                  <a:off x="8709216" y="7042974"/>
                  <a:ext cx="1947672" cy="54864"/>
                </a:xfrm>
                <a:prstGeom prst="rect">
                  <a:avLst/>
                </a:prstGeom>
                <a:gradFill>
                  <a:gsLst>
                    <a:gs pos="20000">
                      <a:srgbClr val="D2785A">
                        <a:alpha val="10000"/>
                      </a:srgbClr>
                    </a:gs>
                    <a:gs pos="65000">
                      <a:srgbClr val="D2785A">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18288" rtlCol="0" anchor="ctr" anchorCtr="0"/>
                <a:lstStyle/>
                <a:p>
                  <a:pPr lvl="0" algn="l">
                    <a:spcAft>
                      <a:spcPts val="300"/>
                    </a:spcAft>
                  </a:pPr>
                  <a:endParaRPr lang="en-GB" sz="1050" dirty="0">
                    <a:solidFill>
                      <a:srgbClr val="D2785A"/>
                    </a:solidFill>
                    <a:latin typeface="Calibre Medium" panose="020B0603030202060203" pitchFamily="34" charset="0"/>
                  </a:endParaRPr>
                </a:p>
              </p:txBody>
            </p:sp>
            <p:sp>
              <p:nvSpPr>
                <p:cNvPr id="352" name="Rectangle 351">
                  <a:extLst>
                    <a:ext uri="{FF2B5EF4-FFF2-40B4-BE49-F238E27FC236}">
                      <a16:creationId xmlns:a16="http://schemas.microsoft.com/office/drawing/2014/main" id="{EE523920-DCCF-45C6-9746-E74EEDDAF20F}"/>
                    </a:ext>
                  </a:extLst>
                </p:cNvPr>
                <p:cNvSpPr/>
                <p:nvPr userDrawn="1"/>
              </p:nvSpPr>
              <p:spPr>
                <a:xfrm>
                  <a:off x="4610195" y="7042974"/>
                  <a:ext cx="1947672" cy="54864"/>
                </a:xfrm>
                <a:prstGeom prst="rect">
                  <a:avLst/>
                </a:prstGeom>
                <a:gradFill>
                  <a:gsLst>
                    <a:gs pos="20000">
                      <a:srgbClr val="D2785A">
                        <a:alpha val="10000"/>
                      </a:srgbClr>
                    </a:gs>
                    <a:gs pos="65000">
                      <a:srgbClr val="D2785A">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18288" rtlCol="0" anchor="ctr" anchorCtr="0"/>
                <a:lstStyle/>
                <a:p>
                  <a:pPr lvl="0" algn="l">
                    <a:spcAft>
                      <a:spcPts val="300"/>
                    </a:spcAft>
                  </a:pPr>
                  <a:endParaRPr lang="en-GB" sz="1050" dirty="0">
                    <a:solidFill>
                      <a:srgbClr val="D2785A"/>
                    </a:solidFill>
                    <a:latin typeface="Calibre Medium" panose="020B0603030202060203" pitchFamily="34" charset="0"/>
                  </a:endParaRPr>
                </a:p>
              </p:txBody>
            </p:sp>
          </p:grpSp>
        </p:grpSp>
        <p:grpSp>
          <p:nvGrpSpPr>
            <p:cNvPr id="29" name="TOP RULER">
              <a:extLst>
                <a:ext uri="{FF2B5EF4-FFF2-40B4-BE49-F238E27FC236}">
                  <a16:creationId xmlns:a16="http://schemas.microsoft.com/office/drawing/2014/main" id="{8BD4D7A9-39FE-42C7-B059-BE8635988A4A}"/>
                </a:ext>
              </a:extLst>
            </p:cNvPr>
            <p:cNvGrpSpPr/>
            <p:nvPr userDrawn="1"/>
          </p:nvGrpSpPr>
          <p:grpSpPr>
            <a:xfrm>
              <a:off x="-1" y="-1101852"/>
              <a:ext cx="12191991" cy="987552"/>
              <a:chOff x="-1" y="-1101852"/>
              <a:chExt cx="12191991" cy="987552"/>
            </a:xfrm>
          </p:grpSpPr>
          <p:sp>
            <p:nvSpPr>
              <p:cNvPr id="246" name="Rectangle 245">
                <a:extLst>
                  <a:ext uri="{FF2B5EF4-FFF2-40B4-BE49-F238E27FC236}">
                    <a16:creationId xmlns:a16="http://schemas.microsoft.com/office/drawing/2014/main" id="{32DF8F4B-DD37-4003-A5DE-0FF4E6E20B11}"/>
                  </a:ext>
                </a:extLst>
              </p:cNvPr>
              <p:cNvSpPr/>
              <p:nvPr userDrawn="1"/>
            </p:nvSpPr>
            <p:spPr>
              <a:xfrm>
                <a:off x="-1" y="-1101852"/>
                <a:ext cx="12191991" cy="987552"/>
              </a:xfrm>
              <a:prstGeom prst="rect">
                <a:avLst/>
              </a:prstGeom>
              <a:solidFill>
                <a:srgbClr val="FFFFFF">
                  <a:alpha val="30000"/>
                </a:srgbClr>
              </a:solidFill>
              <a:ln w="25400" cap="flat" cmpd="sng" algn="ctr">
                <a:noFill/>
                <a:prstDash val="solid"/>
              </a:ln>
              <a:effectLst/>
            </p:spPr>
            <p:txBody>
              <a:bodyPr lIns="91440" tIns="91440" rIns="0" bIns="0" rtlCol="0" anchor="t" anchorCtr="0"/>
              <a:lstStyle/>
              <a:p>
                <a:pPr marL="0" marR="0" lvl="0" indent="0" algn="l" defTabSz="871317"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7F8480"/>
                    </a:solidFill>
                    <a:effectLst/>
                    <a:uLnTx/>
                    <a:uFillTx/>
                    <a:latin typeface="+mn-lt"/>
                    <a:ea typeface="+mn-ea"/>
                    <a:cs typeface="+mn-cs"/>
                  </a:rPr>
                  <a:t>         Grid Guides Buddy</a:t>
                </a:r>
              </a:p>
            </p:txBody>
          </p:sp>
          <p:grpSp>
            <p:nvGrpSpPr>
              <p:cNvPr id="23" name="Group 22">
                <a:extLst>
                  <a:ext uri="{FF2B5EF4-FFF2-40B4-BE49-F238E27FC236}">
                    <a16:creationId xmlns:a16="http://schemas.microsoft.com/office/drawing/2014/main" id="{6B00D72A-38BA-42BC-8E4E-828AEE5A8077}"/>
                  </a:ext>
                </a:extLst>
              </p:cNvPr>
              <p:cNvGrpSpPr/>
              <p:nvPr userDrawn="1"/>
            </p:nvGrpSpPr>
            <p:grpSpPr>
              <a:xfrm>
                <a:off x="3583517" y="-376777"/>
                <a:ext cx="8097938" cy="54864"/>
                <a:chOff x="3583517" y="-376777"/>
                <a:chExt cx="8097938" cy="54864"/>
              </a:xfrm>
            </p:grpSpPr>
            <p:sp>
              <p:nvSpPr>
                <p:cNvPr id="278" name="Rectangle 277">
                  <a:extLst>
                    <a:ext uri="{FF2B5EF4-FFF2-40B4-BE49-F238E27FC236}">
                      <a16:creationId xmlns:a16="http://schemas.microsoft.com/office/drawing/2014/main" id="{ADA435D8-D804-4F8B-A584-E0A0C9B3B2ED}"/>
                    </a:ext>
                  </a:extLst>
                </p:cNvPr>
                <p:cNvSpPr/>
                <p:nvPr userDrawn="1"/>
              </p:nvSpPr>
              <p:spPr>
                <a:xfrm>
                  <a:off x="8195396"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10</a:t>
                  </a:r>
                </a:p>
              </p:txBody>
            </p:sp>
            <p:sp>
              <p:nvSpPr>
                <p:cNvPr id="279" name="Rectangle 278">
                  <a:extLst>
                    <a:ext uri="{FF2B5EF4-FFF2-40B4-BE49-F238E27FC236}">
                      <a16:creationId xmlns:a16="http://schemas.microsoft.com/office/drawing/2014/main" id="{F5285A6E-4679-48BB-8612-1728924AF23F}"/>
                    </a:ext>
                  </a:extLst>
                </p:cNvPr>
                <p:cNvSpPr/>
                <p:nvPr userDrawn="1"/>
              </p:nvSpPr>
              <p:spPr>
                <a:xfrm>
                  <a:off x="3583517"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1</a:t>
                  </a:r>
                </a:p>
              </p:txBody>
            </p:sp>
            <p:sp>
              <p:nvSpPr>
                <p:cNvPr id="280" name="Rectangle 279">
                  <a:extLst>
                    <a:ext uri="{FF2B5EF4-FFF2-40B4-BE49-F238E27FC236}">
                      <a16:creationId xmlns:a16="http://schemas.microsoft.com/office/drawing/2014/main" id="{7E5ABF4C-9718-4B21-B32A-77FDAC0518D0}"/>
                    </a:ext>
                  </a:extLst>
                </p:cNvPr>
                <p:cNvSpPr/>
                <p:nvPr userDrawn="1"/>
              </p:nvSpPr>
              <p:spPr>
                <a:xfrm>
                  <a:off x="4095948"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2</a:t>
                  </a:r>
                </a:p>
              </p:txBody>
            </p:sp>
            <p:sp>
              <p:nvSpPr>
                <p:cNvPr id="281" name="Rectangle 280">
                  <a:extLst>
                    <a:ext uri="{FF2B5EF4-FFF2-40B4-BE49-F238E27FC236}">
                      <a16:creationId xmlns:a16="http://schemas.microsoft.com/office/drawing/2014/main" id="{B01070ED-1823-4CEC-AECD-955650EFDF8C}"/>
                    </a:ext>
                  </a:extLst>
                </p:cNvPr>
                <p:cNvSpPr/>
                <p:nvPr userDrawn="1"/>
              </p:nvSpPr>
              <p:spPr>
                <a:xfrm>
                  <a:off x="4608379"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3</a:t>
                  </a:r>
                </a:p>
              </p:txBody>
            </p:sp>
            <p:sp>
              <p:nvSpPr>
                <p:cNvPr id="282" name="Rectangle 281">
                  <a:extLst>
                    <a:ext uri="{FF2B5EF4-FFF2-40B4-BE49-F238E27FC236}">
                      <a16:creationId xmlns:a16="http://schemas.microsoft.com/office/drawing/2014/main" id="{FC89D7D3-BAB0-4F27-A31E-336A4561CDC3}"/>
                    </a:ext>
                  </a:extLst>
                </p:cNvPr>
                <p:cNvSpPr/>
                <p:nvPr userDrawn="1"/>
              </p:nvSpPr>
              <p:spPr>
                <a:xfrm>
                  <a:off x="5120810"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4</a:t>
                  </a:r>
                </a:p>
              </p:txBody>
            </p:sp>
            <p:sp>
              <p:nvSpPr>
                <p:cNvPr id="283" name="Rectangle 282">
                  <a:extLst>
                    <a:ext uri="{FF2B5EF4-FFF2-40B4-BE49-F238E27FC236}">
                      <a16:creationId xmlns:a16="http://schemas.microsoft.com/office/drawing/2014/main" id="{B72DEB7D-A0A5-437C-B731-9A5FDCA3DE54}"/>
                    </a:ext>
                  </a:extLst>
                </p:cNvPr>
                <p:cNvSpPr/>
                <p:nvPr userDrawn="1"/>
              </p:nvSpPr>
              <p:spPr>
                <a:xfrm>
                  <a:off x="5633241"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5</a:t>
                  </a:r>
                </a:p>
              </p:txBody>
            </p:sp>
            <p:sp>
              <p:nvSpPr>
                <p:cNvPr id="284" name="Rectangle 283">
                  <a:extLst>
                    <a:ext uri="{FF2B5EF4-FFF2-40B4-BE49-F238E27FC236}">
                      <a16:creationId xmlns:a16="http://schemas.microsoft.com/office/drawing/2014/main" id="{BB960B0D-4A97-4800-BC63-540F5D150EB7}"/>
                    </a:ext>
                  </a:extLst>
                </p:cNvPr>
                <p:cNvSpPr/>
                <p:nvPr userDrawn="1"/>
              </p:nvSpPr>
              <p:spPr>
                <a:xfrm>
                  <a:off x="6145672"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6</a:t>
                  </a:r>
                </a:p>
              </p:txBody>
            </p:sp>
            <p:sp>
              <p:nvSpPr>
                <p:cNvPr id="285" name="Rectangle 284">
                  <a:extLst>
                    <a:ext uri="{FF2B5EF4-FFF2-40B4-BE49-F238E27FC236}">
                      <a16:creationId xmlns:a16="http://schemas.microsoft.com/office/drawing/2014/main" id="{151B8A5A-700D-4DE9-97A9-9C49958D8EBD}"/>
                    </a:ext>
                  </a:extLst>
                </p:cNvPr>
                <p:cNvSpPr/>
                <p:nvPr userDrawn="1"/>
              </p:nvSpPr>
              <p:spPr>
                <a:xfrm>
                  <a:off x="6658103"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7</a:t>
                  </a:r>
                </a:p>
              </p:txBody>
            </p:sp>
            <p:sp>
              <p:nvSpPr>
                <p:cNvPr id="286" name="Rectangle 285">
                  <a:extLst>
                    <a:ext uri="{FF2B5EF4-FFF2-40B4-BE49-F238E27FC236}">
                      <a16:creationId xmlns:a16="http://schemas.microsoft.com/office/drawing/2014/main" id="{69164588-6480-4CA2-B0D4-6D174943322D}"/>
                    </a:ext>
                  </a:extLst>
                </p:cNvPr>
                <p:cNvSpPr/>
                <p:nvPr userDrawn="1"/>
              </p:nvSpPr>
              <p:spPr>
                <a:xfrm>
                  <a:off x="7170534"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8</a:t>
                  </a:r>
                </a:p>
              </p:txBody>
            </p:sp>
            <p:sp>
              <p:nvSpPr>
                <p:cNvPr id="287" name="Rectangle 286">
                  <a:extLst>
                    <a:ext uri="{FF2B5EF4-FFF2-40B4-BE49-F238E27FC236}">
                      <a16:creationId xmlns:a16="http://schemas.microsoft.com/office/drawing/2014/main" id="{28E43284-01DB-4075-BEFB-93F491F96F7A}"/>
                    </a:ext>
                  </a:extLst>
                </p:cNvPr>
                <p:cNvSpPr/>
                <p:nvPr userDrawn="1"/>
              </p:nvSpPr>
              <p:spPr>
                <a:xfrm>
                  <a:off x="7682965"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9</a:t>
                  </a:r>
                </a:p>
              </p:txBody>
            </p:sp>
            <p:sp>
              <p:nvSpPr>
                <p:cNvPr id="288" name="Rectangle 287">
                  <a:extLst>
                    <a:ext uri="{FF2B5EF4-FFF2-40B4-BE49-F238E27FC236}">
                      <a16:creationId xmlns:a16="http://schemas.microsoft.com/office/drawing/2014/main" id="{70833765-6B6C-40D0-A181-0A745793C1E9}"/>
                    </a:ext>
                  </a:extLst>
                </p:cNvPr>
                <p:cNvSpPr/>
                <p:nvPr userDrawn="1"/>
              </p:nvSpPr>
              <p:spPr>
                <a:xfrm>
                  <a:off x="8707827"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11</a:t>
                  </a:r>
                </a:p>
              </p:txBody>
            </p:sp>
            <p:sp>
              <p:nvSpPr>
                <p:cNvPr id="289" name="Rectangle 288">
                  <a:extLst>
                    <a:ext uri="{FF2B5EF4-FFF2-40B4-BE49-F238E27FC236}">
                      <a16:creationId xmlns:a16="http://schemas.microsoft.com/office/drawing/2014/main" id="{881FF38E-48D6-4805-9204-A7819A68C08B}"/>
                    </a:ext>
                  </a:extLst>
                </p:cNvPr>
                <p:cNvSpPr/>
                <p:nvPr userDrawn="1"/>
              </p:nvSpPr>
              <p:spPr>
                <a:xfrm>
                  <a:off x="9220258"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12</a:t>
                  </a:r>
                </a:p>
              </p:txBody>
            </p:sp>
            <p:sp>
              <p:nvSpPr>
                <p:cNvPr id="290" name="Rectangle 289">
                  <a:extLst>
                    <a:ext uri="{FF2B5EF4-FFF2-40B4-BE49-F238E27FC236}">
                      <a16:creationId xmlns:a16="http://schemas.microsoft.com/office/drawing/2014/main" id="{D0386BD5-6BD5-42AB-89A8-3DFB72573258}"/>
                    </a:ext>
                  </a:extLst>
                </p:cNvPr>
                <p:cNvSpPr/>
                <p:nvPr userDrawn="1"/>
              </p:nvSpPr>
              <p:spPr>
                <a:xfrm>
                  <a:off x="9732689"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13</a:t>
                  </a:r>
                </a:p>
              </p:txBody>
            </p:sp>
            <p:sp>
              <p:nvSpPr>
                <p:cNvPr id="291" name="Rectangle 290">
                  <a:extLst>
                    <a:ext uri="{FF2B5EF4-FFF2-40B4-BE49-F238E27FC236}">
                      <a16:creationId xmlns:a16="http://schemas.microsoft.com/office/drawing/2014/main" id="{6DAEC0EB-4C3F-401A-9186-C7EC4523A7C1}"/>
                    </a:ext>
                  </a:extLst>
                </p:cNvPr>
                <p:cNvSpPr/>
                <p:nvPr userDrawn="1"/>
              </p:nvSpPr>
              <p:spPr>
                <a:xfrm>
                  <a:off x="10245120"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14</a:t>
                  </a:r>
                </a:p>
              </p:txBody>
            </p:sp>
            <p:sp>
              <p:nvSpPr>
                <p:cNvPr id="292" name="Rectangle 291">
                  <a:extLst>
                    <a:ext uri="{FF2B5EF4-FFF2-40B4-BE49-F238E27FC236}">
                      <a16:creationId xmlns:a16="http://schemas.microsoft.com/office/drawing/2014/main" id="{30B7EDE2-721A-4E9C-92A6-CED5F2413225}"/>
                    </a:ext>
                  </a:extLst>
                </p:cNvPr>
                <p:cNvSpPr/>
                <p:nvPr userDrawn="1"/>
              </p:nvSpPr>
              <p:spPr>
                <a:xfrm>
                  <a:off x="10757551"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15</a:t>
                  </a:r>
                </a:p>
              </p:txBody>
            </p:sp>
            <p:sp>
              <p:nvSpPr>
                <p:cNvPr id="293" name="Rectangle 292">
                  <a:extLst>
                    <a:ext uri="{FF2B5EF4-FFF2-40B4-BE49-F238E27FC236}">
                      <a16:creationId xmlns:a16="http://schemas.microsoft.com/office/drawing/2014/main" id="{1BD6F695-CA97-4593-98D3-AC6B2DC96C64}"/>
                    </a:ext>
                  </a:extLst>
                </p:cNvPr>
                <p:cNvSpPr/>
                <p:nvPr userDrawn="1"/>
              </p:nvSpPr>
              <p:spPr>
                <a:xfrm>
                  <a:off x="11269975" y="-376777"/>
                  <a:ext cx="411480" cy="5486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012A2D"/>
                      </a:solidFill>
                    </a:rPr>
                    <a:t>16</a:t>
                  </a:r>
                </a:p>
              </p:txBody>
            </p:sp>
          </p:grpSp>
          <p:grpSp>
            <p:nvGrpSpPr>
              <p:cNvPr id="21" name="Group 20">
                <a:extLst>
                  <a:ext uri="{FF2B5EF4-FFF2-40B4-BE49-F238E27FC236}">
                    <a16:creationId xmlns:a16="http://schemas.microsoft.com/office/drawing/2014/main" id="{998B1682-5931-4FB0-A5FC-0CEE1E51C322}"/>
                  </a:ext>
                </a:extLst>
              </p:cNvPr>
              <p:cNvGrpSpPr/>
              <p:nvPr userDrawn="1"/>
            </p:nvGrpSpPr>
            <p:grpSpPr>
              <a:xfrm>
                <a:off x="508000" y="-246392"/>
                <a:ext cx="11173455" cy="54864"/>
                <a:chOff x="508000" y="-246392"/>
                <a:chExt cx="11173455" cy="54864"/>
              </a:xfrm>
            </p:grpSpPr>
            <p:sp>
              <p:nvSpPr>
                <p:cNvPr id="295" name="Rectangle 294">
                  <a:extLst>
                    <a:ext uri="{FF2B5EF4-FFF2-40B4-BE49-F238E27FC236}">
                      <a16:creationId xmlns:a16="http://schemas.microsoft.com/office/drawing/2014/main" id="{94AFA2F1-8ECF-4D7B-A5CC-BAB9D34EBF7F}"/>
                    </a:ext>
                  </a:extLst>
                </p:cNvPr>
                <p:cNvSpPr/>
                <p:nvPr userDrawn="1"/>
              </p:nvSpPr>
              <p:spPr>
                <a:xfrm>
                  <a:off x="1021362"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2</a:t>
                  </a:r>
                </a:p>
              </p:txBody>
            </p:sp>
            <p:sp>
              <p:nvSpPr>
                <p:cNvPr id="296" name="Rectangle 295">
                  <a:extLst>
                    <a:ext uri="{FF2B5EF4-FFF2-40B4-BE49-F238E27FC236}">
                      <a16:creationId xmlns:a16="http://schemas.microsoft.com/office/drawing/2014/main" id="{758377DB-C197-47E1-BA3C-2E8BF0F71319}"/>
                    </a:ext>
                  </a:extLst>
                </p:cNvPr>
                <p:cNvSpPr/>
                <p:nvPr userDrawn="1"/>
              </p:nvSpPr>
              <p:spPr>
                <a:xfrm>
                  <a:off x="1533793"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3</a:t>
                  </a:r>
                </a:p>
              </p:txBody>
            </p:sp>
            <p:sp>
              <p:nvSpPr>
                <p:cNvPr id="297" name="Rectangle 296">
                  <a:extLst>
                    <a:ext uri="{FF2B5EF4-FFF2-40B4-BE49-F238E27FC236}">
                      <a16:creationId xmlns:a16="http://schemas.microsoft.com/office/drawing/2014/main" id="{9C6F726C-23C0-43E0-A4CD-DFE86A91A3E5}"/>
                    </a:ext>
                  </a:extLst>
                </p:cNvPr>
                <p:cNvSpPr/>
                <p:nvPr userDrawn="1"/>
              </p:nvSpPr>
              <p:spPr>
                <a:xfrm>
                  <a:off x="2046224"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4</a:t>
                  </a:r>
                </a:p>
              </p:txBody>
            </p:sp>
            <p:sp>
              <p:nvSpPr>
                <p:cNvPr id="298" name="Rectangle 297">
                  <a:extLst>
                    <a:ext uri="{FF2B5EF4-FFF2-40B4-BE49-F238E27FC236}">
                      <a16:creationId xmlns:a16="http://schemas.microsoft.com/office/drawing/2014/main" id="{2335C0D6-5A55-427D-8EE7-15AE0C79E47B}"/>
                    </a:ext>
                  </a:extLst>
                </p:cNvPr>
                <p:cNvSpPr/>
                <p:nvPr userDrawn="1"/>
              </p:nvSpPr>
              <p:spPr>
                <a:xfrm>
                  <a:off x="2558655"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5</a:t>
                  </a:r>
                </a:p>
              </p:txBody>
            </p:sp>
            <p:sp>
              <p:nvSpPr>
                <p:cNvPr id="299" name="Rectangle 298">
                  <a:extLst>
                    <a:ext uri="{FF2B5EF4-FFF2-40B4-BE49-F238E27FC236}">
                      <a16:creationId xmlns:a16="http://schemas.microsoft.com/office/drawing/2014/main" id="{284077D1-0AB0-4599-96CC-2C734CD04036}"/>
                    </a:ext>
                  </a:extLst>
                </p:cNvPr>
                <p:cNvSpPr/>
                <p:nvPr userDrawn="1"/>
              </p:nvSpPr>
              <p:spPr>
                <a:xfrm>
                  <a:off x="3071086"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6</a:t>
                  </a:r>
                </a:p>
              </p:txBody>
            </p:sp>
            <p:sp>
              <p:nvSpPr>
                <p:cNvPr id="300" name="Rectangle 299">
                  <a:extLst>
                    <a:ext uri="{FF2B5EF4-FFF2-40B4-BE49-F238E27FC236}">
                      <a16:creationId xmlns:a16="http://schemas.microsoft.com/office/drawing/2014/main" id="{1FA7ED03-FADC-424F-A5BB-379AE2A592C9}"/>
                    </a:ext>
                  </a:extLst>
                </p:cNvPr>
                <p:cNvSpPr/>
                <p:nvPr userDrawn="1"/>
              </p:nvSpPr>
              <p:spPr>
                <a:xfrm>
                  <a:off x="3583517"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7</a:t>
                  </a:r>
                </a:p>
              </p:txBody>
            </p:sp>
            <p:sp>
              <p:nvSpPr>
                <p:cNvPr id="301" name="Rectangle 300">
                  <a:extLst>
                    <a:ext uri="{FF2B5EF4-FFF2-40B4-BE49-F238E27FC236}">
                      <a16:creationId xmlns:a16="http://schemas.microsoft.com/office/drawing/2014/main" id="{E3D83FFB-A6B2-470A-BA7B-49DCF99DEE34}"/>
                    </a:ext>
                  </a:extLst>
                </p:cNvPr>
                <p:cNvSpPr/>
                <p:nvPr userDrawn="1"/>
              </p:nvSpPr>
              <p:spPr>
                <a:xfrm>
                  <a:off x="4095948"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8</a:t>
                  </a:r>
                </a:p>
              </p:txBody>
            </p:sp>
            <p:sp>
              <p:nvSpPr>
                <p:cNvPr id="302" name="Rectangle 301">
                  <a:extLst>
                    <a:ext uri="{FF2B5EF4-FFF2-40B4-BE49-F238E27FC236}">
                      <a16:creationId xmlns:a16="http://schemas.microsoft.com/office/drawing/2014/main" id="{88A71EEF-F087-4E80-915C-4C14E7CD8193}"/>
                    </a:ext>
                  </a:extLst>
                </p:cNvPr>
                <p:cNvSpPr/>
                <p:nvPr userDrawn="1"/>
              </p:nvSpPr>
              <p:spPr>
                <a:xfrm>
                  <a:off x="4608379"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9</a:t>
                  </a:r>
                </a:p>
              </p:txBody>
            </p:sp>
            <p:sp>
              <p:nvSpPr>
                <p:cNvPr id="303" name="Rectangle 302">
                  <a:extLst>
                    <a:ext uri="{FF2B5EF4-FFF2-40B4-BE49-F238E27FC236}">
                      <a16:creationId xmlns:a16="http://schemas.microsoft.com/office/drawing/2014/main" id="{DC51AADC-D28B-4F98-8ED3-4BFE256DB8DD}"/>
                    </a:ext>
                  </a:extLst>
                </p:cNvPr>
                <p:cNvSpPr/>
                <p:nvPr userDrawn="1"/>
              </p:nvSpPr>
              <p:spPr>
                <a:xfrm>
                  <a:off x="5120810"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10</a:t>
                  </a:r>
                </a:p>
              </p:txBody>
            </p:sp>
            <p:sp>
              <p:nvSpPr>
                <p:cNvPr id="304" name="Rectangle 303">
                  <a:extLst>
                    <a:ext uri="{FF2B5EF4-FFF2-40B4-BE49-F238E27FC236}">
                      <a16:creationId xmlns:a16="http://schemas.microsoft.com/office/drawing/2014/main" id="{79FC5031-D6A2-4BF6-B780-AB5DC27415E4}"/>
                    </a:ext>
                  </a:extLst>
                </p:cNvPr>
                <p:cNvSpPr/>
                <p:nvPr userDrawn="1"/>
              </p:nvSpPr>
              <p:spPr>
                <a:xfrm>
                  <a:off x="5633241"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11</a:t>
                  </a:r>
                </a:p>
              </p:txBody>
            </p:sp>
            <p:sp>
              <p:nvSpPr>
                <p:cNvPr id="305" name="Rectangle 304">
                  <a:extLst>
                    <a:ext uri="{FF2B5EF4-FFF2-40B4-BE49-F238E27FC236}">
                      <a16:creationId xmlns:a16="http://schemas.microsoft.com/office/drawing/2014/main" id="{F972080C-5FAB-45DF-8F5A-1065D2E6F888}"/>
                    </a:ext>
                  </a:extLst>
                </p:cNvPr>
                <p:cNvSpPr/>
                <p:nvPr userDrawn="1"/>
              </p:nvSpPr>
              <p:spPr>
                <a:xfrm>
                  <a:off x="6145672"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12</a:t>
                  </a:r>
                </a:p>
              </p:txBody>
            </p:sp>
            <p:sp>
              <p:nvSpPr>
                <p:cNvPr id="306" name="Rectangle 305">
                  <a:extLst>
                    <a:ext uri="{FF2B5EF4-FFF2-40B4-BE49-F238E27FC236}">
                      <a16:creationId xmlns:a16="http://schemas.microsoft.com/office/drawing/2014/main" id="{720436A7-212A-4438-8207-9F9C93CE0A19}"/>
                    </a:ext>
                  </a:extLst>
                </p:cNvPr>
                <p:cNvSpPr/>
                <p:nvPr userDrawn="1"/>
              </p:nvSpPr>
              <p:spPr>
                <a:xfrm>
                  <a:off x="6658103"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13</a:t>
                  </a:r>
                </a:p>
              </p:txBody>
            </p:sp>
            <p:sp>
              <p:nvSpPr>
                <p:cNvPr id="307" name="Rectangle 306">
                  <a:extLst>
                    <a:ext uri="{FF2B5EF4-FFF2-40B4-BE49-F238E27FC236}">
                      <a16:creationId xmlns:a16="http://schemas.microsoft.com/office/drawing/2014/main" id="{0DCF4CEE-5AEF-4AE2-875E-B03710D6BC5A}"/>
                    </a:ext>
                  </a:extLst>
                </p:cNvPr>
                <p:cNvSpPr/>
                <p:nvPr userDrawn="1"/>
              </p:nvSpPr>
              <p:spPr>
                <a:xfrm>
                  <a:off x="7170534"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14</a:t>
                  </a:r>
                </a:p>
              </p:txBody>
            </p:sp>
            <p:sp>
              <p:nvSpPr>
                <p:cNvPr id="308" name="Rectangle 307">
                  <a:extLst>
                    <a:ext uri="{FF2B5EF4-FFF2-40B4-BE49-F238E27FC236}">
                      <a16:creationId xmlns:a16="http://schemas.microsoft.com/office/drawing/2014/main" id="{025C4A78-1484-43DA-8EFC-ADB3F7B5D6DC}"/>
                    </a:ext>
                  </a:extLst>
                </p:cNvPr>
                <p:cNvSpPr/>
                <p:nvPr userDrawn="1"/>
              </p:nvSpPr>
              <p:spPr>
                <a:xfrm>
                  <a:off x="7682965"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15</a:t>
                  </a:r>
                </a:p>
              </p:txBody>
            </p:sp>
            <p:sp>
              <p:nvSpPr>
                <p:cNvPr id="309" name="Rectangle 308">
                  <a:extLst>
                    <a:ext uri="{FF2B5EF4-FFF2-40B4-BE49-F238E27FC236}">
                      <a16:creationId xmlns:a16="http://schemas.microsoft.com/office/drawing/2014/main" id="{F6596002-5719-4FC2-8D4E-95ABEFE1F4FA}"/>
                    </a:ext>
                  </a:extLst>
                </p:cNvPr>
                <p:cNvSpPr/>
                <p:nvPr userDrawn="1"/>
              </p:nvSpPr>
              <p:spPr>
                <a:xfrm>
                  <a:off x="8195396"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16</a:t>
                  </a:r>
                </a:p>
              </p:txBody>
            </p:sp>
            <p:sp>
              <p:nvSpPr>
                <p:cNvPr id="310" name="Rectangle 309">
                  <a:extLst>
                    <a:ext uri="{FF2B5EF4-FFF2-40B4-BE49-F238E27FC236}">
                      <a16:creationId xmlns:a16="http://schemas.microsoft.com/office/drawing/2014/main" id="{8890C63D-E82D-4C2A-A4CC-3573905B10E1}"/>
                    </a:ext>
                  </a:extLst>
                </p:cNvPr>
                <p:cNvSpPr/>
                <p:nvPr userDrawn="1"/>
              </p:nvSpPr>
              <p:spPr>
                <a:xfrm>
                  <a:off x="8707827"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17</a:t>
                  </a:r>
                </a:p>
              </p:txBody>
            </p:sp>
            <p:sp>
              <p:nvSpPr>
                <p:cNvPr id="311" name="Rectangle 310">
                  <a:extLst>
                    <a:ext uri="{FF2B5EF4-FFF2-40B4-BE49-F238E27FC236}">
                      <a16:creationId xmlns:a16="http://schemas.microsoft.com/office/drawing/2014/main" id="{9807124F-5C92-46A0-8536-2B34AAB22014}"/>
                    </a:ext>
                  </a:extLst>
                </p:cNvPr>
                <p:cNvSpPr/>
                <p:nvPr userDrawn="1"/>
              </p:nvSpPr>
              <p:spPr>
                <a:xfrm>
                  <a:off x="9220258"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18</a:t>
                  </a:r>
                </a:p>
              </p:txBody>
            </p:sp>
            <p:sp>
              <p:nvSpPr>
                <p:cNvPr id="312" name="Rectangle 311">
                  <a:extLst>
                    <a:ext uri="{FF2B5EF4-FFF2-40B4-BE49-F238E27FC236}">
                      <a16:creationId xmlns:a16="http://schemas.microsoft.com/office/drawing/2014/main" id="{E27BAF92-3C64-4F08-BF93-A882641CC9C2}"/>
                    </a:ext>
                  </a:extLst>
                </p:cNvPr>
                <p:cNvSpPr/>
                <p:nvPr userDrawn="1"/>
              </p:nvSpPr>
              <p:spPr>
                <a:xfrm>
                  <a:off x="9732689"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19</a:t>
                  </a:r>
                </a:p>
              </p:txBody>
            </p:sp>
            <p:sp>
              <p:nvSpPr>
                <p:cNvPr id="313" name="Rectangle 312">
                  <a:extLst>
                    <a:ext uri="{FF2B5EF4-FFF2-40B4-BE49-F238E27FC236}">
                      <a16:creationId xmlns:a16="http://schemas.microsoft.com/office/drawing/2014/main" id="{2AC7B980-8862-4072-96CA-AF05F9FC2F19}"/>
                    </a:ext>
                  </a:extLst>
                </p:cNvPr>
                <p:cNvSpPr/>
                <p:nvPr userDrawn="1"/>
              </p:nvSpPr>
              <p:spPr>
                <a:xfrm>
                  <a:off x="10245120"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20</a:t>
                  </a:r>
                </a:p>
              </p:txBody>
            </p:sp>
            <p:sp>
              <p:nvSpPr>
                <p:cNvPr id="314" name="Rectangle 313">
                  <a:extLst>
                    <a:ext uri="{FF2B5EF4-FFF2-40B4-BE49-F238E27FC236}">
                      <a16:creationId xmlns:a16="http://schemas.microsoft.com/office/drawing/2014/main" id="{C8AB94F1-4524-4A4B-A773-1C0280C84D0E}"/>
                    </a:ext>
                  </a:extLst>
                </p:cNvPr>
                <p:cNvSpPr/>
                <p:nvPr userDrawn="1"/>
              </p:nvSpPr>
              <p:spPr>
                <a:xfrm>
                  <a:off x="10757551"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21</a:t>
                  </a:r>
                </a:p>
              </p:txBody>
            </p:sp>
            <p:sp>
              <p:nvSpPr>
                <p:cNvPr id="315" name="Rectangle 314">
                  <a:extLst>
                    <a:ext uri="{FF2B5EF4-FFF2-40B4-BE49-F238E27FC236}">
                      <a16:creationId xmlns:a16="http://schemas.microsoft.com/office/drawing/2014/main" id="{7983BE89-536B-4E53-B79D-7BD5D8588804}"/>
                    </a:ext>
                  </a:extLst>
                </p:cNvPr>
                <p:cNvSpPr/>
                <p:nvPr userDrawn="1"/>
              </p:nvSpPr>
              <p:spPr>
                <a:xfrm>
                  <a:off x="11269975" y="-246392"/>
                  <a:ext cx="411480"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22</a:t>
                  </a:r>
                </a:p>
              </p:txBody>
            </p:sp>
            <p:sp>
              <p:nvSpPr>
                <p:cNvPr id="294" name="Rectangle 293">
                  <a:extLst>
                    <a:ext uri="{FF2B5EF4-FFF2-40B4-BE49-F238E27FC236}">
                      <a16:creationId xmlns:a16="http://schemas.microsoft.com/office/drawing/2014/main" id="{0C02EEC7-9937-44F4-812D-9704E54AD9A1}"/>
                    </a:ext>
                  </a:extLst>
                </p:cNvPr>
                <p:cNvSpPr/>
                <p:nvPr userDrawn="1"/>
              </p:nvSpPr>
              <p:spPr>
                <a:xfrm>
                  <a:off x="508000" y="-246392"/>
                  <a:ext cx="412411" cy="54864"/>
                </a:xfrm>
                <a:prstGeom prst="rect">
                  <a:avLst/>
                </a:prstGeom>
                <a:solidFill>
                  <a:srgbClr val="CBCDCB"/>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chemeClr val="tx1"/>
                      </a:solidFill>
                    </a:rPr>
                    <a:t>1</a:t>
                  </a:r>
                </a:p>
              </p:txBody>
            </p:sp>
          </p:grpSp>
          <p:grpSp>
            <p:nvGrpSpPr>
              <p:cNvPr id="22" name="Group 21">
                <a:extLst>
                  <a:ext uri="{FF2B5EF4-FFF2-40B4-BE49-F238E27FC236}">
                    <a16:creationId xmlns:a16="http://schemas.microsoft.com/office/drawing/2014/main" id="{F341F391-75EB-4B2D-A746-990C5CE75FC4}"/>
                  </a:ext>
                </a:extLst>
              </p:cNvPr>
              <p:cNvGrpSpPr/>
              <p:nvPr userDrawn="1"/>
            </p:nvGrpSpPr>
            <p:grpSpPr>
              <a:xfrm>
                <a:off x="508000" y="-376778"/>
                <a:ext cx="2974566" cy="54865"/>
                <a:chOff x="508000" y="-376778"/>
                <a:chExt cx="2974566" cy="54865"/>
              </a:xfrm>
            </p:grpSpPr>
            <p:sp>
              <p:nvSpPr>
                <p:cNvPr id="272" name="Rectangle 271">
                  <a:extLst>
                    <a:ext uri="{FF2B5EF4-FFF2-40B4-BE49-F238E27FC236}">
                      <a16:creationId xmlns:a16="http://schemas.microsoft.com/office/drawing/2014/main" id="{83F6563A-2026-4268-A1BE-5A7E6B5F6BA4}"/>
                    </a:ext>
                  </a:extLst>
                </p:cNvPr>
                <p:cNvSpPr/>
                <p:nvPr userDrawn="1"/>
              </p:nvSpPr>
              <p:spPr>
                <a:xfrm>
                  <a:off x="3071086" y="-376777"/>
                  <a:ext cx="411480" cy="54864"/>
                </a:xfrm>
                <a:prstGeom prst="rect">
                  <a:avLst/>
                </a:prstGeom>
                <a:solidFill>
                  <a:srgbClr val="AD2A2A">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AD2A2A"/>
                      </a:solidFill>
                    </a:rPr>
                    <a:t>-1</a:t>
                  </a:r>
                </a:p>
              </p:txBody>
            </p:sp>
            <p:sp>
              <p:nvSpPr>
                <p:cNvPr id="273" name="Rectangle 272">
                  <a:extLst>
                    <a:ext uri="{FF2B5EF4-FFF2-40B4-BE49-F238E27FC236}">
                      <a16:creationId xmlns:a16="http://schemas.microsoft.com/office/drawing/2014/main" id="{B3924D69-BA8A-4BDF-9AD9-ACD0FEECFF60}"/>
                    </a:ext>
                  </a:extLst>
                </p:cNvPr>
                <p:cNvSpPr/>
                <p:nvPr userDrawn="1"/>
              </p:nvSpPr>
              <p:spPr>
                <a:xfrm>
                  <a:off x="2558655" y="-376777"/>
                  <a:ext cx="411480" cy="54864"/>
                </a:xfrm>
                <a:prstGeom prst="rect">
                  <a:avLst/>
                </a:prstGeom>
                <a:solidFill>
                  <a:srgbClr val="AD2A2A">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AD2A2A"/>
                      </a:solidFill>
                    </a:rPr>
                    <a:t>-2</a:t>
                  </a:r>
                </a:p>
              </p:txBody>
            </p:sp>
            <p:sp>
              <p:nvSpPr>
                <p:cNvPr id="274" name="Rectangle 273">
                  <a:extLst>
                    <a:ext uri="{FF2B5EF4-FFF2-40B4-BE49-F238E27FC236}">
                      <a16:creationId xmlns:a16="http://schemas.microsoft.com/office/drawing/2014/main" id="{55CCBD03-5338-4A22-8610-A29918D09992}"/>
                    </a:ext>
                  </a:extLst>
                </p:cNvPr>
                <p:cNvSpPr/>
                <p:nvPr userDrawn="1"/>
              </p:nvSpPr>
              <p:spPr>
                <a:xfrm>
                  <a:off x="2046224" y="-376777"/>
                  <a:ext cx="411480" cy="54864"/>
                </a:xfrm>
                <a:prstGeom prst="rect">
                  <a:avLst/>
                </a:prstGeom>
                <a:solidFill>
                  <a:srgbClr val="AD2A2A">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AD2A2A"/>
                      </a:solidFill>
                    </a:rPr>
                    <a:t>-3</a:t>
                  </a:r>
                </a:p>
              </p:txBody>
            </p:sp>
            <p:sp>
              <p:nvSpPr>
                <p:cNvPr id="275" name="Rectangle 274">
                  <a:extLst>
                    <a:ext uri="{FF2B5EF4-FFF2-40B4-BE49-F238E27FC236}">
                      <a16:creationId xmlns:a16="http://schemas.microsoft.com/office/drawing/2014/main" id="{D6A91BE8-C62D-48DD-BEE7-B32CC19AAD76}"/>
                    </a:ext>
                  </a:extLst>
                </p:cNvPr>
                <p:cNvSpPr/>
                <p:nvPr userDrawn="1"/>
              </p:nvSpPr>
              <p:spPr>
                <a:xfrm>
                  <a:off x="1533793" y="-376777"/>
                  <a:ext cx="411480" cy="54864"/>
                </a:xfrm>
                <a:prstGeom prst="rect">
                  <a:avLst/>
                </a:prstGeom>
                <a:solidFill>
                  <a:srgbClr val="AD2A2A">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AD2A2A"/>
                      </a:solidFill>
                    </a:rPr>
                    <a:t>-4</a:t>
                  </a:r>
                </a:p>
              </p:txBody>
            </p:sp>
            <p:sp>
              <p:nvSpPr>
                <p:cNvPr id="276" name="Rectangle 275">
                  <a:extLst>
                    <a:ext uri="{FF2B5EF4-FFF2-40B4-BE49-F238E27FC236}">
                      <a16:creationId xmlns:a16="http://schemas.microsoft.com/office/drawing/2014/main" id="{70F553C4-17E2-454B-90A9-669C49287BAB}"/>
                    </a:ext>
                  </a:extLst>
                </p:cNvPr>
                <p:cNvSpPr/>
                <p:nvPr userDrawn="1"/>
              </p:nvSpPr>
              <p:spPr>
                <a:xfrm>
                  <a:off x="1021362" y="-376777"/>
                  <a:ext cx="411480" cy="54864"/>
                </a:xfrm>
                <a:prstGeom prst="rect">
                  <a:avLst/>
                </a:prstGeom>
                <a:solidFill>
                  <a:srgbClr val="AD2A2A">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AD2A2A"/>
                      </a:solidFill>
                    </a:rPr>
                    <a:t>-5</a:t>
                  </a:r>
                </a:p>
              </p:txBody>
            </p:sp>
            <p:sp>
              <p:nvSpPr>
                <p:cNvPr id="277" name="Rectangle 276">
                  <a:extLst>
                    <a:ext uri="{FF2B5EF4-FFF2-40B4-BE49-F238E27FC236}">
                      <a16:creationId xmlns:a16="http://schemas.microsoft.com/office/drawing/2014/main" id="{15E47176-FD6E-4FAF-8FBC-BC8146B973C9}"/>
                    </a:ext>
                  </a:extLst>
                </p:cNvPr>
                <p:cNvSpPr/>
                <p:nvPr userDrawn="1"/>
              </p:nvSpPr>
              <p:spPr>
                <a:xfrm>
                  <a:off x="508000" y="-376778"/>
                  <a:ext cx="412411" cy="54864"/>
                </a:xfrm>
                <a:prstGeom prst="rect">
                  <a:avLst/>
                </a:prstGeom>
                <a:solidFill>
                  <a:srgbClr val="AD2A2A">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288" rtlCol="0" anchor="ctr" anchorCtr="0"/>
                <a:lstStyle/>
                <a:p>
                  <a:pPr algn="ctr">
                    <a:spcAft>
                      <a:spcPts val="300"/>
                    </a:spcAft>
                  </a:pPr>
                  <a:r>
                    <a:rPr lang="en-GB" sz="1200" dirty="0">
                      <a:solidFill>
                        <a:srgbClr val="AD2A2A"/>
                      </a:solidFill>
                    </a:rPr>
                    <a:t>-6</a:t>
                  </a:r>
                </a:p>
              </p:txBody>
            </p:sp>
          </p:grpSp>
          <p:grpSp>
            <p:nvGrpSpPr>
              <p:cNvPr id="28" name="Group 27">
                <a:extLst>
                  <a:ext uri="{FF2B5EF4-FFF2-40B4-BE49-F238E27FC236}">
                    <a16:creationId xmlns:a16="http://schemas.microsoft.com/office/drawing/2014/main" id="{6E06EE3E-4E33-4CDC-B61E-F06EA489D778}"/>
                  </a:ext>
                </a:extLst>
              </p:cNvPr>
              <p:cNvGrpSpPr/>
              <p:nvPr userDrawn="1"/>
            </p:nvGrpSpPr>
            <p:grpSpPr>
              <a:xfrm>
                <a:off x="3585961" y="-1028699"/>
                <a:ext cx="8094865" cy="446016"/>
                <a:chOff x="3585961" y="-1028699"/>
                <a:chExt cx="8094865" cy="446016"/>
              </a:xfrm>
            </p:grpSpPr>
            <p:grpSp>
              <p:nvGrpSpPr>
                <p:cNvPr id="27" name="Group 26">
                  <a:extLst>
                    <a:ext uri="{FF2B5EF4-FFF2-40B4-BE49-F238E27FC236}">
                      <a16:creationId xmlns:a16="http://schemas.microsoft.com/office/drawing/2014/main" id="{2919B1F3-E68E-4D6E-A1CC-0C36E3B5FC43}"/>
                    </a:ext>
                  </a:extLst>
                </p:cNvPr>
                <p:cNvGrpSpPr/>
                <p:nvPr userDrawn="1"/>
              </p:nvGrpSpPr>
              <p:grpSpPr>
                <a:xfrm>
                  <a:off x="3585961" y="-898315"/>
                  <a:ext cx="7577540" cy="54864"/>
                  <a:chOff x="3585961" y="-898315"/>
                  <a:chExt cx="7577540" cy="54864"/>
                </a:xfrm>
              </p:grpSpPr>
              <p:sp>
                <p:nvSpPr>
                  <p:cNvPr id="265" name="Rectangle 264">
                    <a:extLst>
                      <a:ext uri="{FF2B5EF4-FFF2-40B4-BE49-F238E27FC236}">
                        <a16:creationId xmlns:a16="http://schemas.microsoft.com/office/drawing/2014/main" id="{1CBD0867-787C-48B5-B61D-94524551D006}"/>
                      </a:ext>
                    </a:extLst>
                  </p:cNvPr>
                  <p:cNvSpPr/>
                  <p:nvPr userDrawn="1"/>
                </p:nvSpPr>
                <p:spPr>
                  <a:xfrm>
                    <a:off x="8704262" y="-898315"/>
                    <a:ext cx="2459239" cy="54864"/>
                  </a:xfrm>
                  <a:prstGeom prst="rect">
                    <a:avLst/>
                  </a:prstGeom>
                  <a:gradFill>
                    <a:gsLst>
                      <a:gs pos="20000">
                        <a:schemeClr val="tx1">
                          <a:alpha val="10000"/>
                        </a:schemeClr>
                      </a:gs>
                      <a:gs pos="62000">
                        <a:schemeClr val="tx1">
                          <a:alpha val="20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551176" tIns="0" rIns="0" bIns="0" rtlCol="0" anchor="ctr" anchorCtr="0"/>
                  <a:lstStyle/>
                  <a:p>
                    <a:pPr algn="l">
                      <a:spcAft>
                        <a:spcPts val="300"/>
                      </a:spcAft>
                    </a:pPr>
                    <a:endParaRPr lang="en-GB" sz="1050" dirty="0">
                      <a:solidFill>
                        <a:srgbClr val="1F3765"/>
                      </a:solidFill>
                      <a:latin typeface="Calibre Medium" panose="020B0603030202060203" pitchFamily="34" charset="0"/>
                    </a:endParaRPr>
                  </a:p>
                </p:txBody>
              </p:sp>
              <p:sp>
                <p:nvSpPr>
                  <p:cNvPr id="266" name="Rectangle 265">
                    <a:extLst>
                      <a:ext uri="{FF2B5EF4-FFF2-40B4-BE49-F238E27FC236}">
                        <a16:creationId xmlns:a16="http://schemas.microsoft.com/office/drawing/2014/main" id="{AC410D49-41E8-4712-A471-4435FC053318}"/>
                      </a:ext>
                    </a:extLst>
                  </p:cNvPr>
                  <p:cNvSpPr/>
                  <p:nvPr userDrawn="1"/>
                </p:nvSpPr>
                <p:spPr>
                  <a:xfrm>
                    <a:off x="6143423" y="-898315"/>
                    <a:ext cx="2459239" cy="54864"/>
                  </a:xfrm>
                  <a:prstGeom prst="rect">
                    <a:avLst/>
                  </a:prstGeom>
                  <a:gradFill>
                    <a:gsLst>
                      <a:gs pos="20000">
                        <a:schemeClr val="tx1">
                          <a:alpha val="10000"/>
                        </a:schemeClr>
                      </a:gs>
                      <a:gs pos="62000">
                        <a:schemeClr val="tx1">
                          <a:alpha val="20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18288" rtlCol="0" anchor="ctr" anchorCtr="0"/>
                  <a:lstStyle/>
                  <a:p>
                    <a:pPr algn="l">
                      <a:spcAft>
                        <a:spcPts val="300"/>
                      </a:spcAft>
                    </a:pPr>
                    <a:endParaRPr lang="en-GB" sz="1050" dirty="0">
                      <a:solidFill>
                        <a:schemeClr val="tx1"/>
                      </a:solidFill>
                      <a:latin typeface="Calibre Medium" panose="020B0603030202060203" pitchFamily="34" charset="0"/>
                    </a:endParaRPr>
                  </a:p>
                </p:txBody>
              </p:sp>
              <p:sp>
                <p:nvSpPr>
                  <p:cNvPr id="267" name="Rectangle 266">
                    <a:extLst>
                      <a:ext uri="{FF2B5EF4-FFF2-40B4-BE49-F238E27FC236}">
                        <a16:creationId xmlns:a16="http://schemas.microsoft.com/office/drawing/2014/main" id="{FB9ECC68-F331-4D16-B1D2-4327EFA229AC}"/>
                      </a:ext>
                    </a:extLst>
                  </p:cNvPr>
                  <p:cNvSpPr/>
                  <p:nvPr userDrawn="1"/>
                </p:nvSpPr>
                <p:spPr>
                  <a:xfrm>
                    <a:off x="3585961" y="-898315"/>
                    <a:ext cx="2459239" cy="54864"/>
                  </a:xfrm>
                  <a:prstGeom prst="rect">
                    <a:avLst/>
                  </a:prstGeom>
                  <a:gradFill>
                    <a:gsLst>
                      <a:gs pos="20000">
                        <a:schemeClr val="tx1">
                          <a:alpha val="10000"/>
                        </a:schemeClr>
                      </a:gs>
                      <a:gs pos="62000">
                        <a:schemeClr val="tx1">
                          <a:alpha val="20000"/>
                        </a:scheme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18288" rtlCol="0" anchor="ctr" anchorCtr="0"/>
                  <a:lstStyle/>
                  <a:p>
                    <a:pPr algn="l">
                      <a:spcAft>
                        <a:spcPts val="300"/>
                      </a:spcAft>
                    </a:pPr>
                    <a:r>
                      <a:rPr lang="en-GB" sz="1050" dirty="0">
                        <a:solidFill>
                          <a:schemeClr val="tx1"/>
                        </a:solidFill>
                        <a:latin typeface="Calibre Medium" panose="020B0603030202060203" pitchFamily="34" charset="0"/>
                      </a:rPr>
                      <a:t>1/3 = 2.69” / 6.83 cm</a:t>
                    </a:r>
                  </a:p>
                </p:txBody>
              </p:sp>
            </p:grpSp>
            <p:grpSp>
              <p:nvGrpSpPr>
                <p:cNvPr id="26" name="Group 25">
                  <a:extLst>
                    <a:ext uri="{FF2B5EF4-FFF2-40B4-BE49-F238E27FC236}">
                      <a16:creationId xmlns:a16="http://schemas.microsoft.com/office/drawing/2014/main" id="{B7DB88B7-923D-4BB9-B420-91314D849558}"/>
                    </a:ext>
                  </a:extLst>
                </p:cNvPr>
                <p:cNvGrpSpPr/>
                <p:nvPr userDrawn="1"/>
              </p:nvGrpSpPr>
              <p:grpSpPr>
                <a:xfrm>
                  <a:off x="3585961" y="-767931"/>
                  <a:ext cx="8094865" cy="57309"/>
                  <a:chOff x="3585961" y="-767931"/>
                  <a:chExt cx="8094865" cy="57309"/>
                </a:xfrm>
              </p:grpSpPr>
              <p:sp>
                <p:nvSpPr>
                  <p:cNvPr id="261" name="Rectangle 260">
                    <a:extLst>
                      <a:ext uri="{FF2B5EF4-FFF2-40B4-BE49-F238E27FC236}">
                        <a16:creationId xmlns:a16="http://schemas.microsoft.com/office/drawing/2014/main" id="{9E0448FA-A654-4328-85C8-35268B555262}"/>
                      </a:ext>
                    </a:extLst>
                  </p:cNvPr>
                  <p:cNvSpPr/>
                  <p:nvPr userDrawn="1"/>
                </p:nvSpPr>
                <p:spPr>
                  <a:xfrm>
                    <a:off x="9734349" y="-767931"/>
                    <a:ext cx="1946477" cy="54864"/>
                  </a:xfrm>
                  <a:prstGeom prst="rect">
                    <a:avLst/>
                  </a:prstGeom>
                  <a:gradFill>
                    <a:gsLst>
                      <a:gs pos="20000">
                        <a:srgbClr val="A388BF">
                          <a:alpha val="10000"/>
                        </a:srgbClr>
                      </a:gs>
                      <a:gs pos="50000">
                        <a:srgbClr val="A388BF">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039112" tIns="0" rIns="0" bIns="0" rtlCol="0" anchor="ctr" anchorCtr="0"/>
                  <a:lstStyle/>
                  <a:p>
                    <a:pPr algn="l">
                      <a:spcAft>
                        <a:spcPts val="300"/>
                      </a:spcAft>
                    </a:pPr>
                    <a:endParaRPr lang="en-GB" sz="1050" dirty="0">
                      <a:solidFill>
                        <a:srgbClr val="A388BF"/>
                      </a:solidFill>
                      <a:latin typeface="Calibre Medium" panose="020B0603030202060203" pitchFamily="34" charset="0"/>
                    </a:endParaRPr>
                  </a:p>
                </p:txBody>
              </p:sp>
              <p:sp>
                <p:nvSpPr>
                  <p:cNvPr id="262" name="Rectangle 261">
                    <a:extLst>
                      <a:ext uri="{FF2B5EF4-FFF2-40B4-BE49-F238E27FC236}">
                        <a16:creationId xmlns:a16="http://schemas.microsoft.com/office/drawing/2014/main" id="{A2B81102-49C6-4E2C-BCA6-3B91080FAAF7}"/>
                      </a:ext>
                    </a:extLst>
                  </p:cNvPr>
                  <p:cNvSpPr/>
                  <p:nvPr userDrawn="1"/>
                </p:nvSpPr>
                <p:spPr>
                  <a:xfrm>
                    <a:off x="7677111" y="-765486"/>
                    <a:ext cx="1946477" cy="54864"/>
                  </a:xfrm>
                  <a:prstGeom prst="rect">
                    <a:avLst/>
                  </a:prstGeom>
                  <a:gradFill>
                    <a:gsLst>
                      <a:gs pos="20000">
                        <a:srgbClr val="A388BF">
                          <a:alpha val="10000"/>
                        </a:srgbClr>
                      </a:gs>
                      <a:gs pos="50000">
                        <a:srgbClr val="A388BF">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18288" rtlCol="0" anchor="ctr" anchorCtr="0"/>
                  <a:lstStyle/>
                  <a:p>
                    <a:pPr algn="l">
                      <a:spcAft>
                        <a:spcPts val="300"/>
                      </a:spcAft>
                    </a:pPr>
                    <a:endParaRPr lang="en-GB" sz="1050" dirty="0">
                      <a:solidFill>
                        <a:srgbClr val="885073"/>
                      </a:solidFill>
                      <a:latin typeface="Calibre Medium" panose="020B0603030202060203" pitchFamily="34" charset="0"/>
                    </a:endParaRPr>
                  </a:p>
                </p:txBody>
              </p:sp>
              <p:sp>
                <p:nvSpPr>
                  <p:cNvPr id="263" name="Rectangle 262">
                    <a:extLst>
                      <a:ext uri="{FF2B5EF4-FFF2-40B4-BE49-F238E27FC236}">
                        <a16:creationId xmlns:a16="http://schemas.microsoft.com/office/drawing/2014/main" id="{C1B3F6A0-CF89-475F-898E-C3F507ECF16E}"/>
                      </a:ext>
                    </a:extLst>
                  </p:cNvPr>
                  <p:cNvSpPr/>
                  <p:nvPr userDrawn="1"/>
                </p:nvSpPr>
                <p:spPr>
                  <a:xfrm>
                    <a:off x="5635423" y="-767931"/>
                    <a:ext cx="1946477" cy="54864"/>
                  </a:xfrm>
                  <a:prstGeom prst="rect">
                    <a:avLst/>
                  </a:prstGeom>
                  <a:gradFill>
                    <a:gsLst>
                      <a:gs pos="20000">
                        <a:srgbClr val="A388BF">
                          <a:alpha val="10000"/>
                        </a:srgbClr>
                      </a:gs>
                      <a:gs pos="50000">
                        <a:srgbClr val="A388BF">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118872" rtlCol="0" anchor="b" anchorCtr="0"/>
                  <a:lstStyle/>
                  <a:p>
                    <a:pPr algn="l">
                      <a:spcAft>
                        <a:spcPts val="300"/>
                      </a:spcAft>
                    </a:pPr>
                    <a:endParaRPr lang="en-GB" sz="1200" dirty="0">
                      <a:solidFill>
                        <a:srgbClr val="A388BF"/>
                      </a:solidFill>
                      <a:latin typeface="Calibre Medium" panose="020B0603030202060203" pitchFamily="34" charset="0"/>
                    </a:endParaRPr>
                  </a:p>
                </p:txBody>
              </p:sp>
              <p:sp>
                <p:nvSpPr>
                  <p:cNvPr id="264" name="Rectangle 263">
                    <a:extLst>
                      <a:ext uri="{FF2B5EF4-FFF2-40B4-BE49-F238E27FC236}">
                        <a16:creationId xmlns:a16="http://schemas.microsoft.com/office/drawing/2014/main" id="{E56CC609-DA60-4BC9-8468-0CEB52F54BAE}"/>
                      </a:ext>
                    </a:extLst>
                  </p:cNvPr>
                  <p:cNvSpPr/>
                  <p:nvPr userDrawn="1"/>
                </p:nvSpPr>
                <p:spPr>
                  <a:xfrm>
                    <a:off x="3585961" y="-767931"/>
                    <a:ext cx="1946477" cy="54864"/>
                  </a:xfrm>
                  <a:prstGeom prst="rect">
                    <a:avLst/>
                  </a:prstGeom>
                  <a:gradFill>
                    <a:gsLst>
                      <a:gs pos="20000">
                        <a:srgbClr val="A388BF">
                          <a:alpha val="10000"/>
                        </a:srgbClr>
                      </a:gs>
                      <a:gs pos="50000">
                        <a:srgbClr val="A388BF">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0" rIns="0" bIns="18288" rtlCol="0" anchor="ctr" anchorCtr="0"/>
                  <a:lstStyle/>
                  <a:p>
                    <a:pPr algn="l">
                      <a:spcAft>
                        <a:spcPts val="300"/>
                      </a:spcAft>
                    </a:pPr>
                    <a:r>
                      <a:rPr lang="en-GB" sz="1050" dirty="0">
                        <a:solidFill>
                          <a:srgbClr val="885073"/>
                        </a:solidFill>
                        <a:latin typeface="Calibre Medium" panose="020B0603030202060203" pitchFamily="34" charset="0"/>
                      </a:rPr>
                      <a:t>1/4 = 2.13” / 5.41 cm</a:t>
                    </a:r>
                  </a:p>
                </p:txBody>
              </p:sp>
            </p:grpSp>
            <p:grpSp>
              <p:nvGrpSpPr>
                <p:cNvPr id="25" name="Group 24">
                  <a:extLst>
                    <a:ext uri="{FF2B5EF4-FFF2-40B4-BE49-F238E27FC236}">
                      <a16:creationId xmlns:a16="http://schemas.microsoft.com/office/drawing/2014/main" id="{B360469F-D4FE-42FF-B45A-9BD5130FEC83}"/>
                    </a:ext>
                  </a:extLst>
                </p:cNvPr>
                <p:cNvGrpSpPr/>
                <p:nvPr userDrawn="1"/>
              </p:nvGrpSpPr>
              <p:grpSpPr>
                <a:xfrm>
                  <a:off x="3585961" y="-1028699"/>
                  <a:ext cx="8094865" cy="54864"/>
                  <a:chOff x="3585961" y="-1028699"/>
                  <a:chExt cx="8094865" cy="54864"/>
                </a:xfrm>
              </p:grpSpPr>
              <p:sp>
                <p:nvSpPr>
                  <p:cNvPr id="259" name="Rectangle 258">
                    <a:extLst>
                      <a:ext uri="{FF2B5EF4-FFF2-40B4-BE49-F238E27FC236}">
                        <a16:creationId xmlns:a16="http://schemas.microsoft.com/office/drawing/2014/main" id="{8727F83F-EFA4-41F6-BE98-3071F6D264E3}"/>
                      </a:ext>
                    </a:extLst>
                  </p:cNvPr>
                  <p:cNvSpPr/>
                  <p:nvPr userDrawn="1"/>
                </p:nvSpPr>
                <p:spPr>
                  <a:xfrm>
                    <a:off x="7684887" y="-1028699"/>
                    <a:ext cx="3995939" cy="54864"/>
                  </a:xfrm>
                  <a:prstGeom prst="rect">
                    <a:avLst/>
                  </a:prstGeom>
                  <a:gradFill flip="none" rotWithShape="1">
                    <a:gsLst>
                      <a:gs pos="0">
                        <a:srgbClr val="3E7CA6">
                          <a:alpha val="10000"/>
                        </a:srgbClr>
                      </a:gs>
                      <a:gs pos="50000">
                        <a:srgbClr val="3E7CA6">
                          <a:alpha val="20000"/>
                        </a:srgb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4087368" tIns="0" rIns="0" bIns="0" rtlCol="0" anchor="ctr" anchorCtr="0"/>
                  <a:lstStyle/>
                  <a:p>
                    <a:pPr algn="l">
                      <a:spcAft>
                        <a:spcPts val="300"/>
                      </a:spcAft>
                    </a:pPr>
                    <a:endParaRPr lang="en-GB" sz="1050" dirty="0">
                      <a:solidFill>
                        <a:srgbClr val="3E7CA6"/>
                      </a:solidFill>
                      <a:latin typeface="Calibre Medium" panose="020B0603030202060203" pitchFamily="34" charset="0"/>
                    </a:endParaRPr>
                  </a:p>
                </p:txBody>
              </p:sp>
              <p:sp>
                <p:nvSpPr>
                  <p:cNvPr id="260" name="Rectangle 259">
                    <a:extLst>
                      <a:ext uri="{FF2B5EF4-FFF2-40B4-BE49-F238E27FC236}">
                        <a16:creationId xmlns:a16="http://schemas.microsoft.com/office/drawing/2014/main" id="{6B61D736-B12C-4DFF-A69B-5D83D956F24B}"/>
                      </a:ext>
                    </a:extLst>
                  </p:cNvPr>
                  <p:cNvSpPr/>
                  <p:nvPr userDrawn="1"/>
                </p:nvSpPr>
                <p:spPr>
                  <a:xfrm>
                    <a:off x="3585961" y="-1028699"/>
                    <a:ext cx="3995939" cy="54864"/>
                  </a:xfrm>
                  <a:prstGeom prst="rect">
                    <a:avLst/>
                  </a:prstGeom>
                  <a:gradFill flip="none" rotWithShape="1">
                    <a:gsLst>
                      <a:gs pos="0">
                        <a:srgbClr val="3E7CA6">
                          <a:alpha val="10000"/>
                        </a:srgbClr>
                      </a:gs>
                      <a:gs pos="50000">
                        <a:srgbClr val="3E7CA6">
                          <a:alpha val="20000"/>
                        </a:srgb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18288" rtlCol="0" anchor="ctr" anchorCtr="0"/>
                  <a:lstStyle/>
                  <a:p>
                    <a:pPr algn="l">
                      <a:spcAft>
                        <a:spcPts val="300"/>
                      </a:spcAft>
                    </a:pPr>
                    <a:r>
                      <a:rPr lang="en-GB" sz="1050" dirty="0">
                        <a:solidFill>
                          <a:srgbClr val="3E7CA6"/>
                        </a:solidFill>
                        <a:latin typeface="Calibre Medium" panose="020B0603030202060203" pitchFamily="34" charset="0"/>
                      </a:rPr>
                      <a:t>1/2 = 4.37” / 11.1 cm</a:t>
                    </a:r>
                  </a:p>
                </p:txBody>
              </p:sp>
            </p:grpSp>
            <p:grpSp>
              <p:nvGrpSpPr>
                <p:cNvPr id="24" name="Group 23">
                  <a:extLst>
                    <a:ext uri="{FF2B5EF4-FFF2-40B4-BE49-F238E27FC236}">
                      <a16:creationId xmlns:a16="http://schemas.microsoft.com/office/drawing/2014/main" id="{21195792-D57D-49E3-80D1-BE8C650F4646}"/>
                    </a:ext>
                  </a:extLst>
                </p:cNvPr>
                <p:cNvGrpSpPr/>
                <p:nvPr userDrawn="1"/>
              </p:nvGrpSpPr>
              <p:grpSpPr>
                <a:xfrm>
                  <a:off x="3585961" y="-637547"/>
                  <a:ext cx="7568015" cy="54864"/>
                  <a:chOff x="3585961" y="-637547"/>
                  <a:chExt cx="7568015" cy="54864"/>
                </a:xfrm>
              </p:grpSpPr>
              <p:sp>
                <p:nvSpPr>
                  <p:cNvPr id="254" name="Rectangle 253">
                    <a:extLst>
                      <a:ext uri="{FF2B5EF4-FFF2-40B4-BE49-F238E27FC236}">
                        <a16:creationId xmlns:a16="http://schemas.microsoft.com/office/drawing/2014/main" id="{B891FEF4-FBCD-4C79-965F-DE61B2D58C09}"/>
                      </a:ext>
                    </a:extLst>
                  </p:cNvPr>
                  <p:cNvSpPr/>
                  <p:nvPr userDrawn="1"/>
                </p:nvSpPr>
                <p:spPr>
                  <a:xfrm>
                    <a:off x="9718368" y="-637547"/>
                    <a:ext cx="1435608" cy="54864"/>
                  </a:xfrm>
                  <a:prstGeom prst="rect">
                    <a:avLst/>
                  </a:prstGeom>
                  <a:gradFill>
                    <a:gsLst>
                      <a:gs pos="20000">
                        <a:srgbClr val="D2785A">
                          <a:alpha val="10000"/>
                        </a:srgbClr>
                      </a:gs>
                      <a:gs pos="65000">
                        <a:srgbClr val="D2785A">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18288" rtlCol="0" anchor="ctr" anchorCtr="0"/>
                  <a:lstStyle/>
                  <a:p>
                    <a:pPr algn="l">
                      <a:spcAft>
                        <a:spcPts val="300"/>
                      </a:spcAft>
                    </a:pPr>
                    <a:endParaRPr lang="en-GB" sz="1050" dirty="0">
                      <a:solidFill>
                        <a:srgbClr val="D2785A"/>
                      </a:solidFill>
                      <a:latin typeface="Calibre Medium" panose="020B0603030202060203" pitchFamily="34" charset="0"/>
                    </a:endParaRPr>
                  </a:p>
                </p:txBody>
              </p:sp>
              <p:sp>
                <p:nvSpPr>
                  <p:cNvPr id="255" name="Rectangle 254">
                    <a:extLst>
                      <a:ext uri="{FF2B5EF4-FFF2-40B4-BE49-F238E27FC236}">
                        <a16:creationId xmlns:a16="http://schemas.microsoft.com/office/drawing/2014/main" id="{ADA3F96D-6143-4AC3-B6AC-AFA3934766F0}"/>
                      </a:ext>
                    </a:extLst>
                  </p:cNvPr>
                  <p:cNvSpPr/>
                  <p:nvPr userDrawn="1"/>
                </p:nvSpPr>
                <p:spPr>
                  <a:xfrm>
                    <a:off x="6665498" y="-637547"/>
                    <a:ext cx="1435608" cy="54864"/>
                  </a:xfrm>
                  <a:prstGeom prst="rect">
                    <a:avLst/>
                  </a:prstGeom>
                  <a:gradFill>
                    <a:gsLst>
                      <a:gs pos="20000">
                        <a:srgbClr val="D2785A">
                          <a:alpha val="10000"/>
                        </a:srgbClr>
                      </a:gs>
                      <a:gs pos="65000">
                        <a:srgbClr val="D2785A">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039112" tIns="0" rIns="0" bIns="0" rtlCol="0" anchor="ctr" anchorCtr="0"/>
                  <a:lstStyle/>
                  <a:p>
                    <a:pPr algn="l">
                      <a:spcAft>
                        <a:spcPts val="300"/>
                      </a:spcAft>
                    </a:pPr>
                    <a:endParaRPr lang="en-GB" sz="1050" dirty="0">
                      <a:solidFill>
                        <a:srgbClr val="D2785A"/>
                      </a:solidFill>
                      <a:latin typeface="Calibre Medium" panose="020B0603030202060203" pitchFamily="34" charset="0"/>
                    </a:endParaRPr>
                  </a:p>
                </p:txBody>
              </p:sp>
              <p:sp>
                <p:nvSpPr>
                  <p:cNvPr id="256" name="Rectangle 255">
                    <a:extLst>
                      <a:ext uri="{FF2B5EF4-FFF2-40B4-BE49-F238E27FC236}">
                        <a16:creationId xmlns:a16="http://schemas.microsoft.com/office/drawing/2014/main" id="{E5322008-4D8B-47D1-964C-57254593355A}"/>
                      </a:ext>
                    </a:extLst>
                  </p:cNvPr>
                  <p:cNvSpPr/>
                  <p:nvPr userDrawn="1"/>
                </p:nvSpPr>
                <p:spPr>
                  <a:xfrm>
                    <a:off x="8209681" y="-637547"/>
                    <a:ext cx="1435608" cy="54864"/>
                  </a:xfrm>
                  <a:prstGeom prst="rect">
                    <a:avLst/>
                  </a:prstGeom>
                  <a:gradFill>
                    <a:gsLst>
                      <a:gs pos="20000">
                        <a:srgbClr val="D2785A">
                          <a:alpha val="10000"/>
                        </a:srgbClr>
                      </a:gs>
                      <a:gs pos="65000">
                        <a:srgbClr val="D2785A">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039112" tIns="0" rIns="0" bIns="0" rtlCol="0" anchor="ctr" anchorCtr="0"/>
                  <a:lstStyle/>
                  <a:p>
                    <a:pPr algn="l">
                      <a:spcAft>
                        <a:spcPts val="300"/>
                      </a:spcAft>
                    </a:pPr>
                    <a:endParaRPr lang="en-GB" sz="1050" dirty="0">
                      <a:solidFill>
                        <a:srgbClr val="D2785A"/>
                      </a:solidFill>
                      <a:latin typeface="Calibre Medium" panose="020B0603030202060203" pitchFamily="34" charset="0"/>
                    </a:endParaRPr>
                  </a:p>
                </p:txBody>
              </p:sp>
              <p:sp>
                <p:nvSpPr>
                  <p:cNvPr id="257" name="Rectangle 256">
                    <a:extLst>
                      <a:ext uri="{FF2B5EF4-FFF2-40B4-BE49-F238E27FC236}">
                        <a16:creationId xmlns:a16="http://schemas.microsoft.com/office/drawing/2014/main" id="{7F460D74-A559-4C23-942B-AECA8792A6B2}"/>
                      </a:ext>
                    </a:extLst>
                  </p:cNvPr>
                  <p:cNvSpPr/>
                  <p:nvPr userDrawn="1"/>
                </p:nvSpPr>
                <p:spPr>
                  <a:xfrm>
                    <a:off x="3585961" y="-637547"/>
                    <a:ext cx="1435608" cy="54864"/>
                  </a:xfrm>
                  <a:prstGeom prst="rect">
                    <a:avLst/>
                  </a:prstGeom>
                  <a:gradFill>
                    <a:gsLst>
                      <a:gs pos="20000">
                        <a:srgbClr val="D2785A">
                          <a:alpha val="10000"/>
                        </a:srgbClr>
                      </a:gs>
                      <a:gs pos="65000">
                        <a:srgbClr val="D2785A">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0" bIns="18288" rtlCol="0" anchor="ctr" anchorCtr="0"/>
                  <a:lstStyle/>
                  <a:p>
                    <a:pPr algn="l">
                      <a:spcAft>
                        <a:spcPts val="300"/>
                      </a:spcAft>
                    </a:pPr>
                    <a:r>
                      <a:rPr lang="en-GB" sz="1050" dirty="0">
                        <a:solidFill>
                          <a:srgbClr val="D2785A"/>
                        </a:solidFill>
                        <a:latin typeface="Calibre Medium" panose="020B0603030202060203" pitchFamily="34" charset="0"/>
                      </a:rPr>
                      <a:t>1/5 = 1.57” / 3.99 cm</a:t>
                    </a:r>
                  </a:p>
                </p:txBody>
              </p:sp>
              <p:sp>
                <p:nvSpPr>
                  <p:cNvPr id="258" name="Rectangle 257">
                    <a:extLst>
                      <a:ext uri="{FF2B5EF4-FFF2-40B4-BE49-F238E27FC236}">
                        <a16:creationId xmlns:a16="http://schemas.microsoft.com/office/drawing/2014/main" id="{17C2597C-148F-4D1C-AE00-575D3B02CC31}"/>
                      </a:ext>
                    </a:extLst>
                  </p:cNvPr>
                  <p:cNvSpPr/>
                  <p:nvPr userDrawn="1"/>
                </p:nvSpPr>
                <p:spPr>
                  <a:xfrm>
                    <a:off x="5121315" y="-637547"/>
                    <a:ext cx="1435608" cy="54864"/>
                  </a:xfrm>
                  <a:prstGeom prst="rect">
                    <a:avLst/>
                  </a:prstGeom>
                  <a:gradFill>
                    <a:gsLst>
                      <a:gs pos="20000">
                        <a:srgbClr val="D2785A">
                          <a:alpha val="10000"/>
                        </a:srgbClr>
                      </a:gs>
                      <a:gs pos="65000">
                        <a:srgbClr val="D2785A">
                          <a:alpha val="20000"/>
                        </a:srgbClr>
                      </a:gs>
                    </a:gsLst>
                    <a:lin ang="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2039112" tIns="0" rIns="0" bIns="0" rtlCol="0" anchor="ctr" anchorCtr="0"/>
                  <a:lstStyle/>
                  <a:p>
                    <a:pPr algn="l">
                      <a:spcAft>
                        <a:spcPts val="300"/>
                      </a:spcAft>
                    </a:pPr>
                    <a:endParaRPr lang="en-GB" sz="1050" dirty="0">
                      <a:solidFill>
                        <a:srgbClr val="D2785A"/>
                      </a:solidFill>
                      <a:latin typeface="Calibre Medium" panose="020B0603030202060203" pitchFamily="34" charset="0"/>
                    </a:endParaRPr>
                  </a:p>
                </p:txBody>
              </p:sp>
            </p:grpSp>
          </p:grpSp>
        </p:grpSp>
        <p:grpSp>
          <p:nvGrpSpPr>
            <p:cNvPr id="162" name="SIDE RULER">
              <a:extLst>
                <a:ext uri="{FF2B5EF4-FFF2-40B4-BE49-F238E27FC236}">
                  <a16:creationId xmlns:a16="http://schemas.microsoft.com/office/drawing/2014/main" id="{50C74144-ED18-44C7-AB79-165E8A3FE828}"/>
                </a:ext>
              </a:extLst>
            </p:cNvPr>
            <p:cNvGrpSpPr/>
            <p:nvPr userDrawn="1"/>
          </p:nvGrpSpPr>
          <p:grpSpPr>
            <a:xfrm>
              <a:off x="12268200" y="0"/>
              <a:ext cx="432054" cy="6858000"/>
              <a:chOff x="12268200" y="0"/>
              <a:chExt cx="576072" cy="6858000"/>
            </a:xfrm>
          </p:grpSpPr>
          <p:sp>
            <p:nvSpPr>
              <p:cNvPr id="163" name="Rectangle 162">
                <a:extLst>
                  <a:ext uri="{FF2B5EF4-FFF2-40B4-BE49-F238E27FC236}">
                    <a16:creationId xmlns:a16="http://schemas.microsoft.com/office/drawing/2014/main" id="{190E0F78-E45D-4CDD-8505-9B4AA1A3E697}"/>
                  </a:ext>
                </a:extLst>
              </p:cNvPr>
              <p:cNvSpPr/>
              <p:nvPr userDrawn="1"/>
            </p:nvSpPr>
            <p:spPr>
              <a:xfrm>
                <a:off x="12268200" y="0"/>
                <a:ext cx="576072" cy="6858000"/>
              </a:xfrm>
              <a:prstGeom prst="rect">
                <a:avLst/>
              </a:prstGeom>
              <a:solidFill>
                <a:srgbClr val="FFFFFF">
                  <a:alpha val="30000"/>
                </a:srgbClr>
              </a:solidFill>
              <a:ln w="25400" cap="flat" cmpd="sng" algn="ctr">
                <a:noFill/>
                <a:prstDash val="solid"/>
              </a:ln>
              <a:effectLst/>
            </p:spPr>
            <p:txBody>
              <a:bodyPr rtlCol="0" anchor="ctr"/>
              <a:lstStyle/>
              <a:p>
                <a:pPr marL="0" marR="0" lvl="0" indent="0" algn="ctr" defTabSz="871317" eaLnBrk="1" fontAlgn="auto" latinLnBrk="0" hangingPunct="1">
                  <a:lnSpc>
                    <a:spcPct val="100000"/>
                  </a:lnSpc>
                  <a:spcBef>
                    <a:spcPts val="0"/>
                  </a:spcBef>
                  <a:spcAft>
                    <a:spcPts val="0"/>
                  </a:spcAft>
                  <a:buClrTx/>
                  <a:buSzTx/>
                  <a:buFontTx/>
                  <a:buNone/>
                  <a:tabLst/>
                  <a:defRPr/>
                </a:pPr>
                <a:endParaRPr kumimoji="0" lang="en-GB" sz="1715"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grpSp>
            <p:nvGrpSpPr>
              <p:cNvPr id="164" name="Group 163">
                <a:extLst>
                  <a:ext uri="{FF2B5EF4-FFF2-40B4-BE49-F238E27FC236}">
                    <a16:creationId xmlns:a16="http://schemas.microsoft.com/office/drawing/2014/main" id="{11F368C8-4C49-42A8-8F0F-0742E794F19C}"/>
                  </a:ext>
                </a:extLst>
              </p:cNvPr>
              <p:cNvGrpSpPr/>
              <p:nvPr userDrawn="1"/>
            </p:nvGrpSpPr>
            <p:grpSpPr>
              <a:xfrm>
                <a:off x="12382500" y="452438"/>
                <a:ext cx="60960" cy="5952553"/>
                <a:chOff x="12382500" y="452438"/>
                <a:chExt cx="60960" cy="5952553"/>
              </a:xfrm>
            </p:grpSpPr>
            <p:sp>
              <p:nvSpPr>
                <p:cNvPr id="182" name="Rectangle 181">
                  <a:extLst>
                    <a:ext uri="{FF2B5EF4-FFF2-40B4-BE49-F238E27FC236}">
                      <a16:creationId xmlns:a16="http://schemas.microsoft.com/office/drawing/2014/main" id="{9F5B5F3D-0B35-4349-ADA0-33FAD316D94E}"/>
                    </a:ext>
                  </a:extLst>
                </p:cNvPr>
                <p:cNvSpPr/>
                <p:nvPr userDrawn="1"/>
              </p:nvSpPr>
              <p:spPr>
                <a:xfrm>
                  <a:off x="12382500" y="452438"/>
                  <a:ext cx="60960" cy="423862"/>
                </a:xfrm>
                <a:prstGeom prst="rect">
                  <a:avLst/>
                </a:prstGeom>
                <a:solidFill>
                  <a:srgbClr val="CBCDCB">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spcAft>
                      <a:spcPts val="300"/>
                    </a:spcAft>
                  </a:pPr>
                  <a:r>
                    <a:rPr lang="en-GB" sz="1200" dirty="0">
                      <a:solidFill>
                        <a:srgbClr val="7F8480"/>
                      </a:solidFill>
                    </a:rPr>
                    <a:t>1</a:t>
                  </a:r>
                </a:p>
              </p:txBody>
            </p:sp>
            <p:sp>
              <p:nvSpPr>
                <p:cNvPr id="183" name="Rectangle 182">
                  <a:extLst>
                    <a:ext uri="{FF2B5EF4-FFF2-40B4-BE49-F238E27FC236}">
                      <a16:creationId xmlns:a16="http://schemas.microsoft.com/office/drawing/2014/main" id="{4BD4A19E-D97E-4226-B52B-9C07A8435FB7}"/>
                    </a:ext>
                  </a:extLst>
                </p:cNvPr>
                <p:cNvSpPr/>
                <p:nvPr userDrawn="1"/>
              </p:nvSpPr>
              <p:spPr>
                <a:xfrm>
                  <a:off x="12382500" y="975268"/>
                  <a:ext cx="60960" cy="523331"/>
                </a:xfrm>
                <a:prstGeom prst="rect">
                  <a:avLst/>
                </a:prstGeom>
                <a:solidFill>
                  <a:srgbClr val="CBCDCB">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r">
                    <a:spcAft>
                      <a:spcPts val="300"/>
                    </a:spcAft>
                  </a:pPr>
                  <a:r>
                    <a:rPr lang="en-GB" sz="1200" dirty="0">
                      <a:solidFill>
                        <a:srgbClr val="7F8480"/>
                      </a:solidFill>
                    </a:rPr>
                    <a:t>2</a:t>
                  </a:r>
                </a:p>
              </p:txBody>
            </p:sp>
            <p:sp>
              <p:nvSpPr>
                <p:cNvPr id="184" name="Rectangle 183">
                  <a:extLst>
                    <a:ext uri="{FF2B5EF4-FFF2-40B4-BE49-F238E27FC236}">
                      <a16:creationId xmlns:a16="http://schemas.microsoft.com/office/drawing/2014/main" id="{671F0CCC-094F-4A08-9733-C53BC0F0A70F}"/>
                    </a:ext>
                  </a:extLst>
                </p:cNvPr>
                <p:cNvSpPr/>
                <p:nvPr userDrawn="1"/>
              </p:nvSpPr>
              <p:spPr>
                <a:xfrm>
                  <a:off x="12382500" y="1607324"/>
                  <a:ext cx="60960" cy="521208"/>
                </a:xfrm>
                <a:prstGeom prst="rect">
                  <a:avLst/>
                </a:prstGeom>
                <a:solidFill>
                  <a:srgbClr val="CBCDCB">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r">
                    <a:spcAft>
                      <a:spcPts val="300"/>
                    </a:spcAft>
                  </a:pPr>
                  <a:r>
                    <a:rPr lang="en-GB" sz="1200" dirty="0">
                      <a:solidFill>
                        <a:srgbClr val="7F8480"/>
                      </a:solidFill>
                    </a:rPr>
                    <a:t>3</a:t>
                  </a:r>
                </a:p>
              </p:txBody>
            </p:sp>
            <p:sp>
              <p:nvSpPr>
                <p:cNvPr id="185" name="Rectangle 184">
                  <a:extLst>
                    <a:ext uri="{FF2B5EF4-FFF2-40B4-BE49-F238E27FC236}">
                      <a16:creationId xmlns:a16="http://schemas.microsoft.com/office/drawing/2014/main" id="{349A839C-39DA-4601-93EB-DB5D3B5C3F0F}"/>
                    </a:ext>
                  </a:extLst>
                </p:cNvPr>
                <p:cNvSpPr/>
                <p:nvPr userDrawn="1"/>
              </p:nvSpPr>
              <p:spPr>
                <a:xfrm>
                  <a:off x="12382500" y="2231781"/>
                  <a:ext cx="54864" cy="521208"/>
                </a:xfrm>
                <a:prstGeom prst="rect">
                  <a:avLst/>
                </a:prstGeom>
                <a:solidFill>
                  <a:srgbClr val="CBCDCB">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r">
                    <a:spcAft>
                      <a:spcPts val="300"/>
                    </a:spcAft>
                  </a:pPr>
                  <a:r>
                    <a:rPr lang="en-GB" sz="1200" dirty="0">
                      <a:solidFill>
                        <a:srgbClr val="7F8480"/>
                      </a:solidFill>
                    </a:rPr>
                    <a:t>4</a:t>
                  </a:r>
                </a:p>
              </p:txBody>
            </p:sp>
            <p:sp>
              <p:nvSpPr>
                <p:cNvPr id="186" name="Rectangle 185">
                  <a:extLst>
                    <a:ext uri="{FF2B5EF4-FFF2-40B4-BE49-F238E27FC236}">
                      <a16:creationId xmlns:a16="http://schemas.microsoft.com/office/drawing/2014/main" id="{58834469-9F6F-40BB-A748-8EFDC504F355}"/>
                    </a:ext>
                  </a:extLst>
                </p:cNvPr>
                <p:cNvSpPr/>
                <p:nvPr userDrawn="1"/>
              </p:nvSpPr>
              <p:spPr>
                <a:xfrm>
                  <a:off x="12382500" y="2856238"/>
                  <a:ext cx="54864" cy="521208"/>
                </a:xfrm>
                <a:prstGeom prst="rect">
                  <a:avLst/>
                </a:prstGeom>
                <a:solidFill>
                  <a:srgbClr val="CBCDCB">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r">
                    <a:spcAft>
                      <a:spcPts val="300"/>
                    </a:spcAft>
                  </a:pPr>
                  <a:r>
                    <a:rPr lang="en-GB" sz="1200" dirty="0">
                      <a:solidFill>
                        <a:srgbClr val="7F8480"/>
                      </a:solidFill>
                    </a:rPr>
                    <a:t>5</a:t>
                  </a:r>
                </a:p>
              </p:txBody>
            </p:sp>
            <p:sp>
              <p:nvSpPr>
                <p:cNvPr id="188" name="Rectangle 187">
                  <a:extLst>
                    <a:ext uri="{FF2B5EF4-FFF2-40B4-BE49-F238E27FC236}">
                      <a16:creationId xmlns:a16="http://schemas.microsoft.com/office/drawing/2014/main" id="{B03A0A85-E2C7-4DD7-882E-DB24E10CD465}"/>
                    </a:ext>
                  </a:extLst>
                </p:cNvPr>
                <p:cNvSpPr/>
                <p:nvPr userDrawn="1"/>
              </p:nvSpPr>
              <p:spPr>
                <a:xfrm>
                  <a:off x="12382500" y="3480695"/>
                  <a:ext cx="54864" cy="521208"/>
                </a:xfrm>
                <a:prstGeom prst="rect">
                  <a:avLst/>
                </a:prstGeom>
                <a:solidFill>
                  <a:srgbClr val="CBCDCB">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r">
                    <a:spcAft>
                      <a:spcPts val="300"/>
                    </a:spcAft>
                  </a:pPr>
                  <a:r>
                    <a:rPr lang="en-GB" sz="1200" dirty="0">
                      <a:solidFill>
                        <a:srgbClr val="7F8480"/>
                      </a:solidFill>
                    </a:rPr>
                    <a:t>6</a:t>
                  </a:r>
                </a:p>
              </p:txBody>
            </p:sp>
            <p:sp>
              <p:nvSpPr>
                <p:cNvPr id="189" name="Rectangle 188">
                  <a:extLst>
                    <a:ext uri="{FF2B5EF4-FFF2-40B4-BE49-F238E27FC236}">
                      <a16:creationId xmlns:a16="http://schemas.microsoft.com/office/drawing/2014/main" id="{1469CFF3-0842-47F4-9B10-254E74B094A4}"/>
                    </a:ext>
                  </a:extLst>
                </p:cNvPr>
                <p:cNvSpPr/>
                <p:nvPr userDrawn="1"/>
              </p:nvSpPr>
              <p:spPr>
                <a:xfrm>
                  <a:off x="12382500" y="4105152"/>
                  <a:ext cx="54864" cy="521208"/>
                </a:xfrm>
                <a:prstGeom prst="rect">
                  <a:avLst/>
                </a:prstGeom>
                <a:solidFill>
                  <a:srgbClr val="CBCDCB">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r">
                    <a:spcAft>
                      <a:spcPts val="300"/>
                    </a:spcAft>
                  </a:pPr>
                  <a:r>
                    <a:rPr lang="en-GB" sz="1200" dirty="0">
                      <a:solidFill>
                        <a:srgbClr val="7F8480"/>
                      </a:solidFill>
                    </a:rPr>
                    <a:t>7</a:t>
                  </a:r>
                </a:p>
              </p:txBody>
            </p:sp>
            <p:sp>
              <p:nvSpPr>
                <p:cNvPr id="190" name="Rectangle 189">
                  <a:extLst>
                    <a:ext uri="{FF2B5EF4-FFF2-40B4-BE49-F238E27FC236}">
                      <a16:creationId xmlns:a16="http://schemas.microsoft.com/office/drawing/2014/main" id="{20EFBA55-4FFC-43E2-856A-C51551C8D589}"/>
                    </a:ext>
                  </a:extLst>
                </p:cNvPr>
                <p:cNvSpPr/>
                <p:nvPr userDrawn="1"/>
              </p:nvSpPr>
              <p:spPr>
                <a:xfrm>
                  <a:off x="12382500" y="4729609"/>
                  <a:ext cx="54864" cy="521208"/>
                </a:xfrm>
                <a:prstGeom prst="rect">
                  <a:avLst/>
                </a:prstGeom>
                <a:solidFill>
                  <a:srgbClr val="CBCDCB">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r">
                    <a:spcAft>
                      <a:spcPts val="300"/>
                    </a:spcAft>
                  </a:pPr>
                  <a:r>
                    <a:rPr lang="en-GB" sz="1200" dirty="0">
                      <a:solidFill>
                        <a:srgbClr val="7F8480"/>
                      </a:solidFill>
                    </a:rPr>
                    <a:t>8</a:t>
                  </a:r>
                </a:p>
              </p:txBody>
            </p:sp>
            <p:sp>
              <p:nvSpPr>
                <p:cNvPr id="191" name="Rectangle 190">
                  <a:extLst>
                    <a:ext uri="{FF2B5EF4-FFF2-40B4-BE49-F238E27FC236}">
                      <a16:creationId xmlns:a16="http://schemas.microsoft.com/office/drawing/2014/main" id="{C92C2E8A-1682-4247-8617-BC1D5C57E0A3}"/>
                    </a:ext>
                  </a:extLst>
                </p:cNvPr>
                <p:cNvSpPr/>
                <p:nvPr userDrawn="1"/>
              </p:nvSpPr>
              <p:spPr>
                <a:xfrm>
                  <a:off x="12382500" y="5354066"/>
                  <a:ext cx="54864" cy="521208"/>
                </a:xfrm>
                <a:prstGeom prst="rect">
                  <a:avLst/>
                </a:prstGeom>
                <a:solidFill>
                  <a:srgbClr val="CBCDCB">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r">
                    <a:spcAft>
                      <a:spcPts val="300"/>
                    </a:spcAft>
                  </a:pPr>
                  <a:r>
                    <a:rPr lang="en-GB" sz="1200" dirty="0">
                      <a:solidFill>
                        <a:srgbClr val="7F8480"/>
                      </a:solidFill>
                    </a:rPr>
                    <a:t>9</a:t>
                  </a:r>
                </a:p>
              </p:txBody>
            </p:sp>
            <p:sp>
              <p:nvSpPr>
                <p:cNvPr id="192" name="Rectangle 191">
                  <a:extLst>
                    <a:ext uri="{FF2B5EF4-FFF2-40B4-BE49-F238E27FC236}">
                      <a16:creationId xmlns:a16="http://schemas.microsoft.com/office/drawing/2014/main" id="{A6794C73-623C-4A5C-8721-5D3470D83DBD}"/>
                    </a:ext>
                  </a:extLst>
                </p:cNvPr>
                <p:cNvSpPr/>
                <p:nvPr userDrawn="1"/>
              </p:nvSpPr>
              <p:spPr>
                <a:xfrm>
                  <a:off x="12382500" y="5984367"/>
                  <a:ext cx="54864" cy="420624"/>
                </a:xfrm>
                <a:prstGeom prst="rect">
                  <a:avLst/>
                </a:prstGeom>
                <a:solidFill>
                  <a:srgbClr val="CBCDCB">
                    <a:alpha val="6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r">
                    <a:spcAft>
                      <a:spcPts val="300"/>
                    </a:spcAft>
                  </a:pPr>
                  <a:r>
                    <a:rPr lang="en-GB" sz="1200" dirty="0">
                      <a:solidFill>
                        <a:srgbClr val="7F8480"/>
                      </a:solidFill>
                    </a:rPr>
                    <a:t>10</a:t>
                  </a:r>
                </a:p>
              </p:txBody>
            </p:sp>
          </p:grpSp>
          <p:grpSp>
            <p:nvGrpSpPr>
              <p:cNvPr id="165" name="Group 164">
                <a:extLst>
                  <a:ext uri="{FF2B5EF4-FFF2-40B4-BE49-F238E27FC236}">
                    <a16:creationId xmlns:a16="http://schemas.microsoft.com/office/drawing/2014/main" id="{5A596F88-0257-450D-AA65-DBAB62BCB5E3}"/>
                  </a:ext>
                </a:extLst>
              </p:cNvPr>
              <p:cNvGrpSpPr/>
              <p:nvPr userDrawn="1"/>
            </p:nvGrpSpPr>
            <p:grpSpPr>
              <a:xfrm>
                <a:off x="12514706" y="452438"/>
                <a:ext cx="60960" cy="1046161"/>
                <a:chOff x="12514706" y="452438"/>
                <a:chExt cx="60960" cy="1046161"/>
              </a:xfrm>
            </p:grpSpPr>
            <p:sp>
              <p:nvSpPr>
                <p:cNvPr id="180" name="Rectangle 179">
                  <a:extLst>
                    <a:ext uri="{FF2B5EF4-FFF2-40B4-BE49-F238E27FC236}">
                      <a16:creationId xmlns:a16="http://schemas.microsoft.com/office/drawing/2014/main" id="{1B79498A-48A9-4FC4-82A8-6E5380470E94}"/>
                    </a:ext>
                  </a:extLst>
                </p:cNvPr>
                <p:cNvSpPr/>
                <p:nvPr userDrawn="1"/>
              </p:nvSpPr>
              <p:spPr>
                <a:xfrm>
                  <a:off x="12514706" y="452438"/>
                  <a:ext cx="60960" cy="423862"/>
                </a:xfrm>
                <a:prstGeom prst="rect">
                  <a:avLst/>
                </a:prstGeom>
                <a:solidFill>
                  <a:srgbClr val="AD2A2A">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146304" tIns="0" rIns="0" bIns="0" rtlCol="0" anchor="ctr" anchorCtr="0"/>
                <a:lstStyle/>
                <a:p>
                  <a:pPr marL="0" lvl="0" algn="l" eaLnBrk="1" hangingPunct="1">
                    <a:spcBef>
                      <a:spcPts val="1200"/>
                    </a:spcBef>
                    <a:spcAft>
                      <a:spcPts val="300"/>
                    </a:spcAft>
                  </a:pPr>
                  <a:r>
                    <a:rPr lang="en-GB" sz="1200" dirty="0">
                      <a:solidFill>
                        <a:srgbClr val="AD2A2A"/>
                      </a:solidFill>
                    </a:rPr>
                    <a:t>-2 </a:t>
                  </a:r>
                  <a:r>
                    <a:rPr lang="en-GB" sz="1000" dirty="0">
                      <a:solidFill>
                        <a:srgbClr val="AD2A2A"/>
                      </a:solidFill>
                      <a:latin typeface="Barlow Condensed" panose="00000506000000000000" pitchFamily="2" charset="0"/>
                      <a:ea typeface="+mn-ea"/>
                      <a:cs typeface="+mn-cs"/>
                    </a:rPr>
                    <a:t>(0.46” / 1.17 cm tall)</a:t>
                  </a:r>
                </a:p>
              </p:txBody>
            </p:sp>
            <p:sp>
              <p:nvSpPr>
                <p:cNvPr id="181" name="Rectangle 180">
                  <a:extLst>
                    <a:ext uri="{FF2B5EF4-FFF2-40B4-BE49-F238E27FC236}">
                      <a16:creationId xmlns:a16="http://schemas.microsoft.com/office/drawing/2014/main" id="{F059ED0D-1200-40CC-878E-A8BA7E846FF2}"/>
                    </a:ext>
                  </a:extLst>
                </p:cNvPr>
                <p:cNvSpPr/>
                <p:nvPr userDrawn="1"/>
              </p:nvSpPr>
              <p:spPr>
                <a:xfrm>
                  <a:off x="12514706" y="975268"/>
                  <a:ext cx="60960" cy="523331"/>
                </a:xfrm>
                <a:prstGeom prst="rect">
                  <a:avLst/>
                </a:prstGeom>
                <a:solidFill>
                  <a:srgbClr val="AD2A2A">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146304" tIns="0" rIns="0" bIns="0" rtlCol="0" anchor="ctr" anchorCtr="0"/>
                <a:lstStyle/>
                <a:p>
                  <a:pPr marL="0" lvl="0" algn="l" eaLnBrk="1" hangingPunct="1">
                    <a:spcBef>
                      <a:spcPts val="1200"/>
                    </a:spcBef>
                    <a:spcAft>
                      <a:spcPts val="300"/>
                    </a:spcAft>
                  </a:pPr>
                  <a:r>
                    <a:rPr lang="en-GB" sz="1200" dirty="0">
                      <a:solidFill>
                        <a:srgbClr val="AD2A2A"/>
                      </a:solidFill>
                    </a:rPr>
                    <a:t>-1 </a:t>
                  </a:r>
                  <a:r>
                    <a:rPr lang="en-GB" sz="1000" dirty="0">
                      <a:solidFill>
                        <a:srgbClr val="AD2A2A"/>
                      </a:solidFill>
                      <a:latin typeface="Barlow Condensed" panose="00000506000000000000" pitchFamily="2" charset="0"/>
                      <a:ea typeface="+mn-ea"/>
                      <a:cs typeface="+mn-cs"/>
                    </a:rPr>
                    <a:t>(0.57” / 1.45 cm tall)</a:t>
                  </a:r>
                </a:p>
              </p:txBody>
            </p:sp>
          </p:grpSp>
          <p:grpSp>
            <p:nvGrpSpPr>
              <p:cNvPr id="167" name="Group 166">
                <a:extLst>
                  <a:ext uri="{FF2B5EF4-FFF2-40B4-BE49-F238E27FC236}">
                    <a16:creationId xmlns:a16="http://schemas.microsoft.com/office/drawing/2014/main" id="{387E8B4E-C362-4027-8470-4EB87092DF9C}"/>
                  </a:ext>
                </a:extLst>
              </p:cNvPr>
              <p:cNvGrpSpPr/>
              <p:nvPr userDrawn="1"/>
            </p:nvGrpSpPr>
            <p:grpSpPr>
              <a:xfrm>
                <a:off x="12514707" y="1607324"/>
                <a:ext cx="54864" cy="4797667"/>
                <a:chOff x="12514707" y="1607324"/>
                <a:chExt cx="54864" cy="4797667"/>
              </a:xfrm>
            </p:grpSpPr>
            <p:sp>
              <p:nvSpPr>
                <p:cNvPr id="168" name="Rectangle 167">
                  <a:extLst>
                    <a:ext uri="{FF2B5EF4-FFF2-40B4-BE49-F238E27FC236}">
                      <a16:creationId xmlns:a16="http://schemas.microsoft.com/office/drawing/2014/main" id="{EB2EA5F7-954E-4A4A-AAF3-501B0E06123D}"/>
                    </a:ext>
                  </a:extLst>
                </p:cNvPr>
                <p:cNvSpPr/>
                <p:nvPr userDrawn="1"/>
              </p:nvSpPr>
              <p:spPr>
                <a:xfrm>
                  <a:off x="12514707" y="1607324"/>
                  <a:ext cx="54864" cy="521208"/>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146304" tIns="0" rIns="0" bIns="0" rtlCol="0" anchor="ctr" anchorCtr="0"/>
                <a:lstStyle/>
                <a:p>
                  <a:pPr lvl="0" algn="l">
                    <a:spcAft>
                      <a:spcPts val="300"/>
                    </a:spcAft>
                  </a:pPr>
                  <a:r>
                    <a:rPr lang="en-GB" sz="1200" dirty="0">
                      <a:solidFill>
                        <a:srgbClr val="012A2D"/>
                      </a:solidFill>
                    </a:rPr>
                    <a:t>1</a:t>
                  </a:r>
                </a:p>
              </p:txBody>
            </p:sp>
            <p:sp>
              <p:nvSpPr>
                <p:cNvPr id="169" name="Rectangle 168">
                  <a:extLst>
                    <a:ext uri="{FF2B5EF4-FFF2-40B4-BE49-F238E27FC236}">
                      <a16:creationId xmlns:a16="http://schemas.microsoft.com/office/drawing/2014/main" id="{186DED2D-B945-4FD2-89B0-76AEA2C9F340}"/>
                    </a:ext>
                  </a:extLst>
                </p:cNvPr>
                <p:cNvSpPr/>
                <p:nvPr userDrawn="1"/>
              </p:nvSpPr>
              <p:spPr>
                <a:xfrm>
                  <a:off x="12514707" y="2231781"/>
                  <a:ext cx="54864" cy="521208"/>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146304" tIns="0" rIns="0" bIns="0" rtlCol="0" anchor="ctr" anchorCtr="0"/>
                <a:lstStyle/>
                <a:p>
                  <a:pPr lvl="0" algn="l">
                    <a:spcAft>
                      <a:spcPts val="300"/>
                    </a:spcAft>
                  </a:pPr>
                  <a:r>
                    <a:rPr lang="en-GB" sz="1200" dirty="0">
                      <a:solidFill>
                        <a:srgbClr val="012A2D"/>
                      </a:solidFill>
                    </a:rPr>
                    <a:t>2</a:t>
                  </a:r>
                </a:p>
              </p:txBody>
            </p:sp>
            <p:sp>
              <p:nvSpPr>
                <p:cNvPr id="171" name="Rectangle 170">
                  <a:extLst>
                    <a:ext uri="{FF2B5EF4-FFF2-40B4-BE49-F238E27FC236}">
                      <a16:creationId xmlns:a16="http://schemas.microsoft.com/office/drawing/2014/main" id="{18C73F64-E8B2-4619-A402-351704785582}"/>
                    </a:ext>
                  </a:extLst>
                </p:cNvPr>
                <p:cNvSpPr/>
                <p:nvPr userDrawn="1"/>
              </p:nvSpPr>
              <p:spPr>
                <a:xfrm>
                  <a:off x="12514707" y="2856238"/>
                  <a:ext cx="54864" cy="521208"/>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146304" tIns="0" rIns="0" bIns="0" rtlCol="0" anchor="ctr" anchorCtr="0"/>
                <a:lstStyle/>
                <a:p>
                  <a:pPr lvl="0" algn="l">
                    <a:spcAft>
                      <a:spcPts val="300"/>
                    </a:spcAft>
                  </a:pPr>
                  <a:r>
                    <a:rPr lang="en-GB" sz="1200" dirty="0">
                      <a:solidFill>
                        <a:srgbClr val="012A2D"/>
                      </a:solidFill>
                    </a:rPr>
                    <a:t>3</a:t>
                  </a:r>
                </a:p>
              </p:txBody>
            </p:sp>
            <p:sp>
              <p:nvSpPr>
                <p:cNvPr id="174" name="Rectangle 173">
                  <a:extLst>
                    <a:ext uri="{FF2B5EF4-FFF2-40B4-BE49-F238E27FC236}">
                      <a16:creationId xmlns:a16="http://schemas.microsoft.com/office/drawing/2014/main" id="{D6531FA6-18DF-46D3-BFAC-F760943CC9C2}"/>
                    </a:ext>
                  </a:extLst>
                </p:cNvPr>
                <p:cNvSpPr/>
                <p:nvPr userDrawn="1"/>
              </p:nvSpPr>
              <p:spPr>
                <a:xfrm>
                  <a:off x="12514707" y="3480695"/>
                  <a:ext cx="54864" cy="521208"/>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146304" tIns="0" rIns="0" bIns="0" rtlCol="0" anchor="ctr" anchorCtr="0"/>
                <a:lstStyle/>
                <a:p>
                  <a:pPr lvl="0" algn="l">
                    <a:spcAft>
                      <a:spcPts val="300"/>
                    </a:spcAft>
                  </a:pPr>
                  <a:r>
                    <a:rPr lang="en-GB" sz="1200" dirty="0">
                      <a:solidFill>
                        <a:srgbClr val="012A2D"/>
                      </a:solidFill>
                    </a:rPr>
                    <a:t>4</a:t>
                  </a:r>
                </a:p>
              </p:txBody>
            </p:sp>
            <p:sp>
              <p:nvSpPr>
                <p:cNvPr id="176" name="Rectangle 175">
                  <a:extLst>
                    <a:ext uri="{FF2B5EF4-FFF2-40B4-BE49-F238E27FC236}">
                      <a16:creationId xmlns:a16="http://schemas.microsoft.com/office/drawing/2014/main" id="{3D6CD6ED-9BC8-49C4-ACF5-FD97FD387258}"/>
                    </a:ext>
                  </a:extLst>
                </p:cNvPr>
                <p:cNvSpPr/>
                <p:nvPr userDrawn="1"/>
              </p:nvSpPr>
              <p:spPr>
                <a:xfrm>
                  <a:off x="12514707" y="4105152"/>
                  <a:ext cx="54864" cy="521208"/>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146304" tIns="0" rIns="0" bIns="0" rtlCol="0" anchor="ctr" anchorCtr="0"/>
                <a:lstStyle/>
                <a:p>
                  <a:pPr lvl="0" algn="l">
                    <a:spcAft>
                      <a:spcPts val="300"/>
                    </a:spcAft>
                  </a:pPr>
                  <a:r>
                    <a:rPr lang="en-GB" sz="1200" dirty="0">
                      <a:solidFill>
                        <a:srgbClr val="012A2D"/>
                      </a:solidFill>
                    </a:rPr>
                    <a:t>5</a:t>
                  </a:r>
                </a:p>
              </p:txBody>
            </p:sp>
            <p:sp>
              <p:nvSpPr>
                <p:cNvPr id="177" name="Rectangle 176">
                  <a:extLst>
                    <a:ext uri="{FF2B5EF4-FFF2-40B4-BE49-F238E27FC236}">
                      <a16:creationId xmlns:a16="http://schemas.microsoft.com/office/drawing/2014/main" id="{71B83054-29EA-429E-883A-9604B4DC00FC}"/>
                    </a:ext>
                  </a:extLst>
                </p:cNvPr>
                <p:cNvSpPr/>
                <p:nvPr userDrawn="1"/>
              </p:nvSpPr>
              <p:spPr>
                <a:xfrm>
                  <a:off x="12514707" y="4729609"/>
                  <a:ext cx="54864" cy="521208"/>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146304" tIns="0" rIns="0" bIns="0" rtlCol="0" anchor="ctr" anchorCtr="0"/>
                <a:lstStyle/>
                <a:p>
                  <a:pPr lvl="0" algn="l">
                    <a:spcAft>
                      <a:spcPts val="300"/>
                    </a:spcAft>
                  </a:pPr>
                  <a:r>
                    <a:rPr lang="en-GB" sz="1200" dirty="0">
                      <a:solidFill>
                        <a:srgbClr val="012A2D"/>
                      </a:solidFill>
                    </a:rPr>
                    <a:t>6</a:t>
                  </a:r>
                </a:p>
              </p:txBody>
            </p:sp>
            <p:sp>
              <p:nvSpPr>
                <p:cNvPr id="178" name="Rectangle 177">
                  <a:extLst>
                    <a:ext uri="{FF2B5EF4-FFF2-40B4-BE49-F238E27FC236}">
                      <a16:creationId xmlns:a16="http://schemas.microsoft.com/office/drawing/2014/main" id="{3B5C1683-7AD4-4B1D-9C8E-8A7FCF50D82C}"/>
                    </a:ext>
                  </a:extLst>
                </p:cNvPr>
                <p:cNvSpPr/>
                <p:nvPr userDrawn="1"/>
              </p:nvSpPr>
              <p:spPr>
                <a:xfrm>
                  <a:off x="12514707" y="5354066"/>
                  <a:ext cx="54864" cy="521208"/>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146304" tIns="0" rIns="0" bIns="0" rtlCol="0" anchor="ctr" anchorCtr="0"/>
                <a:lstStyle/>
                <a:p>
                  <a:pPr lvl="0" algn="l">
                    <a:spcAft>
                      <a:spcPts val="300"/>
                    </a:spcAft>
                  </a:pPr>
                  <a:r>
                    <a:rPr lang="en-GB" sz="1200" dirty="0">
                      <a:solidFill>
                        <a:srgbClr val="012A2D"/>
                      </a:solidFill>
                    </a:rPr>
                    <a:t>7 </a:t>
                  </a:r>
                  <a:r>
                    <a:rPr kumimoji="0" lang="en-GB" sz="1000" b="0" i="0" u="none" strike="noStrike" kern="0" cap="none" spc="0" normalizeH="0" baseline="0" noProof="0" dirty="0">
                      <a:ln>
                        <a:noFill/>
                      </a:ln>
                      <a:solidFill>
                        <a:srgbClr val="012A2D"/>
                      </a:solidFill>
                      <a:effectLst/>
                      <a:uLnTx/>
                      <a:uFillTx/>
                      <a:latin typeface="Barlow Condensed" panose="00000506000000000000" pitchFamily="2" charset="0"/>
                      <a:ea typeface="+mn-ea"/>
                      <a:cs typeface="+mn-cs"/>
                    </a:rPr>
                    <a:t>(0.57” / 1.45 cm tall)</a:t>
                  </a:r>
                  <a:endParaRPr lang="en-GB" sz="1200" dirty="0">
                    <a:solidFill>
                      <a:srgbClr val="012A2D"/>
                    </a:solidFill>
                  </a:endParaRPr>
                </a:p>
              </p:txBody>
            </p:sp>
            <p:sp>
              <p:nvSpPr>
                <p:cNvPr id="179" name="Rectangle 178">
                  <a:extLst>
                    <a:ext uri="{FF2B5EF4-FFF2-40B4-BE49-F238E27FC236}">
                      <a16:creationId xmlns:a16="http://schemas.microsoft.com/office/drawing/2014/main" id="{7065EA24-94C0-404E-9043-43D6FE9F30B7}"/>
                    </a:ext>
                  </a:extLst>
                </p:cNvPr>
                <p:cNvSpPr/>
                <p:nvPr userDrawn="1"/>
              </p:nvSpPr>
              <p:spPr>
                <a:xfrm>
                  <a:off x="12514707" y="5984367"/>
                  <a:ext cx="54864" cy="420624"/>
                </a:xfrm>
                <a:prstGeom prst="rect">
                  <a:avLst/>
                </a:prstGeom>
                <a:solidFill>
                  <a:srgbClr val="17E88F">
                    <a:alpha val="2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146304" tIns="0" rIns="0" bIns="0" rtlCol="0" anchor="ctr" anchorCtr="0"/>
                <a:lstStyle/>
                <a:p>
                  <a:pPr marL="0" marR="0" lvl="0" indent="0" algn="l" defTabSz="914400" eaLnBrk="1" fontAlgn="auto" latinLnBrk="0" hangingPunct="1">
                    <a:lnSpc>
                      <a:spcPct val="100000"/>
                    </a:lnSpc>
                    <a:spcBef>
                      <a:spcPts val="1200"/>
                    </a:spcBef>
                    <a:spcAft>
                      <a:spcPts val="300"/>
                    </a:spcAft>
                    <a:buClrTx/>
                    <a:buSzTx/>
                    <a:buFontTx/>
                    <a:buNone/>
                    <a:tabLst/>
                    <a:defRPr/>
                  </a:pPr>
                  <a:r>
                    <a:rPr lang="en-GB" sz="1200" dirty="0">
                      <a:solidFill>
                        <a:srgbClr val="012A2D"/>
                      </a:solidFill>
                    </a:rPr>
                    <a:t>8</a:t>
                  </a:r>
                  <a:r>
                    <a:rPr kumimoji="0" lang="en-GB" sz="1200" b="0" i="0" u="none" strike="noStrike" kern="0" cap="none" spc="0" normalizeH="0" baseline="0" noProof="0" dirty="0">
                      <a:ln>
                        <a:noFill/>
                      </a:ln>
                      <a:solidFill>
                        <a:srgbClr val="012A2D"/>
                      </a:solidFill>
                      <a:effectLst/>
                      <a:uLnTx/>
                      <a:uFillTx/>
                      <a:latin typeface="Calibre"/>
                      <a:ea typeface="+mn-ea"/>
                      <a:cs typeface="+mn-cs"/>
                    </a:rPr>
                    <a:t> </a:t>
                  </a:r>
                  <a:r>
                    <a:rPr kumimoji="0" lang="en-GB" sz="1000" b="0" i="0" u="none" strike="noStrike" kern="0" cap="none" spc="0" normalizeH="0" baseline="0" noProof="0" dirty="0">
                      <a:ln>
                        <a:noFill/>
                      </a:ln>
                      <a:solidFill>
                        <a:srgbClr val="012A2D"/>
                      </a:solidFill>
                      <a:effectLst/>
                      <a:uLnTx/>
                      <a:uFillTx/>
                      <a:latin typeface="Barlow Condensed" panose="00000506000000000000" pitchFamily="2" charset="0"/>
                      <a:ea typeface="+mn-ea"/>
                      <a:cs typeface="+mn-cs"/>
                    </a:rPr>
                    <a:t>(0.46” / 1.17 cm tall)</a:t>
                  </a:r>
                </a:p>
              </p:txBody>
            </p:sp>
          </p:grpSp>
        </p:grpSp>
      </p:grpSp>
    </p:spTree>
    <p:extLst>
      <p:ext uri="{BB962C8B-B14F-4D97-AF65-F5344CB8AC3E}">
        <p14:creationId xmlns:p14="http://schemas.microsoft.com/office/powerpoint/2010/main" val="31390001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4" r:id="rId94"/>
    <p:sldLayoutId id="2147483755" r:id="rId95"/>
    <p:sldLayoutId id="2147483756" r:id="rId96"/>
  </p:sldLayoutIdLst>
  <p:hf hdr="0" dt="0"/>
  <p:txStyles>
    <p:titleStyle>
      <a:lvl1pPr eaLnBrk="1" hangingPunct="1">
        <a:lnSpc>
          <a:spcPct val="90000"/>
        </a:lnSpc>
        <a:defRPr sz="2800" kern="1200" baseline="0">
          <a:solidFill>
            <a:schemeClr val="tx1"/>
          </a:solidFill>
          <a:latin typeface="+mj-lt"/>
          <a:ea typeface="+mj-ea"/>
          <a:cs typeface="+mj-cs"/>
        </a:defRPr>
      </a:lvl1pPr>
    </p:titleStyle>
    <p:bodyStyle>
      <a:lvl1pPr marL="0" eaLnBrk="1" hangingPunct="1">
        <a:spcBef>
          <a:spcPts val="1200"/>
        </a:spcBef>
        <a:spcAft>
          <a:spcPts val="1200"/>
        </a:spcAft>
        <a:defRPr sz="2200">
          <a:solidFill>
            <a:schemeClr val="tx1"/>
          </a:solidFill>
          <a:latin typeface="Calibre Light" panose="020B0303030202060203" pitchFamily="34" charset="0"/>
          <a:ea typeface="+mn-ea"/>
          <a:cs typeface="+mn-cs"/>
        </a:defRPr>
      </a:lvl1pPr>
      <a:lvl2pPr marL="0" indent="0" eaLnBrk="1" hangingPunct="1">
        <a:spcAft>
          <a:spcPts val="600"/>
        </a:spcAft>
        <a:defRPr sz="1600" b="0">
          <a:solidFill>
            <a:schemeClr val="tx1"/>
          </a:solidFill>
          <a:latin typeface="Calibre Semibold" panose="020B0703030202060203" pitchFamily="34" charset="0"/>
          <a:ea typeface="+mn-ea"/>
          <a:cs typeface="+mn-cs"/>
        </a:defRPr>
      </a:lvl2pPr>
      <a:lvl3pPr marL="0" indent="0" eaLnBrk="1" hangingPunct="1">
        <a:spcBef>
          <a:spcPts val="300"/>
        </a:spcBef>
        <a:spcAft>
          <a:spcPts val="300"/>
        </a:spcAft>
        <a:defRPr sz="1200">
          <a:solidFill>
            <a:schemeClr val="tx1"/>
          </a:solidFill>
          <a:latin typeface="+mn-lt"/>
          <a:ea typeface="+mn-ea"/>
          <a:cs typeface="+mn-cs"/>
        </a:defRPr>
      </a:lvl3pPr>
      <a:lvl4pPr marL="171450" indent="-171450" eaLnBrk="1" hangingPunct="1">
        <a:spcBef>
          <a:spcPts val="300"/>
        </a:spcBef>
        <a:spcAft>
          <a:spcPts val="300"/>
        </a:spcAft>
        <a:buFont typeface="+mn-lt" panose="04000400000000000000" pitchFamily="82" charset="0"/>
        <a:buChar char="–"/>
        <a:defRPr sz="1200">
          <a:solidFill>
            <a:schemeClr val="tx1"/>
          </a:solidFill>
          <a:latin typeface="+mn-lt"/>
          <a:ea typeface="+mn-ea"/>
          <a:cs typeface="+mn-cs"/>
        </a:defRPr>
      </a:lvl4pPr>
      <a:lvl5pPr marL="360363" indent="-184150" eaLnBrk="1" hangingPunct="1">
        <a:spcBef>
          <a:spcPts val="300"/>
        </a:spcBef>
        <a:spcAft>
          <a:spcPts val="300"/>
        </a:spcAft>
        <a:buFont typeface="+mn-lt" panose="04000400000000000000" pitchFamily="82" charset="0"/>
        <a:buChar char="–"/>
        <a:defRPr sz="1200" b="0">
          <a:solidFill>
            <a:schemeClr val="tx1"/>
          </a:solidFill>
          <a:latin typeface="+mn-lt"/>
          <a:ea typeface="+mn-ea"/>
          <a:cs typeface="+mn-cs"/>
        </a:defRPr>
      </a:lvl5pPr>
      <a:lvl6pPr marL="0" indent="0" eaLnBrk="1" hangingPunct="1">
        <a:spcBef>
          <a:spcPts val="600"/>
        </a:spcBef>
        <a:spcAft>
          <a:spcPts val="0"/>
        </a:spcAft>
        <a:buFontTx/>
        <a:buNone/>
        <a:defRPr sz="1200">
          <a:solidFill>
            <a:schemeClr val="tx1"/>
          </a:solidFill>
          <a:latin typeface="Calibre Semibold" panose="020B0703030202060203" pitchFamily="34" charset="0"/>
          <a:ea typeface="+mn-ea"/>
          <a:cs typeface="+mn-cs"/>
        </a:defRPr>
      </a:lvl6pPr>
      <a:lvl7pPr marL="0" indent="0" eaLnBrk="1" hangingPunct="1">
        <a:spcBef>
          <a:spcPts val="600"/>
        </a:spcBef>
        <a:defRPr sz="1050">
          <a:solidFill>
            <a:schemeClr val="tx1"/>
          </a:solidFill>
          <a:latin typeface="Calibre Semibold" panose="020B0703030202060203" pitchFamily="34" charset="0"/>
          <a:ea typeface="+mn-ea"/>
          <a:cs typeface="+mn-cs"/>
        </a:defRPr>
      </a:lvl7pPr>
      <a:lvl8pPr marL="0" indent="0" eaLnBrk="1" hangingPunct="1">
        <a:spcBef>
          <a:spcPts val="300"/>
        </a:spcBef>
        <a:spcAft>
          <a:spcPts val="300"/>
        </a:spcAft>
        <a:defRPr sz="1050" b="0">
          <a:solidFill>
            <a:schemeClr val="tx1"/>
          </a:solidFill>
          <a:latin typeface="+mn-lt"/>
          <a:ea typeface="+mn-ea"/>
          <a:cs typeface="+mn-cs"/>
        </a:defRPr>
      </a:lvl8pPr>
      <a:lvl9pPr marL="171450" indent="-171450" eaLnBrk="1" hangingPunct="1">
        <a:spcBef>
          <a:spcPts val="200"/>
        </a:spcBef>
        <a:spcAft>
          <a:spcPts val="200"/>
        </a:spcAft>
        <a:buFont typeface="+mn-lt" panose="04000400000000000000" pitchFamily="82" charset="0"/>
        <a:buChar char="–"/>
        <a:defRPr sz="1050">
          <a:solidFill>
            <a:schemeClr val="tx1"/>
          </a:solidFill>
          <a:latin typeface="+mn-lt"/>
          <a:ea typeface="+mn-ea"/>
          <a:cs typeface="+mn-cs"/>
        </a:defRPr>
      </a:lvl9pPr>
    </p:bodyStyle>
    <p:otherStyle>
      <a:lvl1pPr marL="0" eaLnBrk="1" hangingPunct="1">
        <a:defRPr sz="1200" kern="1200">
          <a:latin typeface="+mn-lt"/>
          <a:ea typeface="+mn-ea"/>
          <a:cs typeface="+mn-cs"/>
        </a:defRPr>
      </a:lvl1pPr>
      <a:lvl2pPr marL="0" eaLnBrk="1" hangingPunct="1">
        <a:defRPr sz="1000" kern="1200">
          <a:latin typeface="+mn-lt"/>
          <a:ea typeface="+mn-ea"/>
          <a:cs typeface="+mn-cs"/>
        </a:defRPr>
      </a:lvl2pPr>
      <a:lvl3pPr marL="114300" indent="-114300" eaLnBrk="1" hangingPunct="1">
        <a:buFont typeface="+mn-lt" panose="04000400000000000000" pitchFamily="82" charset="0"/>
        <a:buChar char="–"/>
        <a:defRPr sz="1000" kern="1200">
          <a:latin typeface="+mn-lt"/>
          <a:ea typeface="+mn-ea"/>
          <a:cs typeface="+mn-cs"/>
        </a:defRPr>
      </a:lvl3pPr>
      <a:lvl4pPr marL="228600" indent="-114300" eaLnBrk="1" hangingPunct="1">
        <a:buFont typeface="+mn-lt" panose="04000400000000000000" pitchFamily="82" charset="0"/>
        <a:buChar char="–"/>
        <a:defRPr sz="1000" kern="1000">
          <a:latin typeface="+mn-lt"/>
          <a:ea typeface="+mn-ea"/>
          <a:cs typeface="+mn-cs"/>
        </a:defRPr>
      </a:lvl4pPr>
      <a:lvl5pPr marL="342900" indent="-114300" eaLnBrk="1" hangingPunct="1">
        <a:buFont typeface="+mn-lt" panose="04000400000000000000" pitchFamily="82" charset="0"/>
        <a:buChar char="–"/>
        <a:defRPr sz="900" kern="1000">
          <a:latin typeface="+mn-lt"/>
          <a:ea typeface="+mn-ea"/>
          <a:cs typeface="+mn-cs"/>
        </a:defRPr>
      </a:lvl5pPr>
      <a:lvl6pPr marL="0" eaLnBrk="1" hangingPunct="1">
        <a:defRPr sz="900" kern="900">
          <a:latin typeface="+mn-lt"/>
          <a:ea typeface="+mn-ea"/>
          <a:cs typeface="+mn-cs"/>
        </a:defRPr>
      </a:lvl6pPr>
      <a:lvl7pPr marL="0" eaLnBrk="1" hangingPunct="1">
        <a:defRPr sz="900" kern="900">
          <a:latin typeface="+mn-lt"/>
          <a:ea typeface="+mn-ea"/>
          <a:cs typeface="+mn-cs"/>
        </a:defRPr>
      </a:lvl7pPr>
      <a:lvl8pPr marL="0" eaLnBrk="1" hangingPunct="1">
        <a:defRPr sz="900" kern="900">
          <a:latin typeface="+mn-lt"/>
          <a:ea typeface="+mn-ea"/>
          <a:cs typeface="+mn-cs"/>
        </a:defRPr>
      </a:lvl8pPr>
      <a:lvl9pPr marL="0" eaLnBrk="1" hangingPunct="1">
        <a:defRPr sz="900" kern="900">
          <a:latin typeface="+mn-lt"/>
          <a:ea typeface="+mn-ea"/>
          <a:cs typeface="+mn-cs"/>
        </a:defRPr>
      </a:lvl9pPr>
    </p:otherStyle>
  </p:txStyles>
  <p:extLst>
    <p:ext uri="{27BBF7A9-308A-43DC-89C8-2F10F3537804}">
      <p15:sldGuideLst xmlns:p15="http://schemas.microsoft.com/office/powerpoint/2012/main">
        <p15:guide id="1" orient="horz">
          <p15:clr>
            <a:srgbClr val="F26B43"/>
          </p15:clr>
        </p15:guide>
        <p15:guide id="2" orient="horz" pos="222">
          <p15:clr>
            <a:srgbClr val="F26B43"/>
          </p15:clr>
        </p15:guide>
        <p15:guide id="3" pos="7421">
          <p15:clr>
            <a:srgbClr val="F26B43"/>
          </p15:clr>
        </p15:guide>
        <p15:guide id="4" pos="7680">
          <p15:clr>
            <a:srgbClr val="F26B43"/>
          </p15:clr>
        </p15:guide>
        <p15:guide id="5" pos="579">
          <p15:clr>
            <a:srgbClr val="F26B43"/>
          </p15:clr>
        </p15:guide>
        <p15:guide id="6" pos="643">
          <p15:clr>
            <a:srgbClr val="F26B43"/>
          </p15:clr>
        </p15:guide>
        <p15:guide id="7" pos="902">
          <p15:clr>
            <a:srgbClr val="F26B43"/>
          </p15:clr>
        </p15:guide>
        <p15:guide id="8" pos="965">
          <p15:clr>
            <a:srgbClr val="F26B43"/>
          </p15:clr>
        </p15:guide>
        <p15:guide id="9" pos="1225">
          <p15:clr>
            <a:srgbClr val="F26B43"/>
          </p15:clr>
        </p15:guide>
        <p15:guide id="10" pos="1288">
          <p15:clr>
            <a:srgbClr val="F26B43"/>
          </p15:clr>
        </p15:guide>
        <p15:guide id="11" pos="1548">
          <p15:clr>
            <a:srgbClr val="F26B43"/>
          </p15:clr>
        </p15:guide>
        <p15:guide id="12" pos="1611">
          <p15:clr>
            <a:srgbClr val="F26B43"/>
          </p15:clr>
        </p15:guide>
        <p15:guide id="13" pos="1870">
          <p15:clr>
            <a:srgbClr val="F26B43"/>
          </p15:clr>
        </p15:guide>
        <p15:guide id="14" pos="1934">
          <p15:clr>
            <a:srgbClr val="F26B43"/>
          </p15:clr>
        </p15:guide>
        <p15:guide id="15" pos="2193">
          <p15:clr>
            <a:srgbClr val="F26B43"/>
          </p15:clr>
        </p15:guide>
        <p15:guide id="16" pos="2257">
          <p15:clr>
            <a:srgbClr val="F26B43"/>
          </p15:clr>
        </p15:guide>
        <p15:guide id="17" pos="2516">
          <p15:clr>
            <a:srgbClr val="F26B43"/>
          </p15:clr>
        </p15:guide>
        <p15:guide id="18" pos="2579">
          <p15:clr>
            <a:srgbClr val="F26B43"/>
          </p15:clr>
        </p15:guide>
        <p15:guide id="19" pos="2839">
          <p15:clr>
            <a:srgbClr val="F26B43"/>
          </p15:clr>
        </p15:guide>
        <p15:guide id="20" pos="2902">
          <p15:clr>
            <a:srgbClr val="F26B43"/>
          </p15:clr>
        </p15:guide>
        <p15:guide id="21" pos="3162">
          <p15:clr>
            <a:srgbClr val="F26B43"/>
          </p15:clr>
        </p15:guide>
        <p15:guide id="22" pos="3225">
          <p15:clr>
            <a:srgbClr val="F26B43"/>
          </p15:clr>
        </p15:guide>
        <p15:guide id="23" pos="3485">
          <p15:clr>
            <a:srgbClr val="F26B43"/>
          </p15:clr>
        </p15:guide>
        <p15:guide id="24" pos="3548">
          <p15:clr>
            <a:srgbClr val="F26B43"/>
          </p15:clr>
        </p15:guide>
        <p15:guide id="25" pos="3807">
          <p15:clr>
            <a:srgbClr val="F26B43"/>
          </p15:clr>
        </p15:guide>
        <p15:guide id="26" pos="3871">
          <p15:clr>
            <a:srgbClr val="F26B43"/>
          </p15:clr>
        </p15:guide>
        <p15:guide id="27" pos="4130">
          <p15:clr>
            <a:srgbClr val="F26B43"/>
          </p15:clr>
        </p15:guide>
        <p15:guide id="28" pos="4193">
          <p15:clr>
            <a:srgbClr val="F26B43"/>
          </p15:clr>
        </p15:guide>
        <p15:guide id="29" pos="4453">
          <p15:clr>
            <a:srgbClr val="F26B43"/>
          </p15:clr>
        </p15:guide>
        <p15:guide id="30" pos="4516">
          <p15:clr>
            <a:srgbClr val="F26B43"/>
          </p15:clr>
        </p15:guide>
        <p15:guide id="31" pos="4776">
          <p15:clr>
            <a:srgbClr val="F26B43"/>
          </p15:clr>
        </p15:guide>
        <p15:guide id="32" pos="4839">
          <p15:clr>
            <a:srgbClr val="F26B43"/>
          </p15:clr>
        </p15:guide>
        <p15:guide id="33" pos="5099">
          <p15:clr>
            <a:srgbClr val="F26B43"/>
          </p15:clr>
        </p15:guide>
        <p15:guide id="34" pos="5162">
          <p15:clr>
            <a:srgbClr val="F26B43"/>
          </p15:clr>
        </p15:guide>
        <p15:guide id="35" pos="5421">
          <p15:clr>
            <a:srgbClr val="F26B43"/>
          </p15:clr>
        </p15:guide>
        <p15:guide id="36" pos="5485">
          <p15:clr>
            <a:srgbClr val="F26B43"/>
          </p15:clr>
        </p15:guide>
        <p15:guide id="37" pos="5744">
          <p15:clr>
            <a:srgbClr val="F26B43"/>
          </p15:clr>
        </p15:guide>
        <p15:guide id="38" pos="5807">
          <p15:clr>
            <a:srgbClr val="F26B43"/>
          </p15:clr>
        </p15:guide>
        <p15:guide id="39" pos="6067">
          <p15:clr>
            <a:srgbClr val="F26B43"/>
          </p15:clr>
        </p15:guide>
        <p15:guide id="40" pos="6130">
          <p15:clr>
            <a:srgbClr val="F26B43"/>
          </p15:clr>
        </p15:guide>
        <p15:guide id="41" pos="6390">
          <p15:clr>
            <a:srgbClr val="F26B43"/>
          </p15:clr>
        </p15:guide>
        <p15:guide id="42" pos="6453">
          <p15:clr>
            <a:srgbClr val="F26B43"/>
          </p15:clr>
        </p15:guide>
        <p15:guide id="43" pos="6713">
          <p15:clr>
            <a:srgbClr val="F26B43"/>
          </p15:clr>
        </p15:guide>
        <p15:guide id="44" pos="6776">
          <p15:clr>
            <a:srgbClr val="F26B43"/>
          </p15:clr>
        </p15:guide>
        <p15:guide id="45" pos="7035">
          <p15:clr>
            <a:srgbClr val="F26B43"/>
          </p15:clr>
        </p15:guide>
        <p15:guide id="46" pos="7099">
          <p15:clr>
            <a:srgbClr val="F26B43"/>
          </p15:clr>
        </p15:guide>
        <p15:guide id="47" pos="7358">
          <p15:clr>
            <a:srgbClr val="F26B43"/>
          </p15:clr>
        </p15:guide>
        <p15:guide id="49" orient="horz" pos="944">
          <p15:clr>
            <a:srgbClr val="F26B43"/>
          </p15:clr>
        </p15:guide>
        <p15:guide id="50" orient="horz" pos="1008">
          <p15:clr>
            <a:srgbClr val="F26B43"/>
          </p15:clr>
        </p15:guide>
        <p15:guide id="51" orient="horz" pos="1339">
          <p15:clr>
            <a:srgbClr val="F26B43"/>
          </p15:clr>
        </p15:guide>
        <p15:guide id="52" orient="horz" pos="1402">
          <p15:clr>
            <a:srgbClr val="F26B43"/>
          </p15:clr>
        </p15:guide>
        <p15:guide id="53" orient="horz" pos="1733">
          <p15:clr>
            <a:srgbClr val="F26B43"/>
          </p15:clr>
        </p15:guide>
        <p15:guide id="54" orient="horz" pos="1797">
          <p15:clr>
            <a:srgbClr val="F26B43"/>
          </p15:clr>
        </p15:guide>
        <p15:guide id="55" orient="horz" pos="2128">
          <p15:clr>
            <a:srgbClr val="F26B43"/>
          </p15:clr>
        </p15:guide>
        <p15:guide id="56" orient="horz" pos="2191">
          <p15:clr>
            <a:srgbClr val="F26B43"/>
          </p15:clr>
        </p15:guide>
        <p15:guide id="57" orient="horz" pos="2522">
          <p15:clr>
            <a:srgbClr val="F26B43"/>
          </p15:clr>
        </p15:guide>
        <p15:guide id="58" orient="horz" pos="2586">
          <p15:clr>
            <a:srgbClr val="F26B43"/>
          </p15:clr>
        </p15:guide>
        <p15:guide id="59" orient="horz" pos="2917">
          <p15:clr>
            <a:srgbClr val="F26B43"/>
          </p15:clr>
        </p15:guide>
        <p15:guide id="60" orient="horz" pos="2980">
          <p15:clr>
            <a:srgbClr val="F26B43"/>
          </p15:clr>
        </p15:guide>
        <p15:guide id="61" orient="horz" pos="3311">
          <p15:clr>
            <a:srgbClr val="F26B43"/>
          </p15:clr>
        </p15:guide>
        <p15:guide id="62" orient="horz" pos="3375">
          <p15:clr>
            <a:srgbClr val="F26B43"/>
          </p15:clr>
        </p15:guide>
        <p15:guide id="63" orient="horz" pos="552">
          <p15:clr>
            <a:srgbClr val="F26B43"/>
          </p15:clr>
        </p15:guide>
        <p15:guide id="64" orient="horz" pos="613">
          <p15:clr>
            <a:srgbClr val="F26B43"/>
          </p15:clr>
        </p15:guide>
        <p15:guide id="65" orient="horz" pos="4098">
          <p15:clr>
            <a:srgbClr val="F26B43"/>
          </p15:clr>
        </p15:guide>
        <p15:guide id="66" orient="horz" pos="4320">
          <p15:clr>
            <a:srgbClr val="F26B43"/>
          </p15:clr>
        </p15:guide>
        <p15:guide id="67" orient="horz" pos="3706">
          <p15:clr>
            <a:srgbClr val="F26B43"/>
          </p15:clr>
        </p15:guide>
        <p15:guide id="68" orient="horz" pos="3768">
          <p15:clr>
            <a:srgbClr val="F26B43"/>
          </p15:clr>
        </p15:guide>
        <p15:guide id="69" pos="320">
          <p15:clr>
            <a:srgbClr val="F26B43"/>
          </p15:clr>
        </p15:guide>
        <p15:guide id="70" orient="horz" pos="285">
          <p15:clr>
            <a:srgbClr val="F26B43"/>
          </p15:clr>
        </p15:guide>
        <p15:guide id="71" pos="259">
          <p15:clr>
            <a:srgbClr val="F26B43"/>
          </p15:clr>
        </p15:guide>
        <p15:guide id="72" orient="horz" pos="403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48"/>
            </p:custDataLst>
            <p:extLst>
              <p:ext uri="{D42A27DB-BD31-4B8C-83A1-F6EECF244321}">
                <p14:modId xmlns:p14="http://schemas.microsoft.com/office/powerpoint/2010/main" val="327382312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0" imgW="492" imgH="504" progId="TCLayout.ActiveDocument.1">
                  <p:embed/>
                </p:oleObj>
              </mc:Choice>
              <mc:Fallback>
                <p:oleObj name="think-cell Slide" r:id="rId50" imgW="492" imgH="504" progId="TCLayout.ActiveDocument.1">
                  <p:embed/>
                  <p:pic>
                    <p:nvPicPr>
                      <p:cNvPr id="16" name="Object 15" hidden="1"/>
                      <p:cNvPicPr/>
                      <p:nvPr/>
                    </p:nvPicPr>
                    <p:blipFill>
                      <a:blip r:embed="rId51"/>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3680F9F-402E-4754-877B-923F01DAFB87}"/>
              </a:ext>
            </a:extLst>
          </p:cNvPr>
          <p:cNvSpPr/>
          <p:nvPr userDrawn="1">
            <p:custDataLst>
              <p:tags r:id="rId49"/>
            </p:custDataLst>
          </p:nvPr>
        </p:nvSpPr>
        <p:spPr>
          <a:xfrm>
            <a:off x="0" y="0"/>
            <a:ext cx="158750" cy="158750"/>
          </a:xfrm>
          <a:prstGeom prst="rect">
            <a:avLst/>
          </a:prstGeom>
          <a:no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spcBef>
                <a:spcPts val="600"/>
              </a:spcBef>
            </a:pPr>
            <a:endParaRPr lang="en-US" sz="2200" b="1" i="0" baseline="0" dirty="0">
              <a:solidFill>
                <a:schemeClr val="tx1"/>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11" name="TextBox 10"/>
          <p:cNvSpPr txBox="1"/>
          <p:nvPr/>
        </p:nvSpPr>
        <p:spPr>
          <a:xfrm>
            <a:off x="11593690" y="6715169"/>
            <a:ext cx="216711" cy="110800"/>
          </a:xfrm>
          <a:prstGeom prst="rect">
            <a:avLst/>
          </a:prstGeom>
          <a:noFill/>
        </p:spPr>
        <p:txBody>
          <a:bodyPr wrap="square" lIns="0" tIns="0" rIns="0" bIns="0" rtlCol="0" anchor="b" anchorCtr="0">
            <a:spAutoFit/>
          </a:bodyPr>
          <a:lstStyle>
            <a:defPPr>
              <a:defRPr lang="en-US"/>
            </a:defPPr>
            <a:lvl1pPr marR="0" indent="0" fontAlgn="auto">
              <a:spcAft>
                <a:spcPts val="0"/>
              </a:spcAft>
              <a:buClrTx/>
              <a:buSzTx/>
              <a:buFontTx/>
              <a:buNone/>
              <a:tabLst/>
              <a:defRPr sz="800" b="1">
                <a:solidFill>
                  <a:schemeClr val="bg1">
                    <a:lumMod val="50000"/>
                  </a:schemeClr>
                </a:solidFill>
              </a:defRPr>
            </a:lvl1pPr>
          </a:lstStyle>
          <a:p>
            <a:pPr lvl="0" algn="r">
              <a:lnSpc>
                <a:spcPct val="90000"/>
              </a:lnSpc>
              <a:spcAft>
                <a:spcPts val="0"/>
              </a:spcAft>
            </a:pPr>
            <a:fld id="{D0CAA5E7-971B-4F76-80DA-861F8BE1DEE2}" type="slidenum">
              <a:rPr lang="en-GB" smtClean="0">
                <a:latin typeface="Lato" panose="020F0502020204030203" pitchFamily="34" charset="0"/>
                <a:ea typeface="Lato" panose="020F0502020204030203" pitchFamily="34" charset="0"/>
                <a:cs typeface="Lato" panose="020F0502020204030203" pitchFamily="34" charset="0"/>
                <a:sym typeface="Lato" panose="020F0502020204030203" pitchFamily="34" charset="0"/>
              </a:rPr>
              <a:pPr lvl="0" algn="r">
                <a:lnSpc>
                  <a:spcPct val="90000"/>
                </a:lnSpc>
                <a:spcAft>
                  <a:spcPts val="0"/>
                </a:spcAft>
              </a:pPr>
              <a:t>‹#›</a:t>
            </a:fld>
            <a:endParaRPr lang="en-GB" dirty="0">
              <a:latin typeface="Lato" panose="020F0502020204030203" pitchFamily="34" charset="0"/>
              <a:ea typeface="Lato" panose="020F0502020204030203" pitchFamily="34" charset="0"/>
              <a:cs typeface="Lato" panose="020F0502020204030203" pitchFamily="34" charset="0"/>
              <a:sym typeface="Lato" panose="020F0502020204030203" pitchFamily="34" charset="0"/>
            </a:endParaRPr>
          </a:p>
        </p:txBody>
      </p:sp>
      <p:sp>
        <p:nvSpPr>
          <p:cNvPr id="3" name="Title Placeholder 2"/>
          <p:cNvSpPr>
            <a:spLocks noGrp="1"/>
          </p:cNvSpPr>
          <p:nvPr>
            <p:ph type="title"/>
          </p:nvPr>
        </p:nvSpPr>
        <p:spPr>
          <a:xfrm>
            <a:off x="381599" y="411856"/>
            <a:ext cx="8600471" cy="609398"/>
          </a:xfrm>
          <a:prstGeom prst="rect">
            <a:avLst/>
          </a:prstGeom>
        </p:spPr>
        <p:txBody>
          <a:bodyPr vert="horz" lIns="0" tIns="0" rIns="0" bIns="0" rtlCol="0" anchor="t" anchorCtr="0">
            <a:noAutofit/>
          </a:bodyPr>
          <a:lstStyle/>
          <a:p>
            <a:pPr marL="0" lvl="0"/>
            <a:r>
              <a:rPr lang="en-US"/>
              <a:t>Click to edit Master title style</a:t>
            </a:r>
            <a:endParaRPr lang="en-GB"/>
          </a:p>
        </p:txBody>
      </p:sp>
      <p:grpSp>
        <p:nvGrpSpPr>
          <p:cNvPr id="7" name="Drawing grid" hidden="1">
            <a:extLst>
              <a:ext uri="{FF2B5EF4-FFF2-40B4-BE49-F238E27FC236}">
                <a16:creationId xmlns:a16="http://schemas.microsoft.com/office/drawing/2014/main" id="{F689DF73-B24C-4DB8-A6FB-DC49F5393599}"/>
              </a:ext>
            </a:extLst>
          </p:cNvPr>
          <p:cNvGrpSpPr/>
          <p:nvPr/>
        </p:nvGrpSpPr>
        <p:grpSpPr>
          <a:xfrm>
            <a:off x="0" y="0"/>
            <a:ext cx="12192000" cy="6858000"/>
            <a:chOff x="0" y="0"/>
            <a:chExt cx="12192000" cy="6858000"/>
          </a:xfrm>
        </p:grpSpPr>
        <p:cxnSp>
          <p:nvCxnSpPr>
            <p:cNvPr id="8" name="Straight Connector 7" hidden="1">
              <a:extLst>
                <a:ext uri="{FF2B5EF4-FFF2-40B4-BE49-F238E27FC236}">
                  <a16:creationId xmlns:a16="http://schemas.microsoft.com/office/drawing/2014/main" id="{D1EDC188-BC1F-4384-B58C-411668F46D61}"/>
                </a:ext>
              </a:extLst>
            </p:cNvPr>
            <p:cNvCxnSpPr>
              <a:cxnSpLocks/>
            </p:cNvCxnSpPr>
            <p:nvPr/>
          </p:nvCxnSpPr>
          <p:spPr>
            <a:xfrm>
              <a:off x="3810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hidden="1">
              <a:extLst>
                <a:ext uri="{FF2B5EF4-FFF2-40B4-BE49-F238E27FC236}">
                  <a16:creationId xmlns:a16="http://schemas.microsoft.com/office/drawing/2014/main" id="{31CDBB1C-4855-42CA-9C7F-04D0D986F764}"/>
                </a:ext>
              </a:extLst>
            </p:cNvPr>
            <p:cNvCxnSpPr>
              <a:cxnSpLocks/>
            </p:cNvCxnSpPr>
            <p:nvPr/>
          </p:nvCxnSpPr>
          <p:spPr>
            <a:xfrm>
              <a:off x="0" y="6441056"/>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hidden="1">
              <a:extLst>
                <a:ext uri="{FF2B5EF4-FFF2-40B4-BE49-F238E27FC236}">
                  <a16:creationId xmlns:a16="http://schemas.microsoft.com/office/drawing/2014/main" id="{2FD40C04-DD75-44F8-8981-25A134EB63D9}"/>
                </a:ext>
              </a:extLst>
            </p:cNvPr>
            <p:cNvCxnSpPr>
              <a:cxnSpLocks/>
            </p:cNvCxnSpPr>
            <p:nvPr/>
          </p:nvCxnSpPr>
          <p:spPr>
            <a:xfrm>
              <a:off x="0" y="671390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hidden="1">
              <a:extLst>
                <a:ext uri="{FF2B5EF4-FFF2-40B4-BE49-F238E27FC236}">
                  <a16:creationId xmlns:a16="http://schemas.microsoft.com/office/drawing/2014/main" id="{BE79AA27-C96A-4C22-968A-FA8F6B242865}"/>
                </a:ext>
              </a:extLst>
            </p:cNvPr>
            <p:cNvCxnSpPr>
              <a:cxnSpLocks/>
            </p:cNvCxnSpPr>
            <p:nvPr/>
          </p:nvCxnSpPr>
          <p:spPr>
            <a:xfrm>
              <a:off x="0" y="6256663"/>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24" hidden="1">
              <a:extLst>
                <a:ext uri="{FF2B5EF4-FFF2-40B4-BE49-F238E27FC236}">
                  <a16:creationId xmlns:a16="http://schemas.microsoft.com/office/drawing/2014/main" id="{6205F8F2-BB15-4AF3-ACE1-7296CF26345D}"/>
                </a:ext>
              </a:extLst>
            </p:cNvPr>
            <p:cNvCxnSpPr>
              <a:cxnSpLocks/>
            </p:cNvCxnSpPr>
            <p:nvPr/>
          </p:nvCxnSpPr>
          <p:spPr>
            <a:xfrm>
              <a:off x="0" y="365481"/>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hidden="1">
              <a:extLst>
                <a:ext uri="{FF2B5EF4-FFF2-40B4-BE49-F238E27FC236}">
                  <a16:creationId xmlns:a16="http://schemas.microsoft.com/office/drawing/2014/main" id="{BDFED021-4E76-49A4-B6B9-DB3F67C3F267}"/>
                </a:ext>
              </a:extLst>
            </p:cNvPr>
            <p:cNvCxnSpPr>
              <a:cxnSpLocks/>
            </p:cNvCxnSpPr>
            <p:nvPr/>
          </p:nvCxnSpPr>
          <p:spPr>
            <a:xfrm>
              <a:off x="11810400" y="0"/>
              <a:ext cx="0" cy="685800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24" hidden="1">
              <a:extLst>
                <a:ext uri="{FF2B5EF4-FFF2-40B4-BE49-F238E27FC236}">
                  <a16:creationId xmlns:a16="http://schemas.microsoft.com/office/drawing/2014/main" id="{2C3AA70A-D64C-4A62-BD60-33A72E348F86}"/>
                </a:ext>
              </a:extLst>
            </p:cNvPr>
            <p:cNvCxnSpPr>
              <a:cxnSpLocks/>
            </p:cNvCxnSpPr>
            <p:nvPr/>
          </p:nvCxnSpPr>
          <p:spPr>
            <a:xfrm>
              <a:off x="0" y="262505"/>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33" hidden="1">
              <a:extLst>
                <a:ext uri="{FF2B5EF4-FFF2-40B4-BE49-F238E27FC236}">
                  <a16:creationId xmlns:a16="http://schemas.microsoft.com/office/drawing/2014/main" id="{EC713A24-F136-485A-957C-9A9B40817822}"/>
                </a:ext>
              </a:extLst>
            </p:cNvPr>
            <p:cNvCxnSpPr>
              <a:cxnSpLocks/>
            </p:cNvCxnSpPr>
            <p:nvPr/>
          </p:nvCxnSpPr>
          <p:spPr>
            <a:xfrm>
              <a:off x="0" y="176192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24" hidden="1">
              <a:extLst>
                <a:ext uri="{FF2B5EF4-FFF2-40B4-BE49-F238E27FC236}">
                  <a16:creationId xmlns:a16="http://schemas.microsoft.com/office/drawing/2014/main" id="{ED16691E-ED6C-444D-9F8D-9EA93C9D47C2}"/>
                </a:ext>
              </a:extLst>
            </p:cNvPr>
            <p:cNvCxnSpPr>
              <a:cxnSpLocks/>
            </p:cNvCxnSpPr>
            <p:nvPr/>
          </p:nvCxnSpPr>
          <p:spPr>
            <a:xfrm>
              <a:off x="0" y="1269238"/>
              <a:ext cx="12192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0" name="Text Placeholder 19">
            <a:extLst>
              <a:ext uri="{FF2B5EF4-FFF2-40B4-BE49-F238E27FC236}">
                <a16:creationId xmlns:a16="http://schemas.microsoft.com/office/drawing/2014/main" id="{9F9869AF-B0F6-4E89-B216-4EC18C7334C2}"/>
              </a:ext>
            </a:extLst>
          </p:cNvPr>
          <p:cNvSpPr>
            <a:spLocks noGrp="1"/>
          </p:cNvSpPr>
          <p:nvPr>
            <p:ph type="body" idx="1"/>
          </p:nvPr>
        </p:nvSpPr>
        <p:spPr>
          <a:xfrm>
            <a:off x="381600" y="1270033"/>
            <a:ext cx="11428800" cy="854080"/>
          </a:xfrm>
          <a:prstGeom prst="rect">
            <a:avLst/>
          </a:prstGeom>
        </p:spPr>
        <p:txBody>
          <a:bodyPr vert="horz"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p:txBody>
      </p:sp>
      <p:pic>
        <p:nvPicPr>
          <p:cNvPr id="90" name="5d8d361f-22c4-4b42-8dc9-17fbf8f083ac">
            <a:extLst>
              <a:ext uri="{FF2B5EF4-FFF2-40B4-BE49-F238E27FC236}">
                <a16:creationId xmlns:a16="http://schemas.microsoft.com/office/drawing/2014/main" id="{E9D29B1E-5FF4-47E0-A51F-BE599AEC8ABE}"/>
              </a:ext>
            </a:extLst>
          </p:cNvPr>
          <p:cNvPicPr>
            <a:picLocks noChangeAspect="1"/>
          </p:cNvPicPr>
          <p:nvPr/>
        </p:nvPicPr>
        <p:blipFill>
          <a:blip r:embed="rId52" cstate="screen">
            <a:extLst>
              <a:ext uri="{28A0092B-C50C-407E-A947-70E740481C1C}">
                <a14:useLocalDpi xmlns:a14="http://schemas.microsoft.com/office/drawing/2010/main"/>
              </a:ext>
              <a:ext uri="{96DAC541-7B7A-43D3-8B79-37D633B846F1}">
                <asvg:svgBlip xmlns:asvg="http://schemas.microsoft.com/office/drawing/2016/SVG/main" r:embed="rId53"/>
              </a:ext>
            </a:extLst>
          </a:blip>
          <a:stretch>
            <a:fillRect/>
          </a:stretch>
        </p:blipFill>
        <p:spPr>
          <a:xfrm>
            <a:off x="10303669" y="463173"/>
            <a:ext cx="1520032" cy="205004"/>
          </a:xfrm>
          <a:prstGeom prst="rect">
            <a:avLst/>
          </a:prstGeom>
        </p:spPr>
      </p:pic>
      <p:sp>
        <p:nvSpPr>
          <p:cNvPr id="4" name="TextBox 3">
            <a:extLst>
              <a:ext uri="{FF2B5EF4-FFF2-40B4-BE49-F238E27FC236}">
                <a16:creationId xmlns:a16="http://schemas.microsoft.com/office/drawing/2014/main" id="{CCBFCC18-C20E-4DA9-AA12-37C7045ECA95}"/>
              </a:ext>
            </a:extLst>
          </p:cNvPr>
          <p:cNvSpPr txBox="1"/>
          <p:nvPr userDrawn="1"/>
        </p:nvSpPr>
        <p:spPr>
          <a:xfrm>
            <a:off x="0" y="-172292"/>
            <a:ext cx="676467" cy="123111"/>
          </a:xfrm>
          <a:prstGeom prst="rect">
            <a:avLst/>
          </a:prstGeom>
          <a:noFill/>
        </p:spPr>
        <p:txBody>
          <a:bodyPr wrap="none" lIns="0" tIns="0" rIns="0" bIns="0" rtlCol="0">
            <a:spAutoFit/>
          </a:bodyPr>
          <a:lstStyle/>
          <a:p>
            <a:pPr marL="0" indent="0" algn="l">
              <a:spcBef>
                <a:spcPts val="600"/>
              </a:spcBef>
              <a:buFont typeface="Wingdings" panose="05000000000000000000" pitchFamily="2" charset="2"/>
              <a:buNone/>
            </a:pPr>
            <a:r>
              <a:rPr lang="en-GB" sz="800" noProof="1"/>
              <a:t>Aurora_2021.1</a:t>
            </a:r>
          </a:p>
        </p:txBody>
      </p:sp>
    </p:spTree>
    <p:extLst>
      <p:ext uri="{BB962C8B-B14F-4D97-AF65-F5344CB8AC3E}">
        <p14:creationId xmlns:p14="http://schemas.microsoft.com/office/powerpoint/2010/main" val="326330737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 id="2147483789" r:id="rId32"/>
    <p:sldLayoutId id="2147483790" r:id="rId33"/>
    <p:sldLayoutId id="2147483791" r:id="rId34"/>
    <p:sldLayoutId id="2147483792" r:id="rId35"/>
    <p:sldLayoutId id="2147483793" r:id="rId36"/>
    <p:sldLayoutId id="2147483794" r:id="rId37"/>
    <p:sldLayoutId id="2147483795" r:id="rId38"/>
    <p:sldLayoutId id="2147483796" r:id="rId39"/>
    <p:sldLayoutId id="2147483797" r:id="rId40"/>
    <p:sldLayoutId id="2147483798" r:id="rId41"/>
    <p:sldLayoutId id="2147483799" r:id="rId42"/>
    <p:sldLayoutId id="2147483800" r:id="rId43"/>
    <p:sldLayoutId id="2147483801" r:id="rId44"/>
    <p:sldLayoutId id="2147483802" r:id="rId45"/>
    <p:sldLayoutId id="2147483803" r:id="rId46"/>
  </p:sldLayoutIdLst>
  <p:hf sldNum="0" hdr="0" ftr="0" dt="0"/>
  <p:txStyles>
    <p:titleStyle>
      <a:lvl1pPr algn="l" defTabSz="685783" rtl="0" eaLnBrk="1" latinLnBrk="0" hangingPunct="1">
        <a:lnSpc>
          <a:spcPct val="90000"/>
        </a:lnSpc>
        <a:spcBef>
          <a:spcPct val="0"/>
        </a:spcBef>
        <a:buNone/>
        <a:defRPr lang="en-GB" sz="2200" b="1" kern="1200" dirty="0">
          <a:solidFill>
            <a:schemeClr val="tx2"/>
          </a:solidFill>
          <a:latin typeface="Lato" panose="020F0502020204030203" pitchFamily="34" charset="0"/>
          <a:ea typeface="Lato" panose="020F0502020204030203" pitchFamily="34" charset="0"/>
          <a:cs typeface="Lato" panose="020F0502020204030203" pitchFamily="34" charset="0"/>
          <a:sym typeface="Lato" panose="020F0502020204030203" pitchFamily="34" charset="0"/>
        </a:defRPr>
      </a:lvl1pPr>
    </p:titleStyle>
    <p:bodyStyle>
      <a:lvl1pPr marL="0" indent="0" algn="l" defTabSz="685783" rtl="0" eaLnBrk="1" latinLnBrk="0" hangingPunct="1">
        <a:lnSpc>
          <a:spcPct val="100000"/>
        </a:lnSpc>
        <a:spcBef>
          <a:spcPts val="750"/>
        </a:spcBef>
        <a:buFont typeface="Wingdings" panose="05000000000000000000" pitchFamily="2" charset="2"/>
        <a:buNone/>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1pPr>
      <a:lvl2pPr marL="180975" indent="-180975" algn="l" defTabSz="685783" rtl="0" eaLnBrk="1" latinLnBrk="0" hangingPunct="1">
        <a:lnSpc>
          <a:spcPct val="100000"/>
        </a:lnSpc>
        <a:spcBef>
          <a:spcPts val="600"/>
        </a:spcBef>
        <a:buClr>
          <a:schemeClr val="tx1"/>
        </a:buClr>
        <a:buFont typeface="Wingdings" panose="05000000000000000000" pitchFamily="2"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2pPr>
      <a:lvl3pPr marL="358775" indent="-177800" algn="l" defTabSz="685783" rtl="0" eaLnBrk="1" latinLnBrk="0" hangingPunct="1">
        <a:lnSpc>
          <a:spcPct val="100000"/>
        </a:lnSpc>
        <a:spcBef>
          <a:spcPts val="300"/>
        </a:spcBef>
        <a:buClr>
          <a:schemeClr val="tx1"/>
        </a:buClr>
        <a:buFont typeface="Symbol" panose="05050102010706020507" pitchFamily="18" charset="2"/>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3pPr>
      <a:lvl4pPr marL="539750" indent="-180975" algn="l" defTabSz="685783" rtl="0" eaLnBrk="1" latinLnBrk="0" hangingPunct="1">
        <a:lnSpc>
          <a:spcPct val="100000"/>
        </a:lnSpc>
        <a:spcBef>
          <a:spcPts val="0"/>
        </a:spcBef>
        <a:buClr>
          <a:schemeClr val="tx1"/>
        </a:buClr>
        <a:buSzPct val="100000"/>
        <a:buFont typeface="Lato" panose="020F0502020204030203" pitchFamily="34" charset="0"/>
        <a:buChar char="–"/>
        <a:defRPr sz="1200" kern="1200">
          <a:solidFill>
            <a:schemeClr val="tx1"/>
          </a:solidFill>
          <a:latin typeface="+mn-lt"/>
          <a:ea typeface="Lato" panose="020F0502020204030203" pitchFamily="34" charset="0"/>
          <a:cs typeface="Lato" panose="020F0502020204030203" pitchFamily="34" charset="0"/>
          <a:sym typeface="Lato" panose="020F0502020204030203" pitchFamily="34" charset="0"/>
        </a:defRPr>
      </a:lvl4pPr>
      <a:lvl5pPr marL="717550" indent="-177800" algn="l" defTabSz="685783" rtl="0" eaLnBrk="1" latinLnBrk="0" hangingPunct="1">
        <a:lnSpc>
          <a:spcPct val="90000"/>
        </a:lnSpc>
        <a:spcBef>
          <a:spcPts val="0"/>
        </a:spcBef>
        <a:buFontTx/>
        <a:buChar char="-"/>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240">
          <p15:clr>
            <a:srgbClr val="F26B43"/>
          </p15:clr>
        </p15:guide>
        <p15:guide id="3" orient="horz" pos="799">
          <p15:clr>
            <a:srgbClr val="F26B43"/>
          </p15:clr>
        </p15:guide>
        <p15:guide id="4" pos="7448">
          <p15:clr>
            <a:srgbClr val="F26B43"/>
          </p15:clr>
        </p15:guide>
        <p15:guide id="5" orient="horz" pos="1071">
          <p15:clr>
            <a:srgbClr val="F26B43"/>
          </p15:clr>
        </p15:guide>
        <p15:guide id="6" pos="3624">
          <p15:clr>
            <a:srgbClr val="F26B43"/>
          </p15:clr>
        </p15:guide>
        <p15:guide id="7" pos="4056">
          <p15:clr>
            <a:srgbClr val="F26B43"/>
          </p15:clr>
        </p15:guide>
        <p15:guide id="8" orient="horz" pos="2500">
          <p15:clr>
            <a:srgbClr val="F26B43"/>
          </p15:clr>
        </p15:guide>
        <p15:guide id="9" orient="horz" pos="2115">
          <p15:clr>
            <a:srgbClr val="F26B43"/>
          </p15:clr>
        </p15:guide>
        <p15:guide id="10" orient="horz" pos="406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572BF18-B61C-40CD-9EE5-318189D6C6A1}"/>
              </a:ext>
            </a:extLst>
          </p:cNvPr>
          <p:cNvSpPr>
            <a:spLocks noGrp="1"/>
          </p:cNvSpPr>
          <p:nvPr>
            <p:ph type="title"/>
          </p:nvPr>
        </p:nvSpPr>
        <p:spPr>
          <a:xfrm>
            <a:off x="1095356" y="123751"/>
            <a:ext cx="10404000" cy="1069095"/>
          </a:xfrm>
          <a:prstGeom prst="rect">
            <a:avLst/>
          </a:prstGeom>
        </p:spPr>
        <p:txBody>
          <a:bodyPr vert="horz" lIns="0" tIns="0" rIns="0" bIns="0" rtlCol="0" anchor="ctr"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352AF00-9A51-41C8-9E50-388B45C40471}"/>
              </a:ext>
            </a:extLst>
          </p:cNvPr>
          <p:cNvSpPr>
            <a:spLocks noGrp="1"/>
          </p:cNvSpPr>
          <p:nvPr>
            <p:ph type="body" idx="1"/>
          </p:nvPr>
        </p:nvSpPr>
        <p:spPr>
          <a:xfrm>
            <a:off x="1095355" y="2747524"/>
            <a:ext cx="10404000" cy="3203575"/>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a:extLst>
              <a:ext uri="{FF2B5EF4-FFF2-40B4-BE49-F238E27FC236}">
                <a16:creationId xmlns:a16="http://schemas.microsoft.com/office/drawing/2014/main" id="{D875C333-5457-4C2F-BD67-E3338E192001}"/>
              </a:ext>
            </a:extLst>
          </p:cNvPr>
          <p:cNvSpPr>
            <a:spLocks noGrp="1"/>
          </p:cNvSpPr>
          <p:nvPr>
            <p:ph type="dt" sz="half" idx="2"/>
          </p:nvPr>
        </p:nvSpPr>
        <p:spPr>
          <a:xfrm>
            <a:off x="9304800" y="6581001"/>
            <a:ext cx="2743200" cy="169423"/>
          </a:xfrm>
          <a:prstGeom prst="rect">
            <a:avLst/>
          </a:prstGeom>
        </p:spPr>
        <p:txBody>
          <a:bodyPr vert="horz" lIns="0" tIns="0" rIns="0" bIns="0" rtlCol="0" anchor="t">
            <a:noAutofit/>
          </a:bodyPr>
          <a:lstStyle>
            <a:lvl1pPr algn="r">
              <a:defRPr sz="800">
                <a:solidFill>
                  <a:schemeClr val="bg2"/>
                </a:solidFill>
              </a:defRPr>
            </a:lvl1pPr>
          </a:lstStyle>
          <a:p>
            <a:fld id="{643DBF2F-2537-B349-ACE2-2A9D233866E7}" type="datetime1">
              <a:rPr lang="en-GB" smtClean="0"/>
              <a:t>12/03/2024</a:t>
            </a:fld>
            <a:endParaRPr lang="en-GB" dirty="0"/>
          </a:p>
        </p:txBody>
      </p:sp>
      <p:sp>
        <p:nvSpPr>
          <p:cNvPr id="5" name="Footer Placeholder 4">
            <a:extLst>
              <a:ext uri="{FF2B5EF4-FFF2-40B4-BE49-F238E27FC236}">
                <a16:creationId xmlns:a16="http://schemas.microsoft.com/office/drawing/2014/main" id="{1527F5E7-7F63-41CB-BF0F-50D2569D2926}"/>
              </a:ext>
            </a:extLst>
          </p:cNvPr>
          <p:cNvSpPr>
            <a:spLocks noGrp="1"/>
          </p:cNvSpPr>
          <p:nvPr>
            <p:ph type="ftr" sz="quarter" idx="3"/>
          </p:nvPr>
        </p:nvSpPr>
        <p:spPr>
          <a:xfrm>
            <a:off x="1101600" y="6591601"/>
            <a:ext cx="4114800" cy="158824"/>
          </a:xfrm>
          <a:prstGeom prst="rect">
            <a:avLst/>
          </a:prstGeom>
        </p:spPr>
        <p:txBody>
          <a:bodyPr vert="horz" lIns="0" tIns="0" rIns="0" bIns="0" rtlCol="0" anchor="t">
            <a:noAutofit/>
          </a:bodyPr>
          <a:lstStyle>
            <a:lvl1pPr algn="l">
              <a:defRPr sz="800">
                <a:solidFill>
                  <a:schemeClr val="bg2"/>
                </a:solidFill>
              </a:defRPr>
            </a:lvl1pPr>
          </a:lstStyle>
          <a:p>
            <a:endParaRPr lang="en-GB" dirty="0"/>
          </a:p>
        </p:txBody>
      </p:sp>
      <p:sp>
        <p:nvSpPr>
          <p:cNvPr id="6" name="Slide Number Placeholder 5">
            <a:extLst>
              <a:ext uri="{FF2B5EF4-FFF2-40B4-BE49-F238E27FC236}">
                <a16:creationId xmlns:a16="http://schemas.microsoft.com/office/drawing/2014/main" id="{B440637D-6A3C-459D-994F-CD7A54908786}"/>
              </a:ext>
            </a:extLst>
          </p:cNvPr>
          <p:cNvSpPr>
            <a:spLocks noGrp="1"/>
          </p:cNvSpPr>
          <p:nvPr>
            <p:ph type="sldNum" sz="quarter" idx="4"/>
          </p:nvPr>
        </p:nvSpPr>
        <p:spPr>
          <a:xfrm>
            <a:off x="144000" y="6581001"/>
            <a:ext cx="555247" cy="169423"/>
          </a:xfrm>
          <a:prstGeom prst="rect">
            <a:avLst/>
          </a:prstGeom>
        </p:spPr>
        <p:txBody>
          <a:bodyPr vert="horz" lIns="0" tIns="0" rIns="0" bIns="0" rtlCol="0" anchor="t">
            <a:noAutofit/>
          </a:bodyPr>
          <a:lstStyle>
            <a:lvl1pPr algn="l">
              <a:defRPr sz="800">
                <a:solidFill>
                  <a:schemeClr val="bg2"/>
                </a:solidFill>
              </a:defRPr>
            </a:lvl1pPr>
          </a:lstStyle>
          <a:p>
            <a:fld id="{54B1A0A0-1014-43B9-AECC-F6512CB9E662}" type="slidenum">
              <a:rPr lang="en-GB" smtClean="0"/>
              <a:pPr/>
              <a:t>‹#›</a:t>
            </a:fld>
            <a:endParaRPr lang="en-GB" dirty="0"/>
          </a:p>
        </p:txBody>
      </p:sp>
      <p:sp>
        <p:nvSpPr>
          <p:cNvPr id="7" name="MSIPCMContentMarking" descr="{&quot;HashCode&quot;:1724017558,&quot;Placement&quot;:&quot;Footer&quot;,&quot;Top&quot;:522.0343,&quot;Left&quot;:0.0,&quot;SlideWidth&quot;:960,&quot;SlideHeight&quot;:540}">
            <a:extLst>
              <a:ext uri="{FF2B5EF4-FFF2-40B4-BE49-F238E27FC236}">
                <a16:creationId xmlns:a16="http://schemas.microsoft.com/office/drawing/2014/main" id="{A417227D-7104-0621-E416-DA668CEB4807}"/>
              </a:ext>
            </a:extLst>
          </p:cNvPr>
          <p:cNvSpPr txBox="1"/>
          <p:nvPr userDrawn="1"/>
        </p:nvSpPr>
        <p:spPr>
          <a:xfrm>
            <a:off x="0" y="6682362"/>
            <a:ext cx="1254714" cy="123111"/>
          </a:xfrm>
          <a:prstGeom prst="rect">
            <a:avLst/>
          </a:prstGeom>
          <a:noFill/>
        </p:spPr>
        <p:txBody>
          <a:bodyPr vert="horz" wrap="square" lIns="0" tIns="0" rIns="0" bIns="0" rtlCol="0" anchor="ctr" anchorCtr="1">
            <a:spAutoFit/>
          </a:bodyPr>
          <a:lstStyle/>
          <a:p>
            <a:pPr algn="l">
              <a:spcBef>
                <a:spcPts val="0"/>
              </a:spcBef>
              <a:spcAft>
                <a:spcPts val="0"/>
              </a:spcAft>
            </a:pPr>
            <a:endParaRPr lang="en-GB" sz="800" dirty="0">
              <a:solidFill>
                <a:srgbClr val="0000FF"/>
              </a:solidFill>
              <a:latin typeface="Calibri" panose="020F0502020204030204" pitchFamily="34" charset="0"/>
            </a:endParaRPr>
          </a:p>
        </p:txBody>
      </p:sp>
      <p:sp>
        <p:nvSpPr>
          <p:cNvPr id="8" name="MSIPCMContentMarking" descr="{&quot;HashCode&quot;:1724017558,&quot;Placement&quot;:&quot;Footer&quot;,&quot;Top&quot;:522.0343,&quot;Left&quot;:0.0,&quot;SlideWidth&quot;:960,&quot;SlideHeight&quot;:540}">
            <a:extLst>
              <a:ext uri="{FF2B5EF4-FFF2-40B4-BE49-F238E27FC236}">
                <a16:creationId xmlns:a16="http://schemas.microsoft.com/office/drawing/2014/main" id="{8627F70F-E3CA-9C8F-F205-E74DF888631D}"/>
              </a:ext>
            </a:extLst>
          </p:cNvPr>
          <p:cNvSpPr txBox="1"/>
          <p:nvPr userDrawn="1"/>
        </p:nvSpPr>
        <p:spPr>
          <a:xfrm>
            <a:off x="0" y="6629836"/>
            <a:ext cx="1254714" cy="228163"/>
          </a:xfrm>
          <a:prstGeom prst="rect">
            <a:avLst/>
          </a:prstGeom>
          <a:noFill/>
        </p:spPr>
        <p:txBody>
          <a:bodyPr vert="horz" wrap="square" lIns="0" tIns="0" rIns="0" bIns="0" rtlCol="0" anchor="ctr" anchorCtr="1">
            <a:spAutoFit/>
          </a:bodyPr>
          <a:lstStyle/>
          <a:p>
            <a:pPr algn="l">
              <a:spcBef>
                <a:spcPts val="0"/>
              </a:spcBef>
              <a:spcAft>
                <a:spcPts val="0"/>
              </a:spcAft>
            </a:pPr>
            <a:r>
              <a:rPr lang="en-GB" sz="800" dirty="0">
                <a:solidFill>
                  <a:srgbClr val="0000FF"/>
                </a:solidFill>
                <a:latin typeface="Calibri" panose="020F0502020204030204" pitchFamily="34" charset="0"/>
              </a:rPr>
              <a:t>Aviva Investors: Internal</a:t>
            </a:r>
          </a:p>
        </p:txBody>
      </p:sp>
    </p:spTree>
    <p:extLst>
      <p:ext uri="{BB962C8B-B14F-4D97-AF65-F5344CB8AC3E}">
        <p14:creationId xmlns:p14="http://schemas.microsoft.com/office/powerpoint/2010/main" val="4081511782"/>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 id="2147483832" r:id="rId28"/>
  </p:sldLayoutIdLst>
  <p:transition>
    <p:fade/>
  </p:transition>
  <p:hf hdr="0" ftr="0" dt="0"/>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800"/>
        </a:spcAft>
        <a:buFont typeface="Arial" panose="020B0604020202020204" pitchFamily="34" charset="0"/>
        <a:buNone/>
        <a:defRPr sz="1600" kern="1200">
          <a:solidFill>
            <a:srgbClr val="666666"/>
          </a:solidFill>
          <a:latin typeface="+mn-lt"/>
          <a:ea typeface="+mn-ea"/>
          <a:cs typeface="+mn-cs"/>
        </a:defRPr>
      </a:lvl1pPr>
      <a:lvl2pPr marL="0" indent="0" algn="l" defTabSz="914400" rtl="0" eaLnBrk="1" latinLnBrk="0" hangingPunct="1">
        <a:lnSpc>
          <a:spcPct val="100000"/>
        </a:lnSpc>
        <a:spcBef>
          <a:spcPts val="0"/>
        </a:spcBef>
        <a:spcAft>
          <a:spcPts val="800"/>
        </a:spcAft>
        <a:buFont typeface="Arial" panose="020B0604020202020204" pitchFamily="34" charset="0"/>
        <a:buNone/>
        <a:defRPr sz="1600" b="1" kern="1200">
          <a:solidFill>
            <a:schemeClr val="tx2"/>
          </a:solidFill>
          <a:latin typeface="+mn-lt"/>
          <a:ea typeface="+mn-ea"/>
          <a:cs typeface="+mn-cs"/>
        </a:defRPr>
      </a:lvl2pPr>
      <a:lvl3pPr marL="252000" indent="-252000" algn="l" defTabSz="914400" rtl="0" eaLnBrk="1" latinLnBrk="0" hangingPunct="1">
        <a:lnSpc>
          <a:spcPct val="100000"/>
        </a:lnSpc>
        <a:spcBef>
          <a:spcPts val="0"/>
        </a:spcBef>
        <a:spcAft>
          <a:spcPts val="800"/>
        </a:spcAft>
        <a:buFont typeface="Arial" panose="020B0604020202020204" pitchFamily="34" charset="0"/>
        <a:buChar char="•"/>
        <a:defRPr sz="1600" kern="1200">
          <a:solidFill>
            <a:srgbClr val="666666"/>
          </a:solidFill>
          <a:latin typeface="+mn-lt"/>
          <a:ea typeface="+mn-ea"/>
          <a:cs typeface="+mn-cs"/>
        </a:defRPr>
      </a:lvl3pPr>
      <a:lvl4pPr marL="504000" indent="-252000" algn="l" defTabSz="914400" rtl="0" eaLnBrk="1" latinLnBrk="0" hangingPunct="1">
        <a:lnSpc>
          <a:spcPct val="100000"/>
        </a:lnSpc>
        <a:spcBef>
          <a:spcPts val="0"/>
        </a:spcBef>
        <a:spcAft>
          <a:spcPts val="800"/>
        </a:spcAft>
        <a:buFont typeface="Arial" panose="020B0604020202020204" pitchFamily="34" charset="0"/>
        <a:buChar char="•"/>
        <a:defRPr sz="1600" kern="1200">
          <a:solidFill>
            <a:srgbClr val="666666"/>
          </a:solidFill>
          <a:latin typeface="+mn-lt"/>
          <a:ea typeface="+mn-ea"/>
          <a:cs typeface="+mn-cs"/>
        </a:defRPr>
      </a:lvl4pPr>
      <a:lvl5pPr marL="756000" indent="-252000" algn="l" defTabSz="914400" rtl="0" eaLnBrk="1" latinLnBrk="0" hangingPunct="1">
        <a:lnSpc>
          <a:spcPct val="100000"/>
        </a:lnSpc>
        <a:spcBef>
          <a:spcPts val="0"/>
        </a:spcBef>
        <a:spcAft>
          <a:spcPts val="800"/>
        </a:spcAft>
        <a:buFont typeface="Arial" panose="020B0604020202020204" pitchFamily="34" charset="0"/>
        <a:buChar char="•"/>
        <a:defRPr sz="1600" kern="1200">
          <a:solidFill>
            <a:srgbClr val="66666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688">
          <p15:clr>
            <a:srgbClr val="F26B43"/>
          </p15:clr>
        </p15:guide>
        <p15:guide id="4" pos="7242">
          <p15:clr>
            <a:srgbClr val="F26B43"/>
          </p15:clr>
        </p15:guide>
        <p15:guide id="6" orient="horz" pos="4042">
          <p15:clr>
            <a:srgbClr val="F26B43"/>
          </p15:clr>
        </p15:guide>
        <p15:guide id="7" orient="horz" pos="102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09600" y="274320"/>
            <a:ext cx="10972800" cy="10972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12/24</a:t>
            </a:fld>
            <a:endParaRPr lang="en-US" dirty="0"/>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378071960"/>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itle Placeholder 13">
            <a:extLst>
              <a:ext uri="{FF2B5EF4-FFF2-40B4-BE49-F238E27FC236}">
                <a16:creationId xmlns:a16="http://schemas.microsoft.com/office/drawing/2014/main" id="{A9727837-E2B5-42C2-9C90-3857161612D6}"/>
              </a:ext>
            </a:extLst>
          </p:cNvPr>
          <p:cNvSpPr>
            <a:spLocks noGrp="1"/>
          </p:cNvSpPr>
          <p:nvPr>
            <p:ph type="title"/>
          </p:nvPr>
        </p:nvSpPr>
        <p:spPr>
          <a:xfrm>
            <a:off x="511176" y="1601788"/>
            <a:ext cx="2971800" cy="1325563"/>
          </a:xfrm>
          <a:prstGeom prst="rect">
            <a:avLst/>
          </a:prstGeom>
        </p:spPr>
        <p:txBody>
          <a:bodyPr vert="horz" lIns="0" tIns="0" rIns="0" bIns="0" rtlCol="0" anchor="t">
            <a:noAutofit/>
          </a:bodyPr>
          <a:lstStyle/>
          <a:p>
            <a:r>
              <a:rPr lang="en-US"/>
              <a:t>Click to edit Master title style</a:t>
            </a:r>
            <a:endParaRPr lang="en-GB"/>
          </a:p>
        </p:txBody>
      </p:sp>
      <p:sp>
        <p:nvSpPr>
          <p:cNvPr id="18" name="Text Placeholder 17">
            <a:extLst>
              <a:ext uri="{FF2B5EF4-FFF2-40B4-BE49-F238E27FC236}">
                <a16:creationId xmlns:a16="http://schemas.microsoft.com/office/drawing/2014/main" id="{2593EE55-8927-4040-B221-77F9998365E8}"/>
              </a:ext>
            </a:extLst>
          </p:cNvPr>
          <p:cNvSpPr>
            <a:spLocks noGrp="1"/>
          </p:cNvSpPr>
          <p:nvPr>
            <p:ph type="body" idx="1"/>
          </p:nvPr>
        </p:nvSpPr>
        <p:spPr>
          <a:xfrm>
            <a:off x="3584575" y="1601788"/>
            <a:ext cx="3484562" cy="4275137"/>
          </a:xfrm>
          <a:prstGeom prst="rect">
            <a:avLst/>
          </a:prstGeom>
        </p:spPr>
        <p:txBody>
          <a:bodyPr vert="horz" lIns="0" tIns="0" rIns="72000" bIns="0" rtlCol="0">
            <a:noAutofit/>
          </a:bodyPr>
          <a:lstStyle/>
          <a:p>
            <a:pPr lvl="0"/>
            <a:r>
              <a:rPr lang="en-US"/>
              <a:t>Heading 1</a:t>
            </a:r>
          </a:p>
          <a:p>
            <a:pPr lvl="1"/>
            <a:r>
              <a:rPr lang="en-US"/>
              <a:t>Heading 2</a:t>
            </a:r>
          </a:p>
          <a:p>
            <a:pPr lvl="2"/>
            <a:r>
              <a:rPr lang="en-US"/>
              <a:t>Body Copy</a:t>
            </a:r>
          </a:p>
          <a:p>
            <a:pPr lvl="3"/>
            <a:r>
              <a:rPr lang="en-US"/>
              <a:t>Body Bullet</a:t>
            </a:r>
          </a:p>
          <a:p>
            <a:pPr lvl="4"/>
            <a:r>
              <a:rPr lang="en-US"/>
              <a:t>Body Bullet 2</a:t>
            </a:r>
          </a:p>
          <a:p>
            <a:pPr lvl="5"/>
            <a:r>
              <a:rPr lang="en-US"/>
              <a:t>Heading 3</a:t>
            </a:r>
          </a:p>
          <a:p>
            <a:pPr lvl="6"/>
            <a:r>
              <a:rPr lang="en-US"/>
              <a:t>Caption</a:t>
            </a:r>
          </a:p>
          <a:p>
            <a:pPr lvl="7"/>
            <a:r>
              <a:rPr lang="en-US"/>
              <a:t>Caption copy</a:t>
            </a:r>
          </a:p>
          <a:p>
            <a:pPr lvl="8"/>
            <a:r>
              <a:rPr lang="en-US"/>
              <a:t>Caption bullet</a:t>
            </a:r>
            <a:endParaRPr lang="en-GB"/>
          </a:p>
        </p:txBody>
      </p:sp>
      <p:sp>
        <p:nvSpPr>
          <p:cNvPr id="6" name="TextBox 5">
            <a:extLst>
              <a:ext uri="{FF2B5EF4-FFF2-40B4-BE49-F238E27FC236}">
                <a16:creationId xmlns:a16="http://schemas.microsoft.com/office/drawing/2014/main" id="{F635EDC6-6E44-4FEB-ADC2-DD75954004E7}"/>
              </a:ext>
            </a:extLst>
          </p:cNvPr>
          <p:cNvSpPr txBox="1"/>
          <p:nvPr userDrawn="1"/>
        </p:nvSpPr>
        <p:spPr>
          <a:xfrm>
            <a:off x="518991" y="6479922"/>
            <a:ext cx="2448000" cy="123111"/>
          </a:xfrm>
          <a:prstGeom prst="rect">
            <a:avLst/>
          </a:prstGeom>
          <a:noFill/>
        </p:spPr>
        <p:txBody>
          <a:bodyPr wrap="square" lIns="0" tIns="0" rIns="0" bIns="0">
            <a:spAutoFit/>
          </a:bodyPr>
          <a:lstStyle/>
          <a:p>
            <a:pPr marL="0" algn="l" defTabSz="914400" rtl="0" eaLnBrk="1" latinLnBrk="0" hangingPunct="1"/>
            <a:r>
              <a:rPr lang="en-GB" sz="800" b="0" kern="1200" cap="none" baseline="0" dirty="0">
                <a:solidFill>
                  <a:schemeClr val="tx1"/>
                </a:solidFill>
                <a:latin typeface="+mn-lt"/>
                <a:ea typeface="+mn-ea"/>
                <a:cs typeface="+mn-cs"/>
              </a:rPr>
              <a:t>Confidential &amp; Proprietary | © 2024 CBRE, Inc.</a:t>
            </a:r>
          </a:p>
        </p:txBody>
      </p:sp>
      <p:sp>
        <p:nvSpPr>
          <p:cNvPr id="7" name="TextBox 6">
            <a:extLst>
              <a:ext uri="{FF2B5EF4-FFF2-40B4-BE49-F238E27FC236}">
                <a16:creationId xmlns:a16="http://schemas.microsoft.com/office/drawing/2014/main" id="{E58E7509-6F56-4384-96C9-87A36BA2BC0F}"/>
              </a:ext>
            </a:extLst>
          </p:cNvPr>
          <p:cNvSpPr txBox="1"/>
          <p:nvPr userDrawn="1"/>
        </p:nvSpPr>
        <p:spPr>
          <a:xfrm>
            <a:off x="9234403" y="6479922"/>
            <a:ext cx="2448000" cy="123111"/>
          </a:xfrm>
          <a:prstGeom prst="rect">
            <a:avLst/>
          </a:prstGeom>
          <a:noFill/>
        </p:spPr>
        <p:txBody>
          <a:bodyPr wrap="square" lIns="0" tIns="0" rIns="0" bIns="0">
            <a:spAutoFit/>
          </a:bodyPr>
          <a:lstStyle/>
          <a:p>
            <a:pPr marL="0" algn="r" defTabSz="914400" rtl="0" eaLnBrk="1" latinLnBrk="0" hangingPunct="1"/>
            <a:fld id="{1C89B4D1-E1CE-4E79-B913-C04DDECCCBCD}" type="slidenum">
              <a:rPr lang="en-GB" sz="800" b="0" kern="1200" cap="none" baseline="0" smtClean="0">
                <a:solidFill>
                  <a:schemeClr val="tx1"/>
                </a:solidFill>
                <a:latin typeface="+mn-lt"/>
                <a:ea typeface="+mn-ea"/>
                <a:cs typeface="+mn-cs"/>
              </a:rPr>
              <a:pPr marL="0" algn="r" defTabSz="914400" rtl="0" eaLnBrk="1" latinLnBrk="0" hangingPunct="1"/>
              <a:t>‹#›</a:t>
            </a:fld>
            <a:endParaRPr lang="en-GB" sz="800" b="0" kern="1200" cap="none" baseline="0" dirty="0">
              <a:solidFill>
                <a:schemeClr val="tx1"/>
              </a:solidFill>
              <a:latin typeface="+mn-lt"/>
              <a:ea typeface="+mn-ea"/>
              <a:cs typeface="+mn-cs"/>
            </a:endParaRPr>
          </a:p>
        </p:txBody>
      </p:sp>
    </p:spTree>
    <p:extLst>
      <p:ext uri="{BB962C8B-B14F-4D97-AF65-F5344CB8AC3E}">
        <p14:creationId xmlns:p14="http://schemas.microsoft.com/office/powerpoint/2010/main" val="2490558145"/>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 id="2147483864" r:id="rId25"/>
    <p:sldLayoutId id="2147483865" r:id="rId26"/>
    <p:sldLayoutId id="2147483866" r:id="rId27"/>
    <p:sldLayoutId id="2147483867" r:id="rId28"/>
    <p:sldLayoutId id="2147483868" r:id="rId29"/>
    <p:sldLayoutId id="2147483869" r:id="rId30"/>
    <p:sldLayoutId id="2147483870" r:id="rId31"/>
    <p:sldLayoutId id="2147483871" r:id="rId32"/>
    <p:sldLayoutId id="2147483872" r:id="rId33"/>
    <p:sldLayoutId id="2147483873" r:id="rId34"/>
    <p:sldLayoutId id="2147483874" r:id="rId35"/>
    <p:sldLayoutId id="2147483875" r:id="rId36"/>
    <p:sldLayoutId id="2147483876" r:id="rId37"/>
    <p:sldLayoutId id="2147483877" r:id="rId38"/>
    <p:sldLayoutId id="2147483878" r:id="rId39"/>
    <p:sldLayoutId id="2147483879" r:id="rId40"/>
    <p:sldLayoutId id="2147483880" r:id="rId41"/>
    <p:sldLayoutId id="2147483881" r:id="rId42"/>
    <p:sldLayoutId id="2147483882" r:id="rId43"/>
    <p:sldLayoutId id="2147483883" r:id="rId44"/>
    <p:sldLayoutId id="2147483884" r:id="rId45"/>
    <p:sldLayoutId id="2147483885" r:id="rId46"/>
    <p:sldLayoutId id="2147483886" r:id="rId47"/>
    <p:sldLayoutId id="2147483887" r:id="rId48"/>
    <p:sldLayoutId id="2147483888" r:id="rId49"/>
    <p:sldLayoutId id="2147483889" r:id="rId50"/>
    <p:sldLayoutId id="2147483890" r:id="rId51"/>
    <p:sldLayoutId id="2147483891" r:id="rId52"/>
    <p:sldLayoutId id="2147483892" r:id="rId53"/>
    <p:sldLayoutId id="2147483893" r:id="rId54"/>
    <p:sldLayoutId id="2147483894" r:id="rId55"/>
    <p:sldLayoutId id="2147483895" r:id="rId56"/>
    <p:sldLayoutId id="2147483896" r:id="rId57"/>
    <p:sldLayoutId id="2147483897" r:id="rId58"/>
    <p:sldLayoutId id="2147483898" r:id="rId59"/>
  </p:sldLayoutIdLst>
  <p:hf hdr="0" dt="0"/>
  <p:txStyles>
    <p:titleStyle>
      <a:lvl1pPr eaLnBrk="1" hangingPunct="1">
        <a:lnSpc>
          <a:spcPct val="90000"/>
        </a:lnSpc>
        <a:defRPr sz="2800">
          <a:solidFill>
            <a:schemeClr val="tx1"/>
          </a:solidFill>
          <a:latin typeface="+mj-lt"/>
          <a:ea typeface="+mj-ea"/>
          <a:cs typeface="+mj-cs"/>
        </a:defRPr>
      </a:lvl1pPr>
    </p:titleStyle>
    <p:bodyStyle>
      <a:lvl1pPr marL="0" eaLnBrk="1" hangingPunct="1">
        <a:spcBef>
          <a:spcPts val="1200"/>
        </a:spcBef>
        <a:spcAft>
          <a:spcPts val="1200"/>
        </a:spcAft>
        <a:defRPr sz="2200">
          <a:solidFill>
            <a:schemeClr val="tx1"/>
          </a:solidFill>
          <a:latin typeface="Calibre Light" panose="020B0303030202060203" pitchFamily="34" charset="0"/>
          <a:ea typeface="+mn-ea"/>
          <a:cs typeface="+mn-cs"/>
        </a:defRPr>
      </a:lvl1pPr>
      <a:lvl2pPr marL="0" indent="0" eaLnBrk="1" hangingPunct="1">
        <a:spcAft>
          <a:spcPts val="600"/>
        </a:spcAft>
        <a:defRPr sz="1600" b="0">
          <a:solidFill>
            <a:schemeClr val="tx1"/>
          </a:solidFill>
          <a:latin typeface="Calibre Semibold" panose="020B0703030202060203" pitchFamily="34" charset="0"/>
          <a:ea typeface="+mn-ea"/>
          <a:cs typeface="+mn-cs"/>
        </a:defRPr>
      </a:lvl2pPr>
      <a:lvl3pPr marL="0" indent="0" eaLnBrk="1" hangingPunct="1">
        <a:spcBef>
          <a:spcPts val="300"/>
        </a:spcBef>
        <a:spcAft>
          <a:spcPts val="300"/>
        </a:spcAft>
        <a:defRPr sz="1200">
          <a:solidFill>
            <a:schemeClr val="tx1"/>
          </a:solidFill>
          <a:latin typeface="+mn-lt"/>
          <a:ea typeface="+mn-ea"/>
          <a:cs typeface="+mn-cs"/>
        </a:defRPr>
      </a:lvl3pPr>
      <a:lvl4pPr marL="171450" indent="-171450" eaLnBrk="1" hangingPunct="1">
        <a:spcBef>
          <a:spcPts val="300"/>
        </a:spcBef>
        <a:spcAft>
          <a:spcPts val="300"/>
        </a:spcAft>
        <a:buClr>
          <a:schemeClr val="tx1"/>
        </a:buClr>
        <a:buFont typeface="SwissReSansOTLight" panose="04000400000000000000" pitchFamily="82" charset="0"/>
        <a:buChar char="–"/>
        <a:defRPr sz="1200">
          <a:solidFill>
            <a:schemeClr val="tx1"/>
          </a:solidFill>
          <a:latin typeface="+mn-lt"/>
          <a:ea typeface="+mn-ea"/>
          <a:cs typeface="+mn-cs"/>
        </a:defRPr>
      </a:lvl4pPr>
      <a:lvl5pPr marL="360363" indent="-184150" eaLnBrk="1" hangingPunct="1">
        <a:spcBef>
          <a:spcPts val="300"/>
        </a:spcBef>
        <a:spcAft>
          <a:spcPts val="300"/>
        </a:spcAft>
        <a:buFont typeface="SwissReSansOTLight" panose="04000400000000000000" pitchFamily="82" charset="0"/>
        <a:buChar char="–"/>
        <a:defRPr sz="1200" b="0">
          <a:solidFill>
            <a:schemeClr val="tx1"/>
          </a:solidFill>
          <a:latin typeface="+mn-lt"/>
          <a:ea typeface="+mn-ea"/>
          <a:cs typeface="+mn-cs"/>
        </a:defRPr>
      </a:lvl5pPr>
      <a:lvl6pPr marL="0" indent="0" eaLnBrk="1" hangingPunct="1">
        <a:spcBef>
          <a:spcPts val="600"/>
        </a:spcBef>
        <a:spcAft>
          <a:spcPts val="0"/>
        </a:spcAft>
        <a:buClr>
          <a:schemeClr val="tx1"/>
        </a:buClr>
        <a:buFontTx/>
        <a:buNone/>
        <a:defRPr sz="1200">
          <a:solidFill>
            <a:schemeClr val="tx1"/>
          </a:solidFill>
          <a:latin typeface="Calibre Semibold" panose="020B0703030202060203" pitchFamily="34" charset="0"/>
          <a:ea typeface="+mn-ea"/>
          <a:cs typeface="+mn-cs"/>
        </a:defRPr>
      </a:lvl6pPr>
      <a:lvl7pPr marL="0" indent="0" eaLnBrk="1" hangingPunct="1">
        <a:spcBef>
          <a:spcPts val="600"/>
        </a:spcBef>
        <a:defRPr sz="1050">
          <a:solidFill>
            <a:schemeClr val="tx1"/>
          </a:solidFill>
          <a:latin typeface="Calibre Semibold" panose="020B0703030202060203" pitchFamily="34" charset="0"/>
          <a:ea typeface="+mn-ea"/>
          <a:cs typeface="+mn-cs"/>
        </a:defRPr>
      </a:lvl7pPr>
      <a:lvl8pPr marL="0" indent="0" eaLnBrk="1" hangingPunct="1">
        <a:spcBef>
          <a:spcPts val="300"/>
        </a:spcBef>
        <a:spcAft>
          <a:spcPts val="300"/>
        </a:spcAft>
        <a:defRPr sz="1050" b="0">
          <a:solidFill>
            <a:schemeClr val="tx1"/>
          </a:solidFill>
          <a:latin typeface="+mn-lt"/>
          <a:ea typeface="+mn-ea"/>
          <a:cs typeface="+mn-cs"/>
        </a:defRPr>
      </a:lvl8pPr>
      <a:lvl9pPr marL="171450" indent="-171450" eaLnBrk="1" hangingPunct="1">
        <a:spcBef>
          <a:spcPts val="200"/>
        </a:spcBef>
        <a:spcAft>
          <a:spcPts val="200"/>
        </a:spcAft>
        <a:buFont typeface="SwissReSansOTLight" panose="04000400000000000000" pitchFamily="82" charset="0"/>
        <a:buChar char="–"/>
        <a:defRPr sz="1050">
          <a:solidFill>
            <a:schemeClr val="tx1"/>
          </a:solidFill>
          <a:latin typeface="+mn-lt"/>
          <a:ea typeface="+mn-ea"/>
          <a:cs typeface="+mn-cs"/>
        </a:defRPr>
      </a:lvl9pPr>
    </p:bodyStyle>
    <p:otherStyle>
      <a:lvl1pPr marL="0" eaLnBrk="1" hangingPunct="1">
        <a:defRPr>
          <a:latin typeface="+mn-lt"/>
          <a:ea typeface="+mn-ea"/>
          <a:cs typeface="+mn-cs"/>
        </a:defRPr>
      </a:lvl1pPr>
      <a:lvl2pPr marL="277246" eaLnBrk="1" hangingPunct="1">
        <a:defRPr>
          <a:latin typeface="+mn-lt"/>
          <a:ea typeface="+mn-ea"/>
          <a:cs typeface="+mn-cs"/>
        </a:defRPr>
      </a:lvl2pPr>
      <a:lvl3pPr marL="554492" eaLnBrk="1" hangingPunct="1">
        <a:defRPr>
          <a:latin typeface="+mn-lt"/>
          <a:ea typeface="+mn-ea"/>
          <a:cs typeface="+mn-cs"/>
        </a:defRPr>
      </a:lvl3pPr>
      <a:lvl4pPr marL="831738" eaLnBrk="1" hangingPunct="1">
        <a:defRPr>
          <a:latin typeface="+mn-lt"/>
          <a:ea typeface="+mn-ea"/>
          <a:cs typeface="+mn-cs"/>
        </a:defRPr>
      </a:lvl4pPr>
      <a:lvl5pPr marL="1108984" eaLnBrk="1" hangingPunct="1">
        <a:defRPr>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58">
          <p15:clr>
            <a:srgbClr val="F26B43"/>
          </p15:clr>
        </p15:guide>
        <p15:guide id="4" pos="322">
          <p15:clr>
            <a:srgbClr val="F26B43"/>
          </p15:clr>
        </p15:guide>
        <p15:guide id="5" pos="581">
          <p15:clr>
            <a:srgbClr val="F26B43"/>
          </p15:clr>
        </p15:guide>
        <p15:guide id="6" pos="645">
          <p15:clr>
            <a:srgbClr val="F26B43"/>
          </p15:clr>
        </p15:guide>
        <p15:guide id="7" pos="904">
          <p15:clr>
            <a:srgbClr val="F26B43"/>
          </p15:clr>
        </p15:guide>
        <p15:guide id="8" pos="968">
          <p15:clr>
            <a:srgbClr val="F26B43"/>
          </p15:clr>
        </p15:guide>
        <p15:guide id="10" pos="1290">
          <p15:clr>
            <a:srgbClr val="F26B43"/>
          </p15:clr>
        </p15:guide>
        <p15:guide id="11" pos="1549">
          <p15:clr>
            <a:srgbClr val="F26B43"/>
          </p15:clr>
        </p15:guide>
        <p15:guide id="12" pos="1613">
          <p15:clr>
            <a:srgbClr val="F26B43"/>
          </p15:clr>
        </p15:guide>
        <p15:guide id="13" pos="1867">
          <p15:clr>
            <a:srgbClr val="F26B43"/>
          </p15:clr>
        </p15:guide>
        <p15:guide id="14" pos="1936">
          <p15:clr>
            <a:srgbClr val="F26B43"/>
          </p15:clr>
        </p15:guide>
        <p15:guide id="15" pos="2194">
          <p15:clr>
            <a:srgbClr val="F26B43"/>
          </p15:clr>
        </p15:guide>
        <p15:guide id="16" pos="2258">
          <p15:clr>
            <a:srgbClr val="F26B43"/>
          </p15:clr>
        </p15:guide>
        <p15:guide id="17" pos="2517">
          <p15:clr>
            <a:srgbClr val="F26B43"/>
          </p15:clr>
        </p15:guide>
        <p15:guide id="18" pos="2581">
          <p15:clr>
            <a:srgbClr val="F26B43"/>
          </p15:clr>
        </p15:guide>
        <p15:guide id="19" pos="2840">
          <p15:clr>
            <a:srgbClr val="F26B43"/>
          </p15:clr>
        </p15:guide>
        <p15:guide id="20" pos="2904">
          <p15:clr>
            <a:srgbClr val="F26B43"/>
          </p15:clr>
        </p15:guide>
        <p15:guide id="21" pos="3162">
          <p15:clr>
            <a:srgbClr val="F26B43"/>
          </p15:clr>
        </p15:guide>
        <p15:guide id="22" pos="3228">
          <p15:clr>
            <a:srgbClr val="F26B43"/>
          </p15:clr>
        </p15:guide>
        <p15:guide id="23" pos="3485">
          <p15:clr>
            <a:srgbClr val="F26B43"/>
          </p15:clr>
        </p15:guide>
        <p15:guide id="24" pos="3549">
          <p15:clr>
            <a:srgbClr val="F26B43"/>
          </p15:clr>
        </p15:guide>
        <p15:guide id="25" pos="3808">
          <p15:clr>
            <a:srgbClr val="F26B43"/>
          </p15:clr>
        </p15:guide>
        <p15:guide id="26" pos="3872">
          <p15:clr>
            <a:srgbClr val="F26B43"/>
          </p15:clr>
        </p15:guide>
        <p15:guide id="27" pos="4135">
          <p15:clr>
            <a:srgbClr val="F26B43"/>
          </p15:clr>
        </p15:guide>
        <p15:guide id="28" pos="4194">
          <p15:clr>
            <a:srgbClr val="F26B43"/>
          </p15:clr>
        </p15:guide>
        <p15:guide id="29" pos="4453">
          <p15:clr>
            <a:srgbClr val="F26B43"/>
          </p15:clr>
        </p15:guide>
        <p15:guide id="30" pos="4517">
          <p15:clr>
            <a:srgbClr val="F26B43"/>
          </p15:clr>
        </p15:guide>
        <p15:guide id="31" pos="4776">
          <p15:clr>
            <a:srgbClr val="F26B43"/>
          </p15:clr>
        </p15:guide>
        <p15:guide id="32" pos="4840">
          <p15:clr>
            <a:srgbClr val="F26B43"/>
          </p15:clr>
        </p15:guide>
        <p15:guide id="33" pos="5098">
          <p15:clr>
            <a:srgbClr val="F26B43"/>
          </p15:clr>
        </p15:guide>
        <p15:guide id="34" pos="5162">
          <p15:clr>
            <a:srgbClr val="F26B43"/>
          </p15:clr>
        </p15:guide>
        <p15:guide id="35" pos="5421">
          <p15:clr>
            <a:srgbClr val="F26B43"/>
          </p15:clr>
        </p15:guide>
        <p15:guide id="36" pos="5485">
          <p15:clr>
            <a:srgbClr val="F26B43"/>
          </p15:clr>
        </p15:guide>
        <p15:guide id="37" pos="5744">
          <p15:clr>
            <a:srgbClr val="F26B43"/>
          </p15:clr>
        </p15:guide>
        <p15:guide id="38" pos="5808">
          <p15:clr>
            <a:srgbClr val="F26B43"/>
          </p15:clr>
        </p15:guide>
        <p15:guide id="39" pos="6066">
          <p15:clr>
            <a:srgbClr val="F26B43"/>
          </p15:clr>
        </p15:guide>
        <p15:guide id="40" pos="6130">
          <p15:clr>
            <a:srgbClr val="F26B43"/>
          </p15:clr>
        </p15:guide>
        <p15:guide id="41" pos="6389">
          <p15:clr>
            <a:srgbClr val="F26B43"/>
          </p15:clr>
        </p15:guide>
        <p15:guide id="42" pos="6453">
          <p15:clr>
            <a:srgbClr val="F26B43"/>
          </p15:clr>
        </p15:guide>
        <p15:guide id="43" pos="6712">
          <p15:clr>
            <a:srgbClr val="F26B43"/>
          </p15:clr>
        </p15:guide>
        <p15:guide id="44" pos="6776">
          <p15:clr>
            <a:srgbClr val="F26B43"/>
          </p15:clr>
        </p15:guide>
        <p15:guide id="45" pos="7034">
          <p15:clr>
            <a:srgbClr val="F26B43"/>
          </p15:clr>
        </p15:guide>
        <p15:guide id="46" pos="7098">
          <p15:clr>
            <a:srgbClr val="F26B43"/>
          </p15:clr>
        </p15:guide>
        <p15:guide id="47" pos="7357">
          <p15:clr>
            <a:srgbClr val="F26B43"/>
          </p15:clr>
        </p15:guide>
        <p15:guide id="48" pos="7421">
          <p15:clr>
            <a:srgbClr val="F26B43"/>
          </p15:clr>
        </p15:guide>
        <p15:guide id="49" orient="horz">
          <p15:clr>
            <a:srgbClr val="F26B43"/>
          </p15:clr>
        </p15:guide>
        <p15:guide id="50" orient="horz" pos="4320">
          <p15:clr>
            <a:srgbClr val="F26B43"/>
          </p15:clr>
        </p15:guide>
        <p15:guide id="51" orient="horz" pos="222">
          <p15:clr>
            <a:srgbClr val="F26B43"/>
          </p15:clr>
        </p15:guide>
        <p15:guide id="52" orient="horz" pos="552">
          <p15:clr>
            <a:srgbClr val="F26B43"/>
          </p15:clr>
        </p15:guide>
        <p15:guide id="53" orient="horz" pos="616">
          <p15:clr>
            <a:srgbClr val="F26B43"/>
          </p15:clr>
        </p15:guide>
        <p15:guide id="54" orient="horz" pos="945">
          <p15:clr>
            <a:srgbClr val="F26B43"/>
          </p15:clr>
        </p15:guide>
        <p15:guide id="55" orient="horz" pos="1009">
          <p15:clr>
            <a:srgbClr val="F26B43"/>
          </p15:clr>
        </p15:guide>
        <p15:guide id="56" orient="horz" pos="1339">
          <p15:clr>
            <a:srgbClr val="F26B43"/>
          </p15:clr>
        </p15:guide>
        <p15:guide id="57" orient="horz" pos="1403">
          <p15:clr>
            <a:srgbClr val="F26B43"/>
          </p15:clr>
        </p15:guide>
        <p15:guide id="58" orient="horz" pos="1733">
          <p15:clr>
            <a:srgbClr val="F26B43"/>
          </p15:clr>
        </p15:guide>
        <p15:guide id="59" orient="horz" pos="1797">
          <p15:clr>
            <a:srgbClr val="F26B43"/>
          </p15:clr>
        </p15:guide>
        <p15:guide id="60" orient="horz" pos="2127">
          <p15:clr>
            <a:srgbClr val="F26B43"/>
          </p15:clr>
        </p15:guide>
        <p15:guide id="61" orient="horz" pos="2191">
          <p15:clr>
            <a:srgbClr val="F26B43"/>
          </p15:clr>
        </p15:guide>
        <p15:guide id="62" orient="horz" pos="2520">
          <p15:clr>
            <a:srgbClr val="F26B43"/>
          </p15:clr>
        </p15:guide>
        <p15:guide id="63" orient="horz" pos="2584">
          <p15:clr>
            <a:srgbClr val="F26B43"/>
          </p15:clr>
        </p15:guide>
        <p15:guide id="64" orient="horz" pos="2914">
          <p15:clr>
            <a:srgbClr val="F26B43"/>
          </p15:clr>
        </p15:guide>
        <p15:guide id="65" orient="horz" pos="2978">
          <p15:clr>
            <a:srgbClr val="F26B43"/>
          </p15:clr>
        </p15:guide>
        <p15:guide id="66" orient="horz" pos="3308">
          <p15:clr>
            <a:srgbClr val="F26B43"/>
          </p15:clr>
        </p15:guide>
        <p15:guide id="67" orient="horz" pos="3372">
          <p15:clr>
            <a:srgbClr val="F26B43"/>
          </p15:clr>
        </p15:guide>
        <p15:guide id="68" orient="horz" pos="3702">
          <p15:clr>
            <a:srgbClr val="F26B43"/>
          </p15:clr>
        </p15:guide>
        <p15:guide id="69" orient="horz" pos="3766">
          <p15:clr>
            <a:srgbClr val="F26B43"/>
          </p15:clr>
        </p15:guide>
        <p15:guide id="70" orient="horz" pos="4096">
          <p15:clr>
            <a:srgbClr val="F26B43"/>
          </p15:clr>
        </p15:guide>
        <p15:guide id="90" pos="1232">
          <p15:clr>
            <a:srgbClr val="F26B43"/>
          </p15:clr>
        </p15:guide>
        <p15:guide id="91" orient="horz" pos="4020">
          <p15:clr>
            <a:srgbClr val="F26B43"/>
          </p15:clr>
        </p15:guide>
        <p15:guide id="92" orient="horz" pos="30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7.xml"/><Relationship Id="rId1" Type="http://schemas.openxmlformats.org/officeDocument/2006/relationships/slideLayout" Target="../slideLayouts/slideLayout153.xml"/><Relationship Id="rId4" Type="http://schemas.openxmlformats.org/officeDocument/2006/relationships/image" Target="../media/image12.emf"/></Relationships>
</file>

<file path=ppt/slides/_rels/slide11.xml.rels><?xml version="1.0" encoding="UTF-8" standalone="yes"?>
<Relationships xmlns="http://schemas.openxmlformats.org/package/2006/relationships"><Relationship Id="rId3" Type="http://schemas.openxmlformats.org/officeDocument/2006/relationships/hyperlink" Target="https://twitter.com/avivainvestors?lang=en" TargetMode="External"/><Relationship Id="rId2" Type="http://schemas.openxmlformats.org/officeDocument/2006/relationships/notesSlide" Target="../notesSlides/notesSlide8.xml"/><Relationship Id="rId1" Type="http://schemas.openxmlformats.org/officeDocument/2006/relationships/slideLayout" Target="../slideLayouts/slideLayout168.xml"/><Relationship Id="rId6" Type="http://schemas.openxmlformats.org/officeDocument/2006/relationships/image" Target="../media/image70.png"/><Relationship Id="rId5" Type="http://schemas.openxmlformats.org/officeDocument/2006/relationships/hyperlink" Target="https://www.linkedin.com/company/aviva-investors" TargetMode="External"/><Relationship Id="rId4" Type="http://schemas.openxmlformats.org/officeDocument/2006/relationships/image" Target="../media/image69.png"/></Relationships>
</file>

<file path=ppt/slides/_rels/slide12.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png"/><Relationship Id="rId1" Type="http://schemas.openxmlformats.org/officeDocument/2006/relationships/slideLayout" Target="../slideLayouts/slideLayout175.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4.xml.rels><?xml version="1.0" encoding="UTF-8" standalone="yes"?>
<Relationships xmlns="http://schemas.openxmlformats.org/package/2006/relationships"><Relationship Id="rId13" Type="http://schemas.openxmlformats.org/officeDocument/2006/relationships/image" Target="../media/image91.png"/><Relationship Id="rId18" Type="http://schemas.openxmlformats.org/officeDocument/2006/relationships/image" Target="../media/image96.png"/><Relationship Id="rId26" Type="http://schemas.openxmlformats.org/officeDocument/2006/relationships/image" Target="../media/image104.png"/><Relationship Id="rId21" Type="http://schemas.openxmlformats.org/officeDocument/2006/relationships/image" Target="../media/image99.png"/><Relationship Id="rId34" Type="http://schemas.openxmlformats.org/officeDocument/2006/relationships/image" Target="../media/image112.png"/><Relationship Id="rId7" Type="http://schemas.openxmlformats.org/officeDocument/2006/relationships/image" Target="../media/image85.png"/><Relationship Id="rId12" Type="http://schemas.openxmlformats.org/officeDocument/2006/relationships/image" Target="../media/image90.png"/><Relationship Id="rId17" Type="http://schemas.openxmlformats.org/officeDocument/2006/relationships/image" Target="../media/image95.png"/><Relationship Id="rId25" Type="http://schemas.openxmlformats.org/officeDocument/2006/relationships/image" Target="../media/image103.png"/><Relationship Id="rId33" Type="http://schemas.openxmlformats.org/officeDocument/2006/relationships/image" Target="../media/image111.png"/><Relationship Id="rId38" Type="http://schemas.openxmlformats.org/officeDocument/2006/relationships/image" Target="../media/image116.png"/><Relationship Id="rId2" Type="http://schemas.openxmlformats.org/officeDocument/2006/relationships/image" Target="../media/image80.png"/><Relationship Id="rId16" Type="http://schemas.openxmlformats.org/officeDocument/2006/relationships/image" Target="../media/image94.png"/><Relationship Id="rId20" Type="http://schemas.openxmlformats.org/officeDocument/2006/relationships/image" Target="../media/image98.png"/><Relationship Id="rId29" Type="http://schemas.openxmlformats.org/officeDocument/2006/relationships/image" Target="../media/image107.png"/><Relationship Id="rId1" Type="http://schemas.openxmlformats.org/officeDocument/2006/relationships/slideLayout" Target="../slideLayouts/slideLayout175.xml"/><Relationship Id="rId6" Type="http://schemas.openxmlformats.org/officeDocument/2006/relationships/image" Target="../media/image84.png"/><Relationship Id="rId11" Type="http://schemas.openxmlformats.org/officeDocument/2006/relationships/image" Target="../media/image89.png"/><Relationship Id="rId24" Type="http://schemas.openxmlformats.org/officeDocument/2006/relationships/image" Target="../media/image102.png"/><Relationship Id="rId32" Type="http://schemas.openxmlformats.org/officeDocument/2006/relationships/image" Target="../media/image110.png"/><Relationship Id="rId37" Type="http://schemas.openxmlformats.org/officeDocument/2006/relationships/image" Target="../media/image115.png"/><Relationship Id="rId5" Type="http://schemas.openxmlformats.org/officeDocument/2006/relationships/image" Target="../media/image83.png"/><Relationship Id="rId15" Type="http://schemas.openxmlformats.org/officeDocument/2006/relationships/image" Target="../media/image93.png"/><Relationship Id="rId23" Type="http://schemas.openxmlformats.org/officeDocument/2006/relationships/image" Target="../media/image101.png"/><Relationship Id="rId28" Type="http://schemas.openxmlformats.org/officeDocument/2006/relationships/image" Target="../media/image106.png"/><Relationship Id="rId36" Type="http://schemas.openxmlformats.org/officeDocument/2006/relationships/image" Target="../media/image114.png"/><Relationship Id="rId10" Type="http://schemas.openxmlformats.org/officeDocument/2006/relationships/image" Target="../media/image88.png"/><Relationship Id="rId19" Type="http://schemas.openxmlformats.org/officeDocument/2006/relationships/image" Target="../media/image97.png"/><Relationship Id="rId31" Type="http://schemas.openxmlformats.org/officeDocument/2006/relationships/image" Target="../media/image109.png"/><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image" Target="../media/image92.png"/><Relationship Id="rId22" Type="http://schemas.openxmlformats.org/officeDocument/2006/relationships/image" Target="../media/image100.png"/><Relationship Id="rId27" Type="http://schemas.openxmlformats.org/officeDocument/2006/relationships/image" Target="../media/image105.png"/><Relationship Id="rId30" Type="http://schemas.openxmlformats.org/officeDocument/2006/relationships/image" Target="../media/image108.png"/><Relationship Id="rId35" Type="http://schemas.openxmlformats.org/officeDocument/2006/relationships/image" Target="../media/image113.png"/><Relationship Id="rId8" Type="http://schemas.openxmlformats.org/officeDocument/2006/relationships/image" Target="../media/image86.png"/><Relationship Id="rId3" Type="http://schemas.openxmlformats.org/officeDocument/2006/relationships/image" Target="../media/image81.png"/></Relationships>
</file>

<file path=ppt/slides/_rels/slide15.xml.rels><?xml version="1.0" encoding="UTF-8" standalone="yes"?>
<Relationships xmlns="http://schemas.openxmlformats.org/package/2006/relationships"><Relationship Id="rId26" Type="http://schemas.openxmlformats.org/officeDocument/2006/relationships/image" Target="../media/image140.png"/><Relationship Id="rId21" Type="http://schemas.openxmlformats.org/officeDocument/2006/relationships/image" Target="../media/image135.png"/><Relationship Id="rId42" Type="http://schemas.openxmlformats.org/officeDocument/2006/relationships/image" Target="../media/image156.png"/><Relationship Id="rId47" Type="http://schemas.openxmlformats.org/officeDocument/2006/relationships/image" Target="../media/image161.png"/><Relationship Id="rId63" Type="http://schemas.openxmlformats.org/officeDocument/2006/relationships/image" Target="../media/image177.png"/><Relationship Id="rId68" Type="http://schemas.openxmlformats.org/officeDocument/2006/relationships/image" Target="../media/image182.png"/><Relationship Id="rId2" Type="http://schemas.openxmlformats.org/officeDocument/2006/relationships/image" Target="../media/image117.png"/><Relationship Id="rId16" Type="http://schemas.openxmlformats.org/officeDocument/2006/relationships/image" Target="../media/image130.png"/><Relationship Id="rId29" Type="http://schemas.openxmlformats.org/officeDocument/2006/relationships/image" Target="../media/image143.png"/><Relationship Id="rId11" Type="http://schemas.openxmlformats.org/officeDocument/2006/relationships/image" Target="../media/image125.png"/><Relationship Id="rId24" Type="http://schemas.openxmlformats.org/officeDocument/2006/relationships/image" Target="../media/image138.png"/><Relationship Id="rId32" Type="http://schemas.openxmlformats.org/officeDocument/2006/relationships/image" Target="../media/image146.png"/><Relationship Id="rId37" Type="http://schemas.openxmlformats.org/officeDocument/2006/relationships/image" Target="../media/image151.png"/><Relationship Id="rId40" Type="http://schemas.openxmlformats.org/officeDocument/2006/relationships/image" Target="../media/image154.png"/><Relationship Id="rId45" Type="http://schemas.openxmlformats.org/officeDocument/2006/relationships/image" Target="../media/image159.png"/><Relationship Id="rId53" Type="http://schemas.openxmlformats.org/officeDocument/2006/relationships/image" Target="../media/image167.png"/><Relationship Id="rId58" Type="http://schemas.openxmlformats.org/officeDocument/2006/relationships/image" Target="../media/image172.png"/><Relationship Id="rId66" Type="http://schemas.openxmlformats.org/officeDocument/2006/relationships/image" Target="../media/image180.png"/><Relationship Id="rId5" Type="http://schemas.openxmlformats.org/officeDocument/2006/relationships/image" Target="../media/image119.png"/><Relationship Id="rId61" Type="http://schemas.openxmlformats.org/officeDocument/2006/relationships/image" Target="../media/image175.png"/><Relationship Id="rId19" Type="http://schemas.openxmlformats.org/officeDocument/2006/relationships/image" Target="../media/image133.png"/><Relationship Id="rId14" Type="http://schemas.openxmlformats.org/officeDocument/2006/relationships/image" Target="../media/image128.png"/><Relationship Id="rId22" Type="http://schemas.openxmlformats.org/officeDocument/2006/relationships/image" Target="../media/image136.png"/><Relationship Id="rId27" Type="http://schemas.openxmlformats.org/officeDocument/2006/relationships/image" Target="../media/image141.png"/><Relationship Id="rId30" Type="http://schemas.openxmlformats.org/officeDocument/2006/relationships/image" Target="../media/image144.png"/><Relationship Id="rId35" Type="http://schemas.openxmlformats.org/officeDocument/2006/relationships/image" Target="../media/image149.png"/><Relationship Id="rId43" Type="http://schemas.openxmlformats.org/officeDocument/2006/relationships/image" Target="../media/image157.png"/><Relationship Id="rId48" Type="http://schemas.openxmlformats.org/officeDocument/2006/relationships/image" Target="../media/image162.png"/><Relationship Id="rId56" Type="http://schemas.openxmlformats.org/officeDocument/2006/relationships/image" Target="../media/image170.png"/><Relationship Id="rId64" Type="http://schemas.openxmlformats.org/officeDocument/2006/relationships/image" Target="../media/image178.png"/><Relationship Id="rId69" Type="http://schemas.openxmlformats.org/officeDocument/2006/relationships/image" Target="../media/image183.png"/><Relationship Id="rId8" Type="http://schemas.openxmlformats.org/officeDocument/2006/relationships/image" Target="../media/image122.jpg"/><Relationship Id="rId51" Type="http://schemas.openxmlformats.org/officeDocument/2006/relationships/image" Target="../media/image165.png"/><Relationship Id="rId72" Type="http://schemas.openxmlformats.org/officeDocument/2006/relationships/image" Target="../media/image186.png"/><Relationship Id="rId3" Type="http://schemas.openxmlformats.org/officeDocument/2006/relationships/image" Target="../media/image89.png"/><Relationship Id="rId12" Type="http://schemas.openxmlformats.org/officeDocument/2006/relationships/image" Target="../media/image126.png"/><Relationship Id="rId17" Type="http://schemas.openxmlformats.org/officeDocument/2006/relationships/image" Target="../media/image131.png"/><Relationship Id="rId25" Type="http://schemas.openxmlformats.org/officeDocument/2006/relationships/image" Target="../media/image139.png"/><Relationship Id="rId33" Type="http://schemas.openxmlformats.org/officeDocument/2006/relationships/image" Target="../media/image147.png"/><Relationship Id="rId38" Type="http://schemas.openxmlformats.org/officeDocument/2006/relationships/image" Target="../media/image152.png"/><Relationship Id="rId46" Type="http://schemas.openxmlformats.org/officeDocument/2006/relationships/image" Target="../media/image160.png"/><Relationship Id="rId59" Type="http://schemas.openxmlformats.org/officeDocument/2006/relationships/image" Target="../media/image173.png"/><Relationship Id="rId67" Type="http://schemas.openxmlformats.org/officeDocument/2006/relationships/image" Target="../media/image181.png"/><Relationship Id="rId20" Type="http://schemas.openxmlformats.org/officeDocument/2006/relationships/image" Target="../media/image134.png"/><Relationship Id="rId41" Type="http://schemas.openxmlformats.org/officeDocument/2006/relationships/image" Target="../media/image155.png"/><Relationship Id="rId54" Type="http://schemas.openxmlformats.org/officeDocument/2006/relationships/image" Target="../media/image168.png"/><Relationship Id="rId62" Type="http://schemas.openxmlformats.org/officeDocument/2006/relationships/image" Target="../media/image176.png"/><Relationship Id="rId70" Type="http://schemas.openxmlformats.org/officeDocument/2006/relationships/image" Target="../media/image184.png"/><Relationship Id="rId1" Type="http://schemas.openxmlformats.org/officeDocument/2006/relationships/slideLayout" Target="../slideLayouts/slideLayout175.xml"/><Relationship Id="rId6" Type="http://schemas.openxmlformats.org/officeDocument/2006/relationships/image" Target="../media/image120.png"/><Relationship Id="rId15" Type="http://schemas.openxmlformats.org/officeDocument/2006/relationships/image" Target="../media/image129.png"/><Relationship Id="rId23" Type="http://schemas.openxmlformats.org/officeDocument/2006/relationships/image" Target="../media/image137.png"/><Relationship Id="rId28" Type="http://schemas.openxmlformats.org/officeDocument/2006/relationships/image" Target="../media/image142.png"/><Relationship Id="rId36" Type="http://schemas.openxmlformats.org/officeDocument/2006/relationships/image" Target="../media/image150.png"/><Relationship Id="rId49" Type="http://schemas.openxmlformats.org/officeDocument/2006/relationships/image" Target="../media/image163.png"/><Relationship Id="rId57" Type="http://schemas.openxmlformats.org/officeDocument/2006/relationships/image" Target="../media/image171.png"/><Relationship Id="rId10" Type="http://schemas.openxmlformats.org/officeDocument/2006/relationships/image" Target="../media/image124.png"/><Relationship Id="rId31" Type="http://schemas.openxmlformats.org/officeDocument/2006/relationships/image" Target="../media/image145.png"/><Relationship Id="rId44" Type="http://schemas.openxmlformats.org/officeDocument/2006/relationships/image" Target="../media/image158.png"/><Relationship Id="rId52" Type="http://schemas.openxmlformats.org/officeDocument/2006/relationships/image" Target="../media/image166.png"/><Relationship Id="rId60" Type="http://schemas.openxmlformats.org/officeDocument/2006/relationships/image" Target="../media/image174.png"/><Relationship Id="rId65" Type="http://schemas.openxmlformats.org/officeDocument/2006/relationships/image" Target="../media/image179.png"/><Relationship Id="rId73" Type="http://schemas.openxmlformats.org/officeDocument/2006/relationships/image" Target="../media/image187.jpg"/><Relationship Id="rId4" Type="http://schemas.openxmlformats.org/officeDocument/2006/relationships/image" Target="../media/image118.png"/><Relationship Id="rId9" Type="http://schemas.openxmlformats.org/officeDocument/2006/relationships/image" Target="../media/image123.png"/><Relationship Id="rId13" Type="http://schemas.openxmlformats.org/officeDocument/2006/relationships/image" Target="../media/image127.png"/><Relationship Id="rId18" Type="http://schemas.openxmlformats.org/officeDocument/2006/relationships/image" Target="../media/image132.png"/><Relationship Id="rId39" Type="http://schemas.openxmlformats.org/officeDocument/2006/relationships/image" Target="../media/image153.png"/><Relationship Id="rId34" Type="http://schemas.openxmlformats.org/officeDocument/2006/relationships/image" Target="../media/image148.png"/><Relationship Id="rId50" Type="http://schemas.openxmlformats.org/officeDocument/2006/relationships/image" Target="../media/image164.png"/><Relationship Id="rId55" Type="http://schemas.openxmlformats.org/officeDocument/2006/relationships/image" Target="../media/image169.png"/><Relationship Id="rId7" Type="http://schemas.openxmlformats.org/officeDocument/2006/relationships/image" Target="../media/image121.png"/><Relationship Id="rId71" Type="http://schemas.openxmlformats.org/officeDocument/2006/relationships/image" Target="../media/image185.png"/></Relationships>
</file>

<file path=ppt/slides/_rels/slide16.xml.rels><?xml version="1.0" encoding="UTF-8" standalone="yes"?>
<Relationships xmlns="http://schemas.openxmlformats.org/package/2006/relationships"><Relationship Id="rId26" Type="http://schemas.openxmlformats.org/officeDocument/2006/relationships/image" Target="../media/image212.png"/><Relationship Id="rId21" Type="http://schemas.openxmlformats.org/officeDocument/2006/relationships/image" Target="../media/image207.png"/><Relationship Id="rId34" Type="http://schemas.openxmlformats.org/officeDocument/2006/relationships/image" Target="../media/image219.png"/><Relationship Id="rId42" Type="http://schemas.openxmlformats.org/officeDocument/2006/relationships/image" Target="../media/image227.png"/><Relationship Id="rId47" Type="http://schemas.openxmlformats.org/officeDocument/2006/relationships/image" Target="../media/image232.png"/><Relationship Id="rId50" Type="http://schemas.openxmlformats.org/officeDocument/2006/relationships/image" Target="../media/image235.png"/><Relationship Id="rId55" Type="http://schemas.openxmlformats.org/officeDocument/2006/relationships/image" Target="../media/image240.png"/><Relationship Id="rId63" Type="http://schemas.openxmlformats.org/officeDocument/2006/relationships/image" Target="../media/image248.png"/><Relationship Id="rId7" Type="http://schemas.openxmlformats.org/officeDocument/2006/relationships/image" Target="../media/image193.png"/><Relationship Id="rId2" Type="http://schemas.openxmlformats.org/officeDocument/2006/relationships/image" Target="../media/image188.png"/><Relationship Id="rId16" Type="http://schemas.openxmlformats.org/officeDocument/2006/relationships/image" Target="../media/image202.png"/><Relationship Id="rId29" Type="http://schemas.openxmlformats.org/officeDocument/2006/relationships/image" Target="../media/image119.png"/><Relationship Id="rId11" Type="http://schemas.openxmlformats.org/officeDocument/2006/relationships/image" Target="../media/image197.png"/><Relationship Id="rId24" Type="http://schemas.openxmlformats.org/officeDocument/2006/relationships/image" Target="../media/image210.png"/><Relationship Id="rId32" Type="http://schemas.openxmlformats.org/officeDocument/2006/relationships/image" Target="../media/image217.png"/><Relationship Id="rId37" Type="http://schemas.openxmlformats.org/officeDocument/2006/relationships/image" Target="../media/image222.png"/><Relationship Id="rId40" Type="http://schemas.openxmlformats.org/officeDocument/2006/relationships/image" Target="../media/image225.png"/><Relationship Id="rId45" Type="http://schemas.openxmlformats.org/officeDocument/2006/relationships/image" Target="../media/image230.png"/><Relationship Id="rId53" Type="http://schemas.openxmlformats.org/officeDocument/2006/relationships/image" Target="../media/image238.png"/><Relationship Id="rId58" Type="http://schemas.openxmlformats.org/officeDocument/2006/relationships/image" Target="../media/image243.png"/><Relationship Id="rId66" Type="http://schemas.openxmlformats.org/officeDocument/2006/relationships/image" Target="../media/image251.png"/><Relationship Id="rId5" Type="http://schemas.openxmlformats.org/officeDocument/2006/relationships/image" Target="../media/image191.png"/><Relationship Id="rId61" Type="http://schemas.openxmlformats.org/officeDocument/2006/relationships/image" Target="../media/image246.png"/><Relationship Id="rId19" Type="http://schemas.openxmlformats.org/officeDocument/2006/relationships/image" Target="../media/image205.png"/><Relationship Id="rId14" Type="http://schemas.openxmlformats.org/officeDocument/2006/relationships/image" Target="../media/image200.png"/><Relationship Id="rId22" Type="http://schemas.openxmlformats.org/officeDocument/2006/relationships/image" Target="../media/image208.png"/><Relationship Id="rId27" Type="http://schemas.openxmlformats.org/officeDocument/2006/relationships/image" Target="../media/image213.png"/><Relationship Id="rId30" Type="http://schemas.openxmlformats.org/officeDocument/2006/relationships/image" Target="../media/image215.png"/><Relationship Id="rId35" Type="http://schemas.openxmlformats.org/officeDocument/2006/relationships/image" Target="../media/image220.png"/><Relationship Id="rId43" Type="http://schemas.openxmlformats.org/officeDocument/2006/relationships/image" Target="../media/image228.png"/><Relationship Id="rId48" Type="http://schemas.openxmlformats.org/officeDocument/2006/relationships/image" Target="../media/image233.png"/><Relationship Id="rId56" Type="http://schemas.openxmlformats.org/officeDocument/2006/relationships/image" Target="../media/image241.png"/><Relationship Id="rId64" Type="http://schemas.openxmlformats.org/officeDocument/2006/relationships/image" Target="../media/image249.png"/><Relationship Id="rId8" Type="http://schemas.openxmlformats.org/officeDocument/2006/relationships/image" Target="../media/image194.png"/><Relationship Id="rId51" Type="http://schemas.openxmlformats.org/officeDocument/2006/relationships/image" Target="../media/image236.png"/><Relationship Id="rId3" Type="http://schemas.openxmlformats.org/officeDocument/2006/relationships/image" Target="../media/image189.png"/><Relationship Id="rId12" Type="http://schemas.openxmlformats.org/officeDocument/2006/relationships/image" Target="../media/image198.png"/><Relationship Id="rId17" Type="http://schemas.openxmlformats.org/officeDocument/2006/relationships/image" Target="../media/image203.png"/><Relationship Id="rId25" Type="http://schemas.openxmlformats.org/officeDocument/2006/relationships/image" Target="../media/image211.png"/><Relationship Id="rId33" Type="http://schemas.openxmlformats.org/officeDocument/2006/relationships/image" Target="../media/image218.png"/><Relationship Id="rId38" Type="http://schemas.openxmlformats.org/officeDocument/2006/relationships/image" Target="../media/image223.png"/><Relationship Id="rId46" Type="http://schemas.openxmlformats.org/officeDocument/2006/relationships/image" Target="../media/image231.png"/><Relationship Id="rId59" Type="http://schemas.openxmlformats.org/officeDocument/2006/relationships/image" Target="../media/image244.png"/><Relationship Id="rId67" Type="http://schemas.openxmlformats.org/officeDocument/2006/relationships/image" Target="../media/image252.png"/><Relationship Id="rId20" Type="http://schemas.openxmlformats.org/officeDocument/2006/relationships/image" Target="../media/image206.png"/><Relationship Id="rId41" Type="http://schemas.openxmlformats.org/officeDocument/2006/relationships/image" Target="../media/image226.png"/><Relationship Id="rId54" Type="http://schemas.openxmlformats.org/officeDocument/2006/relationships/image" Target="../media/image239.png"/><Relationship Id="rId62" Type="http://schemas.openxmlformats.org/officeDocument/2006/relationships/image" Target="../media/image247.png"/><Relationship Id="rId1" Type="http://schemas.openxmlformats.org/officeDocument/2006/relationships/slideLayout" Target="../slideLayouts/slideLayout175.xml"/><Relationship Id="rId6" Type="http://schemas.openxmlformats.org/officeDocument/2006/relationships/image" Target="../media/image192.png"/><Relationship Id="rId15" Type="http://schemas.openxmlformats.org/officeDocument/2006/relationships/image" Target="../media/image201.png"/><Relationship Id="rId23" Type="http://schemas.openxmlformats.org/officeDocument/2006/relationships/image" Target="../media/image209.png"/><Relationship Id="rId28" Type="http://schemas.openxmlformats.org/officeDocument/2006/relationships/image" Target="../media/image214.png"/><Relationship Id="rId36" Type="http://schemas.openxmlformats.org/officeDocument/2006/relationships/image" Target="../media/image221.png"/><Relationship Id="rId49" Type="http://schemas.openxmlformats.org/officeDocument/2006/relationships/image" Target="../media/image234.png"/><Relationship Id="rId57" Type="http://schemas.openxmlformats.org/officeDocument/2006/relationships/image" Target="../media/image242.png"/><Relationship Id="rId10" Type="http://schemas.openxmlformats.org/officeDocument/2006/relationships/image" Target="../media/image196.png"/><Relationship Id="rId31" Type="http://schemas.openxmlformats.org/officeDocument/2006/relationships/image" Target="../media/image216.png"/><Relationship Id="rId44" Type="http://schemas.openxmlformats.org/officeDocument/2006/relationships/image" Target="../media/image229.png"/><Relationship Id="rId52" Type="http://schemas.openxmlformats.org/officeDocument/2006/relationships/image" Target="../media/image237.png"/><Relationship Id="rId60" Type="http://schemas.openxmlformats.org/officeDocument/2006/relationships/image" Target="../media/image245.png"/><Relationship Id="rId65" Type="http://schemas.openxmlformats.org/officeDocument/2006/relationships/image" Target="../media/image250.png"/><Relationship Id="rId4" Type="http://schemas.openxmlformats.org/officeDocument/2006/relationships/image" Target="../media/image190.png"/><Relationship Id="rId9" Type="http://schemas.openxmlformats.org/officeDocument/2006/relationships/image" Target="../media/image195.png"/><Relationship Id="rId13" Type="http://schemas.openxmlformats.org/officeDocument/2006/relationships/image" Target="../media/image199.png"/><Relationship Id="rId18" Type="http://schemas.openxmlformats.org/officeDocument/2006/relationships/image" Target="../media/image204.png"/><Relationship Id="rId39" Type="http://schemas.openxmlformats.org/officeDocument/2006/relationships/image" Target="../media/image224.png"/></Relationships>
</file>

<file path=ppt/slides/_rels/slide17.xml.rels><?xml version="1.0" encoding="UTF-8" standalone="yes"?>
<Relationships xmlns="http://schemas.openxmlformats.org/package/2006/relationships"><Relationship Id="rId26" Type="http://schemas.openxmlformats.org/officeDocument/2006/relationships/image" Target="../media/image277.png"/><Relationship Id="rId21" Type="http://schemas.openxmlformats.org/officeDocument/2006/relationships/image" Target="../media/image272.png"/><Relationship Id="rId42" Type="http://schemas.openxmlformats.org/officeDocument/2006/relationships/image" Target="../media/image293.png"/><Relationship Id="rId47" Type="http://schemas.openxmlformats.org/officeDocument/2006/relationships/image" Target="../media/image298.png"/><Relationship Id="rId63" Type="http://schemas.openxmlformats.org/officeDocument/2006/relationships/image" Target="../media/image314.png"/><Relationship Id="rId68" Type="http://schemas.openxmlformats.org/officeDocument/2006/relationships/image" Target="../media/image319.png"/><Relationship Id="rId84" Type="http://schemas.openxmlformats.org/officeDocument/2006/relationships/image" Target="../media/image335.png"/><Relationship Id="rId89" Type="http://schemas.openxmlformats.org/officeDocument/2006/relationships/image" Target="../media/image340.png"/><Relationship Id="rId16" Type="http://schemas.openxmlformats.org/officeDocument/2006/relationships/image" Target="../media/image267.png"/><Relationship Id="rId107" Type="http://schemas.openxmlformats.org/officeDocument/2006/relationships/image" Target="../media/image358.png"/><Relationship Id="rId11" Type="http://schemas.openxmlformats.org/officeDocument/2006/relationships/image" Target="../media/image262.png"/><Relationship Id="rId32" Type="http://schemas.openxmlformats.org/officeDocument/2006/relationships/image" Target="../media/image283.png"/><Relationship Id="rId37" Type="http://schemas.openxmlformats.org/officeDocument/2006/relationships/image" Target="../media/image288.png"/><Relationship Id="rId53" Type="http://schemas.openxmlformats.org/officeDocument/2006/relationships/image" Target="../media/image304.png"/><Relationship Id="rId58" Type="http://schemas.openxmlformats.org/officeDocument/2006/relationships/image" Target="../media/image309.png"/><Relationship Id="rId74" Type="http://schemas.openxmlformats.org/officeDocument/2006/relationships/image" Target="../media/image325.png"/><Relationship Id="rId79" Type="http://schemas.openxmlformats.org/officeDocument/2006/relationships/image" Target="../media/image330.png"/><Relationship Id="rId102" Type="http://schemas.openxmlformats.org/officeDocument/2006/relationships/image" Target="../media/image353.png"/><Relationship Id="rId5" Type="http://schemas.openxmlformats.org/officeDocument/2006/relationships/image" Target="../media/image256.png"/><Relationship Id="rId90" Type="http://schemas.openxmlformats.org/officeDocument/2006/relationships/image" Target="../media/image341.png"/><Relationship Id="rId95" Type="http://schemas.openxmlformats.org/officeDocument/2006/relationships/image" Target="../media/image346.png"/><Relationship Id="rId22" Type="http://schemas.openxmlformats.org/officeDocument/2006/relationships/image" Target="../media/image273.png"/><Relationship Id="rId27" Type="http://schemas.openxmlformats.org/officeDocument/2006/relationships/image" Target="../media/image278.png"/><Relationship Id="rId43" Type="http://schemas.openxmlformats.org/officeDocument/2006/relationships/image" Target="../media/image294.jpeg"/><Relationship Id="rId48" Type="http://schemas.openxmlformats.org/officeDocument/2006/relationships/image" Target="../media/image299.png"/><Relationship Id="rId64" Type="http://schemas.openxmlformats.org/officeDocument/2006/relationships/image" Target="../media/image315.png"/><Relationship Id="rId69" Type="http://schemas.openxmlformats.org/officeDocument/2006/relationships/image" Target="../media/image320.png"/><Relationship Id="rId80" Type="http://schemas.openxmlformats.org/officeDocument/2006/relationships/image" Target="../media/image331.png"/><Relationship Id="rId85" Type="http://schemas.openxmlformats.org/officeDocument/2006/relationships/image" Target="../media/image336.png"/><Relationship Id="rId12" Type="http://schemas.openxmlformats.org/officeDocument/2006/relationships/image" Target="../media/image263.png"/><Relationship Id="rId17" Type="http://schemas.openxmlformats.org/officeDocument/2006/relationships/image" Target="../media/image268.png"/><Relationship Id="rId33" Type="http://schemas.openxmlformats.org/officeDocument/2006/relationships/image" Target="../media/image284.png"/><Relationship Id="rId38" Type="http://schemas.openxmlformats.org/officeDocument/2006/relationships/image" Target="../media/image289.png"/><Relationship Id="rId59" Type="http://schemas.openxmlformats.org/officeDocument/2006/relationships/image" Target="../media/image310.png"/><Relationship Id="rId103" Type="http://schemas.openxmlformats.org/officeDocument/2006/relationships/image" Target="../media/image354.png"/><Relationship Id="rId108" Type="http://schemas.openxmlformats.org/officeDocument/2006/relationships/image" Target="../media/image359.png"/><Relationship Id="rId54" Type="http://schemas.openxmlformats.org/officeDocument/2006/relationships/image" Target="../media/image305.png"/><Relationship Id="rId70" Type="http://schemas.openxmlformats.org/officeDocument/2006/relationships/image" Target="../media/image321.png"/><Relationship Id="rId75" Type="http://schemas.openxmlformats.org/officeDocument/2006/relationships/image" Target="../media/image326.jpeg"/><Relationship Id="rId91" Type="http://schemas.openxmlformats.org/officeDocument/2006/relationships/image" Target="../media/image342.png"/><Relationship Id="rId96" Type="http://schemas.openxmlformats.org/officeDocument/2006/relationships/image" Target="../media/image347.png"/><Relationship Id="rId1" Type="http://schemas.openxmlformats.org/officeDocument/2006/relationships/slideLayout" Target="../slideLayouts/slideLayout175.xml"/><Relationship Id="rId6" Type="http://schemas.openxmlformats.org/officeDocument/2006/relationships/image" Target="../media/image257.png"/><Relationship Id="rId15" Type="http://schemas.openxmlformats.org/officeDocument/2006/relationships/image" Target="../media/image266.png"/><Relationship Id="rId23" Type="http://schemas.openxmlformats.org/officeDocument/2006/relationships/image" Target="../media/image274.png"/><Relationship Id="rId28" Type="http://schemas.openxmlformats.org/officeDocument/2006/relationships/image" Target="../media/image279.png"/><Relationship Id="rId36" Type="http://schemas.openxmlformats.org/officeDocument/2006/relationships/image" Target="../media/image287.png"/><Relationship Id="rId49" Type="http://schemas.openxmlformats.org/officeDocument/2006/relationships/image" Target="../media/image300.png"/><Relationship Id="rId57" Type="http://schemas.openxmlformats.org/officeDocument/2006/relationships/image" Target="../media/image308.png"/><Relationship Id="rId106" Type="http://schemas.openxmlformats.org/officeDocument/2006/relationships/image" Target="../media/image357.png"/><Relationship Id="rId10" Type="http://schemas.openxmlformats.org/officeDocument/2006/relationships/image" Target="../media/image261.png"/><Relationship Id="rId31" Type="http://schemas.openxmlformats.org/officeDocument/2006/relationships/image" Target="../media/image282.png"/><Relationship Id="rId44" Type="http://schemas.openxmlformats.org/officeDocument/2006/relationships/image" Target="../media/image295.png"/><Relationship Id="rId52" Type="http://schemas.openxmlformats.org/officeDocument/2006/relationships/image" Target="../media/image303.png"/><Relationship Id="rId60" Type="http://schemas.openxmlformats.org/officeDocument/2006/relationships/image" Target="../media/image311.png"/><Relationship Id="rId65" Type="http://schemas.openxmlformats.org/officeDocument/2006/relationships/image" Target="../media/image316.png"/><Relationship Id="rId73" Type="http://schemas.openxmlformats.org/officeDocument/2006/relationships/image" Target="../media/image324.png"/><Relationship Id="rId78" Type="http://schemas.openxmlformats.org/officeDocument/2006/relationships/image" Target="../media/image329.png"/><Relationship Id="rId81" Type="http://schemas.openxmlformats.org/officeDocument/2006/relationships/image" Target="../media/image332.png"/><Relationship Id="rId86" Type="http://schemas.openxmlformats.org/officeDocument/2006/relationships/image" Target="../media/image337.png"/><Relationship Id="rId94" Type="http://schemas.openxmlformats.org/officeDocument/2006/relationships/image" Target="../media/image345.png"/><Relationship Id="rId99" Type="http://schemas.openxmlformats.org/officeDocument/2006/relationships/image" Target="../media/image350.png"/><Relationship Id="rId101" Type="http://schemas.openxmlformats.org/officeDocument/2006/relationships/image" Target="../media/image352.png"/><Relationship Id="rId4" Type="http://schemas.openxmlformats.org/officeDocument/2006/relationships/image" Target="../media/image255.png"/><Relationship Id="rId9" Type="http://schemas.openxmlformats.org/officeDocument/2006/relationships/image" Target="../media/image260.png"/><Relationship Id="rId13" Type="http://schemas.openxmlformats.org/officeDocument/2006/relationships/image" Target="../media/image264.png"/><Relationship Id="rId18" Type="http://schemas.openxmlformats.org/officeDocument/2006/relationships/image" Target="../media/image269.png"/><Relationship Id="rId39" Type="http://schemas.openxmlformats.org/officeDocument/2006/relationships/image" Target="../media/image290.png"/><Relationship Id="rId109" Type="http://schemas.openxmlformats.org/officeDocument/2006/relationships/image" Target="../media/image360.png"/><Relationship Id="rId34" Type="http://schemas.openxmlformats.org/officeDocument/2006/relationships/image" Target="../media/image285.png"/><Relationship Id="rId50" Type="http://schemas.openxmlformats.org/officeDocument/2006/relationships/image" Target="../media/image301.png"/><Relationship Id="rId55" Type="http://schemas.openxmlformats.org/officeDocument/2006/relationships/image" Target="../media/image306.png"/><Relationship Id="rId76" Type="http://schemas.openxmlformats.org/officeDocument/2006/relationships/image" Target="../media/image327.png"/><Relationship Id="rId97" Type="http://schemas.openxmlformats.org/officeDocument/2006/relationships/image" Target="../media/image348.png"/><Relationship Id="rId104" Type="http://schemas.openxmlformats.org/officeDocument/2006/relationships/image" Target="../media/image355.png"/><Relationship Id="rId7" Type="http://schemas.openxmlformats.org/officeDocument/2006/relationships/image" Target="../media/image258.png"/><Relationship Id="rId71" Type="http://schemas.openxmlformats.org/officeDocument/2006/relationships/image" Target="../media/image322.png"/><Relationship Id="rId92" Type="http://schemas.openxmlformats.org/officeDocument/2006/relationships/image" Target="../media/image343.png"/><Relationship Id="rId2" Type="http://schemas.openxmlformats.org/officeDocument/2006/relationships/image" Target="../media/image253.png"/><Relationship Id="rId29" Type="http://schemas.openxmlformats.org/officeDocument/2006/relationships/image" Target="../media/image280.png"/><Relationship Id="rId24" Type="http://schemas.openxmlformats.org/officeDocument/2006/relationships/image" Target="../media/image275.png"/><Relationship Id="rId40" Type="http://schemas.openxmlformats.org/officeDocument/2006/relationships/image" Target="../media/image291.png"/><Relationship Id="rId45" Type="http://schemas.openxmlformats.org/officeDocument/2006/relationships/image" Target="../media/image296.png"/><Relationship Id="rId66" Type="http://schemas.openxmlformats.org/officeDocument/2006/relationships/image" Target="../media/image317.png"/><Relationship Id="rId87" Type="http://schemas.openxmlformats.org/officeDocument/2006/relationships/image" Target="../media/image338.png"/><Relationship Id="rId61" Type="http://schemas.openxmlformats.org/officeDocument/2006/relationships/image" Target="../media/image312.png"/><Relationship Id="rId82" Type="http://schemas.openxmlformats.org/officeDocument/2006/relationships/image" Target="../media/image333.png"/><Relationship Id="rId19" Type="http://schemas.openxmlformats.org/officeDocument/2006/relationships/image" Target="../media/image270.png"/><Relationship Id="rId14" Type="http://schemas.openxmlformats.org/officeDocument/2006/relationships/image" Target="../media/image265.png"/><Relationship Id="rId30" Type="http://schemas.openxmlformats.org/officeDocument/2006/relationships/image" Target="../media/image281.png"/><Relationship Id="rId35" Type="http://schemas.openxmlformats.org/officeDocument/2006/relationships/image" Target="../media/image286.png"/><Relationship Id="rId56" Type="http://schemas.openxmlformats.org/officeDocument/2006/relationships/image" Target="../media/image307.png"/><Relationship Id="rId77" Type="http://schemas.openxmlformats.org/officeDocument/2006/relationships/image" Target="../media/image328.png"/><Relationship Id="rId100" Type="http://schemas.openxmlformats.org/officeDocument/2006/relationships/image" Target="../media/image351.png"/><Relationship Id="rId105" Type="http://schemas.openxmlformats.org/officeDocument/2006/relationships/image" Target="../media/image356.png"/><Relationship Id="rId8" Type="http://schemas.openxmlformats.org/officeDocument/2006/relationships/image" Target="../media/image259.png"/><Relationship Id="rId51" Type="http://schemas.openxmlformats.org/officeDocument/2006/relationships/image" Target="../media/image302.png"/><Relationship Id="rId72" Type="http://schemas.openxmlformats.org/officeDocument/2006/relationships/image" Target="../media/image323.png"/><Relationship Id="rId93" Type="http://schemas.openxmlformats.org/officeDocument/2006/relationships/image" Target="../media/image344.png"/><Relationship Id="rId98" Type="http://schemas.openxmlformats.org/officeDocument/2006/relationships/image" Target="../media/image349.png"/><Relationship Id="rId3" Type="http://schemas.openxmlformats.org/officeDocument/2006/relationships/image" Target="../media/image254.png"/><Relationship Id="rId25" Type="http://schemas.openxmlformats.org/officeDocument/2006/relationships/image" Target="../media/image276.png"/><Relationship Id="rId46" Type="http://schemas.openxmlformats.org/officeDocument/2006/relationships/image" Target="../media/image297.png"/><Relationship Id="rId67" Type="http://schemas.openxmlformats.org/officeDocument/2006/relationships/image" Target="../media/image318.png"/><Relationship Id="rId20" Type="http://schemas.openxmlformats.org/officeDocument/2006/relationships/image" Target="../media/image271.png"/><Relationship Id="rId41" Type="http://schemas.openxmlformats.org/officeDocument/2006/relationships/image" Target="../media/image292.png"/><Relationship Id="rId62" Type="http://schemas.openxmlformats.org/officeDocument/2006/relationships/image" Target="../media/image313.png"/><Relationship Id="rId83" Type="http://schemas.openxmlformats.org/officeDocument/2006/relationships/image" Target="../media/image334.png"/><Relationship Id="rId88" Type="http://schemas.openxmlformats.org/officeDocument/2006/relationships/image" Target="../media/image339.png"/></Relationships>
</file>

<file path=ppt/slides/_rels/slide18.xml.rels><?xml version="1.0" encoding="UTF-8" standalone="yes"?>
<Relationships xmlns="http://schemas.openxmlformats.org/package/2006/relationships"><Relationship Id="rId26" Type="http://schemas.openxmlformats.org/officeDocument/2006/relationships/image" Target="../media/image384.png"/><Relationship Id="rId21" Type="http://schemas.openxmlformats.org/officeDocument/2006/relationships/image" Target="../media/image379.png"/><Relationship Id="rId42" Type="http://schemas.openxmlformats.org/officeDocument/2006/relationships/image" Target="../media/image400.png"/><Relationship Id="rId47" Type="http://schemas.openxmlformats.org/officeDocument/2006/relationships/image" Target="../media/image405.png"/><Relationship Id="rId63" Type="http://schemas.openxmlformats.org/officeDocument/2006/relationships/image" Target="../media/image421.png"/><Relationship Id="rId68" Type="http://schemas.openxmlformats.org/officeDocument/2006/relationships/image" Target="../media/image426.png"/><Relationship Id="rId84" Type="http://schemas.openxmlformats.org/officeDocument/2006/relationships/image" Target="../media/image442.png"/><Relationship Id="rId16" Type="http://schemas.openxmlformats.org/officeDocument/2006/relationships/image" Target="../media/image375.png"/><Relationship Id="rId11" Type="http://schemas.openxmlformats.org/officeDocument/2006/relationships/image" Target="../media/image370.png"/><Relationship Id="rId32" Type="http://schemas.openxmlformats.org/officeDocument/2006/relationships/image" Target="../media/image390.png"/><Relationship Id="rId37" Type="http://schemas.openxmlformats.org/officeDocument/2006/relationships/image" Target="../media/image395.png"/><Relationship Id="rId53" Type="http://schemas.openxmlformats.org/officeDocument/2006/relationships/image" Target="../media/image411.png"/><Relationship Id="rId58" Type="http://schemas.openxmlformats.org/officeDocument/2006/relationships/image" Target="../media/image416.png"/><Relationship Id="rId74" Type="http://schemas.openxmlformats.org/officeDocument/2006/relationships/image" Target="../media/image432.png"/><Relationship Id="rId79" Type="http://schemas.openxmlformats.org/officeDocument/2006/relationships/image" Target="../media/image437.png"/><Relationship Id="rId5" Type="http://schemas.openxmlformats.org/officeDocument/2006/relationships/image" Target="../media/image364.png"/><Relationship Id="rId19" Type="http://schemas.openxmlformats.org/officeDocument/2006/relationships/image" Target="../media/image378.png"/><Relationship Id="rId14" Type="http://schemas.openxmlformats.org/officeDocument/2006/relationships/image" Target="../media/image373.png"/><Relationship Id="rId22" Type="http://schemas.openxmlformats.org/officeDocument/2006/relationships/image" Target="../media/image380.png"/><Relationship Id="rId27" Type="http://schemas.openxmlformats.org/officeDocument/2006/relationships/image" Target="../media/image385.png"/><Relationship Id="rId30" Type="http://schemas.openxmlformats.org/officeDocument/2006/relationships/image" Target="../media/image388.png"/><Relationship Id="rId35" Type="http://schemas.openxmlformats.org/officeDocument/2006/relationships/image" Target="../media/image393.png"/><Relationship Id="rId43" Type="http://schemas.openxmlformats.org/officeDocument/2006/relationships/image" Target="../media/image401.png"/><Relationship Id="rId48" Type="http://schemas.openxmlformats.org/officeDocument/2006/relationships/image" Target="../media/image406.png"/><Relationship Id="rId56" Type="http://schemas.openxmlformats.org/officeDocument/2006/relationships/image" Target="../media/image414.png"/><Relationship Id="rId64" Type="http://schemas.openxmlformats.org/officeDocument/2006/relationships/image" Target="../media/image422.png"/><Relationship Id="rId69" Type="http://schemas.openxmlformats.org/officeDocument/2006/relationships/image" Target="../media/image427.png"/><Relationship Id="rId77" Type="http://schemas.openxmlformats.org/officeDocument/2006/relationships/image" Target="../media/image435.png"/><Relationship Id="rId8" Type="http://schemas.openxmlformats.org/officeDocument/2006/relationships/image" Target="../media/image367.png"/><Relationship Id="rId51" Type="http://schemas.openxmlformats.org/officeDocument/2006/relationships/image" Target="../media/image409.png"/><Relationship Id="rId72" Type="http://schemas.openxmlformats.org/officeDocument/2006/relationships/image" Target="../media/image430.png"/><Relationship Id="rId80" Type="http://schemas.openxmlformats.org/officeDocument/2006/relationships/image" Target="../media/image438.png"/><Relationship Id="rId85" Type="http://schemas.openxmlformats.org/officeDocument/2006/relationships/image" Target="../media/image443.png"/><Relationship Id="rId3" Type="http://schemas.openxmlformats.org/officeDocument/2006/relationships/image" Target="../media/image362.png"/><Relationship Id="rId12" Type="http://schemas.openxmlformats.org/officeDocument/2006/relationships/image" Target="../media/image371.png"/><Relationship Id="rId17" Type="http://schemas.openxmlformats.org/officeDocument/2006/relationships/image" Target="../media/image376.png"/><Relationship Id="rId25" Type="http://schemas.openxmlformats.org/officeDocument/2006/relationships/image" Target="../media/image383.png"/><Relationship Id="rId33" Type="http://schemas.openxmlformats.org/officeDocument/2006/relationships/image" Target="../media/image391.png"/><Relationship Id="rId38" Type="http://schemas.openxmlformats.org/officeDocument/2006/relationships/image" Target="../media/image396.png"/><Relationship Id="rId46" Type="http://schemas.openxmlformats.org/officeDocument/2006/relationships/image" Target="../media/image404.png"/><Relationship Id="rId59" Type="http://schemas.openxmlformats.org/officeDocument/2006/relationships/image" Target="../media/image417.png"/><Relationship Id="rId67" Type="http://schemas.openxmlformats.org/officeDocument/2006/relationships/image" Target="../media/image425.png"/><Relationship Id="rId20" Type="http://schemas.openxmlformats.org/officeDocument/2006/relationships/image" Target="../media/image89.png"/><Relationship Id="rId41" Type="http://schemas.openxmlformats.org/officeDocument/2006/relationships/image" Target="../media/image399.png"/><Relationship Id="rId54" Type="http://schemas.openxmlformats.org/officeDocument/2006/relationships/image" Target="../media/image412.png"/><Relationship Id="rId62" Type="http://schemas.openxmlformats.org/officeDocument/2006/relationships/image" Target="../media/image420.png"/><Relationship Id="rId70" Type="http://schemas.openxmlformats.org/officeDocument/2006/relationships/image" Target="../media/image428.png"/><Relationship Id="rId75" Type="http://schemas.openxmlformats.org/officeDocument/2006/relationships/image" Target="../media/image433.png"/><Relationship Id="rId83" Type="http://schemas.openxmlformats.org/officeDocument/2006/relationships/image" Target="../media/image441.png"/><Relationship Id="rId1" Type="http://schemas.openxmlformats.org/officeDocument/2006/relationships/slideLayout" Target="../slideLayouts/slideLayout175.xml"/><Relationship Id="rId6" Type="http://schemas.openxmlformats.org/officeDocument/2006/relationships/image" Target="../media/image365.png"/><Relationship Id="rId15" Type="http://schemas.openxmlformats.org/officeDocument/2006/relationships/image" Target="../media/image374.png"/><Relationship Id="rId23" Type="http://schemas.openxmlformats.org/officeDocument/2006/relationships/image" Target="../media/image381.png"/><Relationship Id="rId28" Type="http://schemas.openxmlformats.org/officeDocument/2006/relationships/image" Target="../media/image386.png"/><Relationship Id="rId36" Type="http://schemas.openxmlformats.org/officeDocument/2006/relationships/image" Target="../media/image394.png"/><Relationship Id="rId49" Type="http://schemas.openxmlformats.org/officeDocument/2006/relationships/image" Target="../media/image407.png"/><Relationship Id="rId57" Type="http://schemas.openxmlformats.org/officeDocument/2006/relationships/image" Target="../media/image415.png"/><Relationship Id="rId10" Type="http://schemas.openxmlformats.org/officeDocument/2006/relationships/image" Target="../media/image369.png"/><Relationship Id="rId31" Type="http://schemas.openxmlformats.org/officeDocument/2006/relationships/image" Target="../media/image389.png"/><Relationship Id="rId44" Type="http://schemas.openxmlformats.org/officeDocument/2006/relationships/image" Target="../media/image402.png"/><Relationship Id="rId52" Type="http://schemas.openxmlformats.org/officeDocument/2006/relationships/image" Target="../media/image410.png"/><Relationship Id="rId60" Type="http://schemas.openxmlformats.org/officeDocument/2006/relationships/image" Target="../media/image418.png"/><Relationship Id="rId65" Type="http://schemas.openxmlformats.org/officeDocument/2006/relationships/image" Target="../media/image423.png"/><Relationship Id="rId73" Type="http://schemas.openxmlformats.org/officeDocument/2006/relationships/image" Target="../media/image431.png"/><Relationship Id="rId78" Type="http://schemas.openxmlformats.org/officeDocument/2006/relationships/image" Target="../media/image436.png"/><Relationship Id="rId81" Type="http://schemas.openxmlformats.org/officeDocument/2006/relationships/image" Target="../media/image439.png"/><Relationship Id="rId86" Type="http://schemas.openxmlformats.org/officeDocument/2006/relationships/image" Target="../media/image444.png"/><Relationship Id="rId4" Type="http://schemas.openxmlformats.org/officeDocument/2006/relationships/image" Target="../media/image363.png"/><Relationship Id="rId9" Type="http://schemas.openxmlformats.org/officeDocument/2006/relationships/image" Target="../media/image368.png"/><Relationship Id="rId13" Type="http://schemas.openxmlformats.org/officeDocument/2006/relationships/image" Target="../media/image372.png"/><Relationship Id="rId18" Type="http://schemas.openxmlformats.org/officeDocument/2006/relationships/image" Target="../media/image377.png"/><Relationship Id="rId39" Type="http://schemas.openxmlformats.org/officeDocument/2006/relationships/image" Target="../media/image397.png"/><Relationship Id="rId34" Type="http://schemas.openxmlformats.org/officeDocument/2006/relationships/image" Target="../media/image392.png"/><Relationship Id="rId50" Type="http://schemas.openxmlformats.org/officeDocument/2006/relationships/image" Target="../media/image408.png"/><Relationship Id="rId55" Type="http://schemas.openxmlformats.org/officeDocument/2006/relationships/image" Target="../media/image413.png"/><Relationship Id="rId76" Type="http://schemas.openxmlformats.org/officeDocument/2006/relationships/image" Target="../media/image434.png"/><Relationship Id="rId7" Type="http://schemas.openxmlformats.org/officeDocument/2006/relationships/image" Target="../media/image366.png"/><Relationship Id="rId71" Type="http://schemas.openxmlformats.org/officeDocument/2006/relationships/image" Target="../media/image429.png"/><Relationship Id="rId2" Type="http://schemas.openxmlformats.org/officeDocument/2006/relationships/image" Target="../media/image361.png"/><Relationship Id="rId29" Type="http://schemas.openxmlformats.org/officeDocument/2006/relationships/image" Target="../media/image387.png"/><Relationship Id="rId24" Type="http://schemas.openxmlformats.org/officeDocument/2006/relationships/image" Target="../media/image382.png"/><Relationship Id="rId40" Type="http://schemas.openxmlformats.org/officeDocument/2006/relationships/image" Target="../media/image398.png"/><Relationship Id="rId45" Type="http://schemas.openxmlformats.org/officeDocument/2006/relationships/image" Target="../media/image403.png"/><Relationship Id="rId66" Type="http://schemas.openxmlformats.org/officeDocument/2006/relationships/image" Target="../media/image424.png"/><Relationship Id="rId87" Type="http://schemas.openxmlformats.org/officeDocument/2006/relationships/image" Target="../media/image445.jpg"/><Relationship Id="rId61" Type="http://schemas.openxmlformats.org/officeDocument/2006/relationships/image" Target="../media/image419.png"/><Relationship Id="rId82" Type="http://schemas.openxmlformats.org/officeDocument/2006/relationships/image" Target="../media/image440.png"/></Relationships>
</file>

<file path=ppt/slides/_rels/slide19.xml.rels><?xml version="1.0" encoding="UTF-8" standalone="yes"?>
<Relationships xmlns="http://schemas.openxmlformats.org/package/2006/relationships"><Relationship Id="rId26" Type="http://schemas.openxmlformats.org/officeDocument/2006/relationships/image" Target="../media/image469.png"/><Relationship Id="rId21" Type="http://schemas.openxmlformats.org/officeDocument/2006/relationships/image" Target="../media/image464.png"/><Relationship Id="rId34" Type="http://schemas.openxmlformats.org/officeDocument/2006/relationships/image" Target="../media/image477.png"/><Relationship Id="rId42" Type="http://schemas.openxmlformats.org/officeDocument/2006/relationships/image" Target="../media/image485.png"/><Relationship Id="rId47" Type="http://schemas.openxmlformats.org/officeDocument/2006/relationships/image" Target="../media/image490.png"/><Relationship Id="rId50" Type="http://schemas.openxmlformats.org/officeDocument/2006/relationships/image" Target="../media/image493.png"/><Relationship Id="rId55" Type="http://schemas.openxmlformats.org/officeDocument/2006/relationships/image" Target="../media/image498.png"/><Relationship Id="rId63" Type="http://schemas.openxmlformats.org/officeDocument/2006/relationships/image" Target="../media/image506.png"/><Relationship Id="rId7" Type="http://schemas.openxmlformats.org/officeDocument/2006/relationships/image" Target="../media/image121.png"/><Relationship Id="rId2" Type="http://schemas.openxmlformats.org/officeDocument/2006/relationships/image" Target="../media/image446.png"/><Relationship Id="rId16" Type="http://schemas.openxmlformats.org/officeDocument/2006/relationships/image" Target="../media/image459.png"/><Relationship Id="rId29" Type="http://schemas.openxmlformats.org/officeDocument/2006/relationships/image" Target="../media/image472.png"/><Relationship Id="rId11" Type="http://schemas.openxmlformats.org/officeDocument/2006/relationships/image" Target="../media/image454.png"/><Relationship Id="rId24" Type="http://schemas.openxmlformats.org/officeDocument/2006/relationships/image" Target="../media/image467.png"/><Relationship Id="rId32" Type="http://schemas.openxmlformats.org/officeDocument/2006/relationships/image" Target="../media/image475.png"/><Relationship Id="rId37" Type="http://schemas.openxmlformats.org/officeDocument/2006/relationships/image" Target="../media/image480.png"/><Relationship Id="rId40" Type="http://schemas.openxmlformats.org/officeDocument/2006/relationships/image" Target="../media/image483.png"/><Relationship Id="rId45" Type="http://schemas.openxmlformats.org/officeDocument/2006/relationships/image" Target="../media/image488.png"/><Relationship Id="rId53" Type="http://schemas.openxmlformats.org/officeDocument/2006/relationships/image" Target="../media/image496.png"/><Relationship Id="rId58" Type="http://schemas.openxmlformats.org/officeDocument/2006/relationships/image" Target="../media/image501.png"/><Relationship Id="rId66" Type="http://schemas.openxmlformats.org/officeDocument/2006/relationships/image" Target="../media/image509.png"/><Relationship Id="rId5" Type="http://schemas.openxmlformats.org/officeDocument/2006/relationships/image" Target="../media/image449.png"/><Relationship Id="rId61" Type="http://schemas.openxmlformats.org/officeDocument/2006/relationships/image" Target="../media/image504.png"/><Relationship Id="rId19" Type="http://schemas.openxmlformats.org/officeDocument/2006/relationships/image" Target="../media/image462.png"/><Relationship Id="rId14" Type="http://schemas.openxmlformats.org/officeDocument/2006/relationships/image" Target="../media/image457.png"/><Relationship Id="rId22" Type="http://schemas.openxmlformats.org/officeDocument/2006/relationships/image" Target="../media/image465.png"/><Relationship Id="rId27" Type="http://schemas.openxmlformats.org/officeDocument/2006/relationships/image" Target="../media/image470.png"/><Relationship Id="rId30" Type="http://schemas.openxmlformats.org/officeDocument/2006/relationships/image" Target="../media/image473.png"/><Relationship Id="rId35" Type="http://schemas.openxmlformats.org/officeDocument/2006/relationships/image" Target="../media/image478.png"/><Relationship Id="rId43" Type="http://schemas.openxmlformats.org/officeDocument/2006/relationships/image" Target="../media/image486.png"/><Relationship Id="rId48" Type="http://schemas.openxmlformats.org/officeDocument/2006/relationships/image" Target="../media/image491.png"/><Relationship Id="rId56" Type="http://schemas.openxmlformats.org/officeDocument/2006/relationships/image" Target="../media/image499.png"/><Relationship Id="rId64" Type="http://schemas.openxmlformats.org/officeDocument/2006/relationships/image" Target="../media/image507.png"/><Relationship Id="rId8" Type="http://schemas.openxmlformats.org/officeDocument/2006/relationships/image" Target="../media/image451.png"/><Relationship Id="rId51" Type="http://schemas.openxmlformats.org/officeDocument/2006/relationships/image" Target="../media/image494.png"/><Relationship Id="rId3" Type="http://schemas.openxmlformats.org/officeDocument/2006/relationships/image" Target="../media/image447.png"/><Relationship Id="rId12" Type="http://schemas.openxmlformats.org/officeDocument/2006/relationships/image" Target="../media/image455.png"/><Relationship Id="rId17" Type="http://schemas.openxmlformats.org/officeDocument/2006/relationships/image" Target="../media/image460.png"/><Relationship Id="rId25" Type="http://schemas.openxmlformats.org/officeDocument/2006/relationships/image" Target="../media/image468.png"/><Relationship Id="rId33" Type="http://schemas.openxmlformats.org/officeDocument/2006/relationships/image" Target="../media/image476.png"/><Relationship Id="rId38" Type="http://schemas.openxmlformats.org/officeDocument/2006/relationships/image" Target="../media/image481.png"/><Relationship Id="rId46" Type="http://schemas.openxmlformats.org/officeDocument/2006/relationships/image" Target="../media/image489.png"/><Relationship Id="rId59" Type="http://schemas.openxmlformats.org/officeDocument/2006/relationships/image" Target="../media/image502.png"/><Relationship Id="rId67" Type="http://schemas.openxmlformats.org/officeDocument/2006/relationships/image" Target="../media/image510.png"/><Relationship Id="rId20" Type="http://schemas.openxmlformats.org/officeDocument/2006/relationships/image" Target="../media/image463.png"/><Relationship Id="rId41" Type="http://schemas.openxmlformats.org/officeDocument/2006/relationships/image" Target="../media/image484.png"/><Relationship Id="rId54" Type="http://schemas.openxmlformats.org/officeDocument/2006/relationships/image" Target="../media/image497.png"/><Relationship Id="rId62" Type="http://schemas.openxmlformats.org/officeDocument/2006/relationships/image" Target="../media/image505.png"/><Relationship Id="rId1" Type="http://schemas.openxmlformats.org/officeDocument/2006/relationships/slideLayout" Target="../slideLayouts/slideLayout175.xml"/><Relationship Id="rId6" Type="http://schemas.openxmlformats.org/officeDocument/2006/relationships/image" Target="../media/image450.png"/><Relationship Id="rId15" Type="http://schemas.openxmlformats.org/officeDocument/2006/relationships/image" Target="../media/image458.png"/><Relationship Id="rId23" Type="http://schemas.openxmlformats.org/officeDocument/2006/relationships/image" Target="../media/image466.png"/><Relationship Id="rId28" Type="http://schemas.openxmlformats.org/officeDocument/2006/relationships/image" Target="../media/image471.png"/><Relationship Id="rId36" Type="http://schemas.openxmlformats.org/officeDocument/2006/relationships/image" Target="../media/image479.png"/><Relationship Id="rId49" Type="http://schemas.openxmlformats.org/officeDocument/2006/relationships/image" Target="../media/image492.png"/><Relationship Id="rId57" Type="http://schemas.openxmlformats.org/officeDocument/2006/relationships/image" Target="../media/image500.png"/><Relationship Id="rId10" Type="http://schemas.openxmlformats.org/officeDocument/2006/relationships/image" Target="../media/image453.png"/><Relationship Id="rId31" Type="http://schemas.openxmlformats.org/officeDocument/2006/relationships/image" Target="../media/image474.png"/><Relationship Id="rId44" Type="http://schemas.openxmlformats.org/officeDocument/2006/relationships/image" Target="../media/image487.png"/><Relationship Id="rId52" Type="http://schemas.openxmlformats.org/officeDocument/2006/relationships/image" Target="../media/image495.png"/><Relationship Id="rId60" Type="http://schemas.openxmlformats.org/officeDocument/2006/relationships/image" Target="../media/image503.png"/><Relationship Id="rId65" Type="http://schemas.openxmlformats.org/officeDocument/2006/relationships/image" Target="../media/image508.png"/><Relationship Id="rId4" Type="http://schemas.openxmlformats.org/officeDocument/2006/relationships/image" Target="../media/image448.png"/><Relationship Id="rId9" Type="http://schemas.openxmlformats.org/officeDocument/2006/relationships/image" Target="../media/image452.png"/><Relationship Id="rId13" Type="http://schemas.openxmlformats.org/officeDocument/2006/relationships/image" Target="../media/image456.png"/><Relationship Id="rId18" Type="http://schemas.openxmlformats.org/officeDocument/2006/relationships/image" Target="../media/image461.png"/><Relationship Id="rId39" Type="http://schemas.openxmlformats.org/officeDocument/2006/relationships/image" Target="../media/image482.png"/></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6" Type="http://schemas.openxmlformats.org/officeDocument/2006/relationships/image" Target="../media/image532.png"/><Relationship Id="rId21" Type="http://schemas.openxmlformats.org/officeDocument/2006/relationships/image" Target="../media/image527.png"/><Relationship Id="rId42" Type="http://schemas.openxmlformats.org/officeDocument/2006/relationships/image" Target="../media/image548.png"/><Relationship Id="rId47" Type="http://schemas.openxmlformats.org/officeDocument/2006/relationships/image" Target="../media/image553.png"/><Relationship Id="rId63" Type="http://schemas.openxmlformats.org/officeDocument/2006/relationships/image" Target="../media/image569.png"/><Relationship Id="rId68" Type="http://schemas.openxmlformats.org/officeDocument/2006/relationships/image" Target="../media/image574.png"/><Relationship Id="rId7" Type="http://schemas.openxmlformats.org/officeDocument/2006/relationships/image" Target="../media/image516.png"/><Relationship Id="rId2" Type="http://schemas.openxmlformats.org/officeDocument/2006/relationships/image" Target="../media/image511.png"/><Relationship Id="rId16" Type="http://schemas.openxmlformats.org/officeDocument/2006/relationships/image" Target="../media/image523.png"/><Relationship Id="rId29" Type="http://schemas.openxmlformats.org/officeDocument/2006/relationships/image" Target="../media/image535.png"/><Relationship Id="rId11" Type="http://schemas.openxmlformats.org/officeDocument/2006/relationships/image" Target="../media/image519.png"/><Relationship Id="rId24" Type="http://schemas.openxmlformats.org/officeDocument/2006/relationships/image" Target="../media/image530.png"/><Relationship Id="rId32" Type="http://schemas.openxmlformats.org/officeDocument/2006/relationships/image" Target="../media/image538.png"/><Relationship Id="rId37" Type="http://schemas.openxmlformats.org/officeDocument/2006/relationships/image" Target="../media/image543.png"/><Relationship Id="rId40" Type="http://schemas.openxmlformats.org/officeDocument/2006/relationships/image" Target="../media/image546.png"/><Relationship Id="rId45" Type="http://schemas.openxmlformats.org/officeDocument/2006/relationships/image" Target="../media/image551.png"/><Relationship Id="rId53" Type="http://schemas.openxmlformats.org/officeDocument/2006/relationships/image" Target="../media/image559.png"/><Relationship Id="rId58" Type="http://schemas.openxmlformats.org/officeDocument/2006/relationships/image" Target="../media/image564.png"/><Relationship Id="rId66" Type="http://schemas.openxmlformats.org/officeDocument/2006/relationships/image" Target="../media/image572.png"/><Relationship Id="rId5" Type="http://schemas.openxmlformats.org/officeDocument/2006/relationships/image" Target="../media/image514.png"/><Relationship Id="rId61" Type="http://schemas.openxmlformats.org/officeDocument/2006/relationships/image" Target="../media/image567.png"/><Relationship Id="rId19" Type="http://schemas.openxmlformats.org/officeDocument/2006/relationships/image" Target="../media/image525.png"/><Relationship Id="rId14" Type="http://schemas.openxmlformats.org/officeDocument/2006/relationships/image" Target="../media/image261.png"/><Relationship Id="rId22" Type="http://schemas.openxmlformats.org/officeDocument/2006/relationships/image" Target="../media/image528.png"/><Relationship Id="rId27" Type="http://schemas.openxmlformats.org/officeDocument/2006/relationships/image" Target="../media/image533.png"/><Relationship Id="rId30" Type="http://schemas.openxmlformats.org/officeDocument/2006/relationships/image" Target="../media/image536.png"/><Relationship Id="rId35" Type="http://schemas.openxmlformats.org/officeDocument/2006/relationships/image" Target="../media/image541.png"/><Relationship Id="rId43" Type="http://schemas.openxmlformats.org/officeDocument/2006/relationships/image" Target="../media/image549.png"/><Relationship Id="rId48" Type="http://schemas.openxmlformats.org/officeDocument/2006/relationships/image" Target="../media/image554.png"/><Relationship Id="rId56" Type="http://schemas.openxmlformats.org/officeDocument/2006/relationships/image" Target="../media/image562.png"/><Relationship Id="rId64" Type="http://schemas.openxmlformats.org/officeDocument/2006/relationships/image" Target="../media/image570.png"/><Relationship Id="rId69" Type="http://schemas.openxmlformats.org/officeDocument/2006/relationships/image" Target="../media/image575.png"/><Relationship Id="rId8" Type="http://schemas.openxmlformats.org/officeDocument/2006/relationships/image" Target="../media/image517.png"/><Relationship Id="rId51" Type="http://schemas.openxmlformats.org/officeDocument/2006/relationships/image" Target="../media/image557.png"/><Relationship Id="rId3" Type="http://schemas.openxmlformats.org/officeDocument/2006/relationships/image" Target="../media/image512.png"/><Relationship Id="rId12" Type="http://schemas.openxmlformats.org/officeDocument/2006/relationships/image" Target="../media/image520.png"/><Relationship Id="rId17" Type="http://schemas.openxmlformats.org/officeDocument/2006/relationships/image" Target="../media/image524.png"/><Relationship Id="rId25" Type="http://schemas.openxmlformats.org/officeDocument/2006/relationships/image" Target="../media/image531.png"/><Relationship Id="rId33" Type="http://schemas.openxmlformats.org/officeDocument/2006/relationships/image" Target="../media/image539.png"/><Relationship Id="rId38" Type="http://schemas.openxmlformats.org/officeDocument/2006/relationships/image" Target="../media/image544.png"/><Relationship Id="rId46" Type="http://schemas.openxmlformats.org/officeDocument/2006/relationships/image" Target="../media/image552.png"/><Relationship Id="rId59" Type="http://schemas.openxmlformats.org/officeDocument/2006/relationships/image" Target="../media/image565.png"/><Relationship Id="rId67" Type="http://schemas.openxmlformats.org/officeDocument/2006/relationships/image" Target="../media/image573.png"/><Relationship Id="rId20" Type="http://schemas.openxmlformats.org/officeDocument/2006/relationships/image" Target="../media/image526.png"/><Relationship Id="rId41" Type="http://schemas.openxmlformats.org/officeDocument/2006/relationships/image" Target="../media/image547.png"/><Relationship Id="rId54" Type="http://schemas.openxmlformats.org/officeDocument/2006/relationships/image" Target="../media/image560.png"/><Relationship Id="rId62" Type="http://schemas.openxmlformats.org/officeDocument/2006/relationships/image" Target="../media/image568.png"/><Relationship Id="rId70" Type="http://schemas.openxmlformats.org/officeDocument/2006/relationships/image" Target="../media/image576.png"/><Relationship Id="rId1" Type="http://schemas.openxmlformats.org/officeDocument/2006/relationships/slideLayout" Target="../slideLayouts/slideLayout175.xml"/><Relationship Id="rId6" Type="http://schemas.openxmlformats.org/officeDocument/2006/relationships/image" Target="../media/image515.png"/><Relationship Id="rId15" Type="http://schemas.openxmlformats.org/officeDocument/2006/relationships/image" Target="../media/image522.png"/><Relationship Id="rId23" Type="http://schemas.openxmlformats.org/officeDocument/2006/relationships/image" Target="../media/image529.png"/><Relationship Id="rId28" Type="http://schemas.openxmlformats.org/officeDocument/2006/relationships/image" Target="../media/image534.png"/><Relationship Id="rId36" Type="http://schemas.openxmlformats.org/officeDocument/2006/relationships/image" Target="../media/image542.png"/><Relationship Id="rId49" Type="http://schemas.openxmlformats.org/officeDocument/2006/relationships/image" Target="../media/image555.png"/><Relationship Id="rId57" Type="http://schemas.openxmlformats.org/officeDocument/2006/relationships/image" Target="../media/image563.png"/><Relationship Id="rId10" Type="http://schemas.openxmlformats.org/officeDocument/2006/relationships/image" Target="../media/image257.png"/><Relationship Id="rId31" Type="http://schemas.openxmlformats.org/officeDocument/2006/relationships/image" Target="../media/image537.png"/><Relationship Id="rId44" Type="http://schemas.openxmlformats.org/officeDocument/2006/relationships/image" Target="../media/image550.png"/><Relationship Id="rId52" Type="http://schemas.openxmlformats.org/officeDocument/2006/relationships/image" Target="../media/image558.png"/><Relationship Id="rId60" Type="http://schemas.openxmlformats.org/officeDocument/2006/relationships/image" Target="../media/image566.png"/><Relationship Id="rId65" Type="http://schemas.openxmlformats.org/officeDocument/2006/relationships/image" Target="../media/image571.png"/><Relationship Id="rId4" Type="http://schemas.openxmlformats.org/officeDocument/2006/relationships/image" Target="../media/image513.png"/><Relationship Id="rId9" Type="http://schemas.openxmlformats.org/officeDocument/2006/relationships/image" Target="../media/image518.png"/><Relationship Id="rId13" Type="http://schemas.openxmlformats.org/officeDocument/2006/relationships/image" Target="../media/image521.png"/><Relationship Id="rId18" Type="http://schemas.openxmlformats.org/officeDocument/2006/relationships/image" Target="../media/image451.png"/><Relationship Id="rId39" Type="http://schemas.openxmlformats.org/officeDocument/2006/relationships/image" Target="../media/image545.png"/><Relationship Id="rId34" Type="http://schemas.openxmlformats.org/officeDocument/2006/relationships/image" Target="../media/image540.png"/><Relationship Id="rId50" Type="http://schemas.openxmlformats.org/officeDocument/2006/relationships/image" Target="../media/image556.png"/><Relationship Id="rId55" Type="http://schemas.openxmlformats.org/officeDocument/2006/relationships/image" Target="../media/image561.png"/></Relationships>
</file>

<file path=ppt/slides/_rels/slide21.xml.rels><?xml version="1.0" encoding="UTF-8" standalone="yes"?>
<Relationships xmlns="http://schemas.openxmlformats.org/package/2006/relationships"><Relationship Id="rId26" Type="http://schemas.openxmlformats.org/officeDocument/2006/relationships/image" Target="../media/image601.png"/><Relationship Id="rId21" Type="http://schemas.openxmlformats.org/officeDocument/2006/relationships/image" Target="../media/image596.png"/><Relationship Id="rId42" Type="http://schemas.openxmlformats.org/officeDocument/2006/relationships/image" Target="../media/image617.png"/><Relationship Id="rId47" Type="http://schemas.openxmlformats.org/officeDocument/2006/relationships/image" Target="../media/image622.png"/><Relationship Id="rId63" Type="http://schemas.openxmlformats.org/officeDocument/2006/relationships/image" Target="../media/image638.png"/><Relationship Id="rId68" Type="http://schemas.openxmlformats.org/officeDocument/2006/relationships/image" Target="../media/image643.png"/><Relationship Id="rId84" Type="http://schemas.openxmlformats.org/officeDocument/2006/relationships/image" Target="../media/image657.png"/><Relationship Id="rId16" Type="http://schemas.openxmlformats.org/officeDocument/2006/relationships/image" Target="../media/image591.png"/><Relationship Id="rId11" Type="http://schemas.openxmlformats.org/officeDocument/2006/relationships/image" Target="../media/image586.png"/><Relationship Id="rId32" Type="http://schemas.openxmlformats.org/officeDocument/2006/relationships/image" Target="../media/image607.png"/><Relationship Id="rId37" Type="http://schemas.openxmlformats.org/officeDocument/2006/relationships/image" Target="../media/image612.png"/><Relationship Id="rId53" Type="http://schemas.openxmlformats.org/officeDocument/2006/relationships/image" Target="../media/image628.png"/><Relationship Id="rId58" Type="http://schemas.openxmlformats.org/officeDocument/2006/relationships/image" Target="../media/image633.png"/><Relationship Id="rId74" Type="http://schemas.openxmlformats.org/officeDocument/2006/relationships/image" Target="../media/image649.png"/><Relationship Id="rId79" Type="http://schemas.openxmlformats.org/officeDocument/2006/relationships/image" Target="../media/image654.png"/><Relationship Id="rId5" Type="http://schemas.openxmlformats.org/officeDocument/2006/relationships/image" Target="../media/image580.png"/><Relationship Id="rId19" Type="http://schemas.openxmlformats.org/officeDocument/2006/relationships/image" Target="../media/image594.png"/><Relationship Id="rId14" Type="http://schemas.openxmlformats.org/officeDocument/2006/relationships/image" Target="../media/image589.png"/><Relationship Id="rId22" Type="http://schemas.openxmlformats.org/officeDocument/2006/relationships/image" Target="../media/image597.png"/><Relationship Id="rId27" Type="http://schemas.openxmlformats.org/officeDocument/2006/relationships/image" Target="../media/image602.png"/><Relationship Id="rId30" Type="http://schemas.openxmlformats.org/officeDocument/2006/relationships/image" Target="../media/image605.png"/><Relationship Id="rId35" Type="http://schemas.openxmlformats.org/officeDocument/2006/relationships/image" Target="../media/image610.png"/><Relationship Id="rId43" Type="http://schemas.openxmlformats.org/officeDocument/2006/relationships/image" Target="../media/image618.png"/><Relationship Id="rId48" Type="http://schemas.openxmlformats.org/officeDocument/2006/relationships/image" Target="../media/image623.png"/><Relationship Id="rId56" Type="http://schemas.openxmlformats.org/officeDocument/2006/relationships/image" Target="../media/image631.png"/><Relationship Id="rId64" Type="http://schemas.openxmlformats.org/officeDocument/2006/relationships/image" Target="../media/image639.png"/><Relationship Id="rId69" Type="http://schemas.openxmlformats.org/officeDocument/2006/relationships/image" Target="../media/image644.png"/><Relationship Id="rId77" Type="http://schemas.openxmlformats.org/officeDocument/2006/relationships/image" Target="../media/image652.png"/><Relationship Id="rId8" Type="http://schemas.openxmlformats.org/officeDocument/2006/relationships/image" Target="../media/image583.png"/><Relationship Id="rId51" Type="http://schemas.openxmlformats.org/officeDocument/2006/relationships/image" Target="../media/image626.png"/><Relationship Id="rId72" Type="http://schemas.openxmlformats.org/officeDocument/2006/relationships/image" Target="../media/image647.png"/><Relationship Id="rId80" Type="http://schemas.openxmlformats.org/officeDocument/2006/relationships/image" Target="../media/image655.png"/><Relationship Id="rId85" Type="http://schemas.openxmlformats.org/officeDocument/2006/relationships/image" Target="../media/image215.png"/><Relationship Id="rId3" Type="http://schemas.openxmlformats.org/officeDocument/2006/relationships/image" Target="../media/image578.png"/><Relationship Id="rId12" Type="http://schemas.openxmlformats.org/officeDocument/2006/relationships/image" Target="../media/image587.png"/><Relationship Id="rId17" Type="http://schemas.openxmlformats.org/officeDocument/2006/relationships/image" Target="../media/image592.png"/><Relationship Id="rId25" Type="http://schemas.openxmlformats.org/officeDocument/2006/relationships/image" Target="../media/image600.png"/><Relationship Id="rId33" Type="http://schemas.openxmlformats.org/officeDocument/2006/relationships/image" Target="../media/image608.png"/><Relationship Id="rId38" Type="http://schemas.openxmlformats.org/officeDocument/2006/relationships/image" Target="../media/image613.png"/><Relationship Id="rId46" Type="http://schemas.openxmlformats.org/officeDocument/2006/relationships/image" Target="../media/image621.png"/><Relationship Id="rId59" Type="http://schemas.openxmlformats.org/officeDocument/2006/relationships/image" Target="../media/image634.png"/><Relationship Id="rId67" Type="http://schemas.openxmlformats.org/officeDocument/2006/relationships/image" Target="../media/image642.png"/><Relationship Id="rId20" Type="http://schemas.openxmlformats.org/officeDocument/2006/relationships/image" Target="../media/image595.png"/><Relationship Id="rId41" Type="http://schemas.openxmlformats.org/officeDocument/2006/relationships/image" Target="../media/image616.png"/><Relationship Id="rId54" Type="http://schemas.openxmlformats.org/officeDocument/2006/relationships/image" Target="../media/image629.png"/><Relationship Id="rId62" Type="http://schemas.openxmlformats.org/officeDocument/2006/relationships/image" Target="../media/image637.png"/><Relationship Id="rId70" Type="http://schemas.openxmlformats.org/officeDocument/2006/relationships/image" Target="../media/image645.png"/><Relationship Id="rId75" Type="http://schemas.openxmlformats.org/officeDocument/2006/relationships/image" Target="../media/image650.png"/><Relationship Id="rId83" Type="http://schemas.openxmlformats.org/officeDocument/2006/relationships/image" Target="../media/image379.png"/><Relationship Id="rId1" Type="http://schemas.openxmlformats.org/officeDocument/2006/relationships/slideLayout" Target="../slideLayouts/slideLayout175.xml"/><Relationship Id="rId6" Type="http://schemas.openxmlformats.org/officeDocument/2006/relationships/image" Target="../media/image581.png"/><Relationship Id="rId15" Type="http://schemas.openxmlformats.org/officeDocument/2006/relationships/image" Target="../media/image590.png"/><Relationship Id="rId23" Type="http://schemas.openxmlformats.org/officeDocument/2006/relationships/image" Target="../media/image598.png"/><Relationship Id="rId28" Type="http://schemas.openxmlformats.org/officeDocument/2006/relationships/image" Target="../media/image603.png"/><Relationship Id="rId36" Type="http://schemas.openxmlformats.org/officeDocument/2006/relationships/image" Target="../media/image611.png"/><Relationship Id="rId49" Type="http://schemas.openxmlformats.org/officeDocument/2006/relationships/image" Target="../media/image624.png"/><Relationship Id="rId57" Type="http://schemas.openxmlformats.org/officeDocument/2006/relationships/image" Target="../media/image632.png"/><Relationship Id="rId10" Type="http://schemas.openxmlformats.org/officeDocument/2006/relationships/image" Target="../media/image585.png"/><Relationship Id="rId31" Type="http://schemas.openxmlformats.org/officeDocument/2006/relationships/image" Target="../media/image606.png"/><Relationship Id="rId44" Type="http://schemas.openxmlformats.org/officeDocument/2006/relationships/image" Target="../media/image619.png"/><Relationship Id="rId52" Type="http://schemas.openxmlformats.org/officeDocument/2006/relationships/image" Target="../media/image627.png"/><Relationship Id="rId60" Type="http://schemas.openxmlformats.org/officeDocument/2006/relationships/image" Target="../media/image635.png"/><Relationship Id="rId65" Type="http://schemas.openxmlformats.org/officeDocument/2006/relationships/image" Target="../media/image640.png"/><Relationship Id="rId73" Type="http://schemas.openxmlformats.org/officeDocument/2006/relationships/image" Target="../media/image648.png"/><Relationship Id="rId78" Type="http://schemas.openxmlformats.org/officeDocument/2006/relationships/image" Target="../media/image653.png"/><Relationship Id="rId81" Type="http://schemas.openxmlformats.org/officeDocument/2006/relationships/image" Target="../media/image656.png"/><Relationship Id="rId86" Type="http://schemas.openxmlformats.org/officeDocument/2006/relationships/image" Target="../media/image216.png"/><Relationship Id="rId4" Type="http://schemas.openxmlformats.org/officeDocument/2006/relationships/image" Target="../media/image579.png"/><Relationship Id="rId9" Type="http://schemas.openxmlformats.org/officeDocument/2006/relationships/image" Target="../media/image584.png"/><Relationship Id="rId13" Type="http://schemas.openxmlformats.org/officeDocument/2006/relationships/image" Target="../media/image588.png"/><Relationship Id="rId18" Type="http://schemas.openxmlformats.org/officeDocument/2006/relationships/image" Target="../media/image593.png"/><Relationship Id="rId39" Type="http://schemas.openxmlformats.org/officeDocument/2006/relationships/image" Target="../media/image614.png"/><Relationship Id="rId34" Type="http://schemas.openxmlformats.org/officeDocument/2006/relationships/image" Target="../media/image609.png"/><Relationship Id="rId50" Type="http://schemas.openxmlformats.org/officeDocument/2006/relationships/image" Target="../media/image625.png"/><Relationship Id="rId55" Type="http://schemas.openxmlformats.org/officeDocument/2006/relationships/image" Target="../media/image630.png"/><Relationship Id="rId76" Type="http://schemas.openxmlformats.org/officeDocument/2006/relationships/image" Target="../media/image651.png"/><Relationship Id="rId7" Type="http://schemas.openxmlformats.org/officeDocument/2006/relationships/image" Target="../media/image582.png"/><Relationship Id="rId71" Type="http://schemas.openxmlformats.org/officeDocument/2006/relationships/image" Target="../media/image646.png"/><Relationship Id="rId2" Type="http://schemas.openxmlformats.org/officeDocument/2006/relationships/image" Target="../media/image577.png"/><Relationship Id="rId29" Type="http://schemas.openxmlformats.org/officeDocument/2006/relationships/image" Target="../media/image604.png"/><Relationship Id="rId24" Type="http://schemas.openxmlformats.org/officeDocument/2006/relationships/image" Target="../media/image599.png"/><Relationship Id="rId40" Type="http://schemas.openxmlformats.org/officeDocument/2006/relationships/image" Target="../media/image615.png"/><Relationship Id="rId45" Type="http://schemas.openxmlformats.org/officeDocument/2006/relationships/image" Target="../media/image620.png"/><Relationship Id="rId66" Type="http://schemas.openxmlformats.org/officeDocument/2006/relationships/image" Target="../media/image641.png"/><Relationship Id="rId61" Type="http://schemas.openxmlformats.org/officeDocument/2006/relationships/image" Target="../media/image636.png"/><Relationship Id="rId82" Type="http://schemas.openxmlformats.org/officeDocument/2006/relationships/image" Target="../media/image89.png"/></Relationships>
</file>

<file path=ppt/slides/_rels/slide22.xml.rels><?xml version="1.0" encoding="UTF-8" standalone="yes"?>
<Relationships xmlns="http://schemas.openxmlformats.org/package/2006/relationships"><Relationship Id="rId8" Type="http://schemas.openxmlformats.org/officeDocument/2006/relationships/image" Target="../media/image659.png"/><Relationship Id="rId13" Type="http://schemas.openxmlformats.org/officeDocument/2006/relationships/image" Target="../media/image664.png"/><Relationship Id="rId18" Type="http://schemas.openxmlformats.org/officeDocument/2006/relationships/image" Target="../media/image669.png"/><Relationship Id="rId3" Type="http://schemas.openxmlformats.org/officeDocument/2006/relationships/image" Target="../media/image89.png"/><Relationship Id="rId21" Type="http://schemas.openxmlformats.org/officeDocument/2006/relationships/image" Target="../media/image672.png"/><Relationship Id="rId7" Type="http://schemas.openxmlformats.org/officeDocument/2006/relationships/image" Target="../media/image216.png"/><Relationship Id="rId12" Type="http://schemas.openxmlformats.org/officeDocument/2006/relationships/image" Target="../media/image663.png"/><Relationship Id="rId17" Type="http://schemas.openxmlformats.org/officeDocument/2006/relationships/image" Target="../media/image668.png"/><Relationship Id="rId25" Type="http://schemas.openxmlformats.org/officeDocument/2006/relationships/image" Target="../media/image676.png"/><Relationship Id="rId2" Type="http://schemas.openxmlformats.org/officeDocument/2006/relationships/image" Target="../media/image658.png"/><Relationship Id="rId16" Type="http://schemas.openxmlformats.org/officeDocument/2006/relationships/image" Target="../media/image667.png"/><Relationship Id="rId20" Type="http://schemas.openxmlformats.org/officeDocument/2006/relationships/image" Target="../media/image671.png"/><Relationship Id="rId1" Type="http://schemas.openxmlformats.org/officeDocument/2006/relationships/slideLayout" Target="../slideLayouts/slideLayout175.xml"/><Relationship Id="rId6" Type="http://schemas.openxmlformats.org/officeDocument/2006/relationships/image" Target="../media/image215.png"/><Relationship Id="rId11" Type="http://schemas.openxmlformats.org/officeDocument/2006/relationships/image" Target="../media/image662.png"/><Relationship Id="rId24" Type="http://schemas.openxmlformats.org/officeDocument/2006/relationships/image" Target="../media/image675.png"/><Relationship Id="rId5" Type="http://schemas.openxmlformats.org/officeDocument/2006/relationships/image" Target="../media/image657.png"/><Relationship Id="rId15" Type="http://schemas.openxmlformats.org/officeDocument/2006/relationships/image" Target="../media/image666.png"/><Relationship Id="rId23" Type="http://schemas.openxmlformats.org/officeDocument/2006/relationships/image" Target="../media/image674.png"/><Relationship Id="rId10" Type="http://schemas.openxmlformats.org/officeDocument/2006/relationships/image" Target="../media/image661.png"/><Relationship Id="rId19" Type="http://schemas.openxmlformats.org/officeDocument/2006/relationships/image" Target="../media/image670.png"/><Relationship Id="rId4" Type="http://schemas.openxmlformats.org/officeDocument/2006/relationships/image" Target="../media/image379.png"/><Relationship Id="rId9" Type="http://schemas.openxmlformats.org/officeDocument/2006/relationships/image" Target="../media/image660.png"/><Relationship Id="rId14" Type="http://schemas.openxmlformats.org/officeDocument/2006/relationships/image" Target="../media/image665.png"/><Relationship Id="rId22" Type="http://schemas.openxmlformats.org/officeDocument/2006/relationships/image" Target="../media/image673.png"/></Relationships>
</file>

<file path=ppt/slides/_rels/slide23.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677.png"/><Relationship Id="rId7" Type="http://schemas.openxmlformats.org/officeDocument/2006/relationships/image" Target="../media/image75.png"/><Relationship Id="rId2" Type="http://schemas.openxmlformats.org/officeDocument/2006/relationships/image" Target="../media/image73.png"/><Relationship Id="rId1" Type="http://schemas.openxmlformats.org/officeDocument/2006/relationships/slideLayout" Target="../slideLayouts/slideLayout175.xml"/><Relationship Id="rId6" Type="http://schemas.openxmlformats.org/officeDocument/2006/relationships/image" Target="../media/image680.png"/><Relationship Id="rId11" Type="http://schemas.openxmlformats.org/officeDocument/2006/relationships/image" Target="../media/image79.png"/><Relationship Id="rId5" Type="http://schemas.openxmlformats.org/officeDocument/2006/relationships/image" Target="../media/image679.png"/><Relationship Id="rId10" Type="http://schemas.openxmlformats.org/officeDocument/2006/relationships/image" Target="../media/image78.png"/><Relationship Id="rId4" Type="http://schemas.openxmlformats.org/officeDocument/2006/relationships/image" Target="../media/image678.png"/><Relationship Id="rId9" Type="http://schemas.openxmlformats.org/officeDocument/2006/relationships/image" Target="../media/image77.png"/></Relationships>
</file>

<file path=ppt/slides/_rels/slide24.xml.rels><?xml version="1.0" encoding="UTF-8" standalone="yes"?>
<Relationships xmlns="http://schemas.openxmlformats.org/package/2006/relationships"><Relationship Id="rId3" Type="http://schemas.openxmlformats.org/officeDocument/2006/relationships/image" Target="../media/image682.jpeg"/><Relationship Id="rId2" Type="http://schemas.openxmlformats.org/officeDocument/2006/relationships/image" Target="../media/image681.jpeg"/><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8" Type="http://schemas.openxmlformats.org/officeDocument/2006/relationships/image" Target="../media/image687.png"/><Relationship Id="rId3" Type="http://schemas.openxmlformats.org/officeDocument/2006/relationships/image" Target="../media/image683.gif"/><Relationship Id="rId7" Type="http://schemas.openxmlformats.org/officeDocument/2006/relationships/image" Target="../media/image686.svg"/><Relationship Id="rId2" Type="http://schemas.openxmlformats.org/officeDocument/2006/relationships/notesSlide" Target="../notesSlides/notesSlide9.xml"/><Relationship Id="rId1" Type="http://schemas.openxmlformats.org/officeDocument/2006/relationships/slideLayout" Target="../slideLayouts/slideLayout234.xml"/><Relationship Id="rId6" Type="http://schemas.openxmlformats.org/officeDocument/2006/relationships/image" Target="../media/image685.png"/><Relationship Id="rId5" Type="http://schemas.microsoft.com/office/2007/relationships/hdphoto" Target="../media/hdphoto2.wdp"/><Relationship Id="rId4" Type="http://schemas.openxmlformats.org/officeDocument/2006/relationships/image" Target="../media/image684.png"/><Relationship Id="rId9" Type="http://schemas.openxmlformats.org/officeDocument/2006/relationships/image" Target="../media/image688.svg"/></Relationships>
</file>

<file path=ppt/slides/_rels/slide26.xml.rels><?xml version="1.0" encoding="UTF-8" standalone="yes"?>
<Relationships xmlns="http://schemas.openxmlformats.org/package/2006/relationships"><Relationship Id="rId3" Type="http://schemas.openxmlformats.org/officeDocument/2006/relationships/image" Target="../media/image689.png"/><Relationship Id="rId2" Type="http://schemas.openxmlformats.org/officeDocument/2006/relationships/notesSlide" Target="../notesSlides/notesSlide10.xml"/><Relationship Id="rId1" Type="http://schemas.openxmlformats.org/officeDocument/2006/relationships/slideLayout" Target="../slideLayouts/slideLayout195.xml"/><Relationship Id="rId4" Type="http://schemas.openxmlformats.org/officeDocument/2006/relationships/image" Target="../media/image690.svg"/></Relationships>
</file>

<file path=ppt/slides/_rels/slide27.xml.rels><?xml version="1.0" encoding="UTF-8" standalone="yes"?>
<Relationships xmlns="http://schemas.openxmlformats.org/package/2006/relationships"><Relationship Id="rId8" Type="http://schemas.openxmlformats.org/officeDocument/2006/relationships/image" Target="../media/image696.svg"/><Relationship Id="rId3" Type="http://schemas.openxmlformats.org/officeDocument/2006/relationships/image" Target="../media/image691.png"/><Relationship Id="rId7" Type="http://schemas.openxmlformats.org/officeDocument/2006/relationships/image" Target="../media/image695.png"/><Relationship Id="rId2" Type="http://schemas.openxmlformats.org/officeDocument/2006/relationships/notesSlide" Target="../notesSlides/notesSlide11.xml"/><Relationship Id="rId1" Type="http://schemas.openxmlformats.org/officeDocument/2006/relationships/slideLayout" Target="../slideLayouts/slideLayout196.xml"/><Relationship Id="rId6" Type="http://schemas.openxmlformats.org/officeDocument/2006/relationships/image" Target="../media/image694.svg"/><Relationship Id="rId5" Type="http://schemas.openxmlformats.org/officeDocument/2006/relationships/image" Target="../media/image693.png"/><Relationship Id="rId10" Type="http://schemas.openxmlformats.org/officeDocument/2006/relationships/image" Target="../media/image698.svg"/><Relationship Id="rId4" Type="http://schemas.openxmlformats.org/officeDocument/2006/relationships/image" Target="../media/image692.svg"/><Relationship Id="rId9" Type="http://schemas.openxmlformats.org/officeDocument/2006/relationships/image" Target="../media/image697.png"/></Relationships>
</file>

<file path=ppt/slides/_rels/slide28.xml.rels><?xml version="1.0" encoding="UTF-8" standalone="yes"?>
<Relationships xmlns="http://schemas.openxmlformats.org/package/2006/relationships"><Relationship Id="rId3" Type="http://schemas.openxmlformats.org/officeDocument/2006/relationships/image" Target="../media/image699.png"/><Relationship Id="rId2" Type="http://schemas.openxmlformats.org/officeDocument/2006/relationships/notesSlide" Target="../notesSlides/notesSlide12.xml"/><Relationship Id="rId1" Type="http://schemas.openxmlformats.org/officeDocument/2006/relationships/slideLayout" Target="../slideLayouts/slideLayout216.xml"/><Relationship Id="rId4" Type="http://schemas.openxmlformats.org/officeDocument/2006/relationships/image" Target="../media/image700.svg"/></Relationships>
</file>

<file path=ppt/slides/_rels/slide29.xml.rels><?xml version="1.0" encoding="UTF-8" standalone="yes"?>
<Relationships xmlns="http://schemas.openxmlformats.org/package/2006/relationships"><Relationship Id="rId8" Type="http://schemas.openxmlformats.org/officeDocument/2006/relationships/image" Target="../media/image706.svg"/><Relationship Id="rId3" Type="http://schemas.openxmlformats.org/officeDocument/2006/relationships/image" Target="../media/image701.png"/><Relationship Id="rId7" Type="http://schemas.openxmlformats.org/officeDocument/2006/relationships/image" Target="../media/image705.png"/><Relationship Id="rId2" Type="http://schemas.openxmlformats.org/officeDocument/2006/relationships/notesSlide" Target="../notesSlides/notesSlide13.xml"/><Relationship Id="rId1" Type="http://schemas.openxmlformats.org/officeDocument/2006/relationships/slideLayout" Target="../slideLayouts/slideLayout196.xml"/><Relationship Id="rId6" Type="http://schemas.openxmlformats.org/officeDocument/2006/relationships/image" Target="../media/image704.svg"/><Relationship Id="rId5" Type="http://schemas.openxmlformats.org/officeDocument/2006/relationships/image" Target="../media/image703.png"/><Relationship Id="rId4" Type="http://schemas.openxmlformats.org/officeDocument/2006/relationships/image" Target="../media/image702.svg"/></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3" Type="http://schemas.openxmlformats.org/officeDocument/2006/relationships/image" Target="../media/image707.jpeg"/><Relationship Id="rId2" Type="http://schemas.openxmlformats.org/officeDocument/2006/relationships/image" Target="../media/image71.png"/><Relationship Id="rId1" Type="http://schemas.openxmlformats.org/officeDocument/2006/relationships/slideLayout" Target="../slideLayouts/slideLayout27.xml"/><Relationship Id="rId4" Type="http://schemas.openxmlformats.org/officeDocument/2006/relationships/image" Target="../media/image708.jpeg"/></Relationships>
</file>

<file path=ppt/slides/_rels/slide3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09.jpeg"/><Relationship Id="rId1" Type="http://schemas.openxmlformats.org/officeDocument/2006/relationships/slideLayout" Target="../slideLayouts/slideLayout27.xml"/><Relationship Id="rId6" Type="http://schemas.openxmlformats.org/officeDocument/2006/relationships/image" Target="../media/image708.jpeg"/><Relationship Id="rId5" Type="http://schemas.openxmlformats.org/officeDocument/2006/relationships/image" Target="../media/image711.png"/><Relationship Id="rId4" Type="http://schemas.openxmlformats.org/officeDocument/2006/relationships/image" Target="../media/image710.jpeg"/></Relationships>
</file>

<file path=ppt/slides/_rels/slide32.xml.rels><?xml version="1.0" encoding="UTF-8" standalone="yes"?>
<Relationships xmlns="http://schemas.openxmlformats.org/package/2006/relationships"><Relationship Id="rId3" Type="http://schemas.openxmlformats.org/officeDocument/2006/relationships/image" Target="../media/image713.png"/><Relationship Id="rId2" Type="http://schemas.openxmlformats.org/officeDocument/2006/relationships/image" Target="../media/image712.jpeg"/><Relationship Id="rId1" Type="http://schemas.openxmlformats.org/officeDocument/2006/relationships/slideLayout" Target="../slideLayouts/slideLayout27.xml"/><Relationship Id="rId4" Type="http://schemas.microsoft.com/office/2007/relationships/hdphoto" Target="../media/hdphoto3.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2.xml"/></Relationships>
</file>

<file path=ppt/slides/_rels/slide5.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8.svg"/><Relationship Id="rId26" Type="http://schemas.openxmlformats.org/officeDocument/2006/relationships/image" Target="../media/image46.svg"/><Relationship Id="rId3" Type="http://schemas.openxmlformats.org/officeDocument/2006/relationships/image" Target="../media/image23.png"/><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7.png"/><Relationship Id="rId25" Type="http://schemas.openxmlformats.org/officeDocument/2006/relationships/image" Target="../media/image45.png"/><Relationship Id="rId2" Type="http://schemas.openxmlformats.org/officeDocument/2006/relationships/notesSlide" Target="../notesSlides/notesSlide2.xml"/><Relationship Id="rId16" Type="http://schemas.openxmlformats.org/officeDocument/2006/relationships/image" Target="../media/image36.svg"/><Relationship Id="rId20" Type="http://schemas.openxmlformats.org/officeDocument/2006/relationships/image" Target="../media/image40.svg"/><Relationship Id="rId1" Type="http://schemas.openxmlformats.org/officeDocument/2006/relationships/slideLayout" Target="../slideLayouts/slideLayout146.xml"/><Relationship Id="rId6" Type="http://schemas.openxmlformats.org/officeDocument/2006/relationships/image" Target="../media/image26.svg"/><Relationship Id="rId11" Type="http://schemas.openxmlformats.org/officeDocument/2006/relationships/image" Target="../media/image31.png"/><Relationship Id="rId24" Type="http://schemas.openxmlformats.org/officeDocument/2006/relationships/image" Target="../media/image44.svg"/><Relationship Id="rId5" Type="http://schemas.openxmlformats.org/officeDocument/2006/relationships/image" Target="../media/image25.png"/><Relationship Id="rId15" Type="http://schemas.openxmlformats.org/officeDocument/2006/relationships/image" Target="../media/image35.png"/><Relationship Id="rId23" Type="http://schemas.openxmlformats.org/officeDocument/2006/relationships/image" Target="../media/image43.png"/><Relationship Id="rId10" Type="http://schemas.openxmlformats.org/officeDocument/2006/relationships/image" Target="../media/image30.svg"/><Relationship Id="rId19" Type="http://schemas.openxmlformats.org/officeDocument/2006/relationships/image" Target="../media/image39.png"/><Relationship Id="rId4" Type="http://schemas.openxmlformats.org/officeDocument/2006/relationships/image" Target="../media/image24.svg"/><Relationship Id="rId9" Type="http://schemas.openxmlformats.org/officeDocument/2006/relationships/image" Target="../media/image29.png"/><Relationship Id="rId14" Type="http://schemas.openxmlformats.org/officeDocument/2006/relationships/image" Target="../media/image34.svg"/><Relationship Id="rId22" Type="http://schemas.openxmlformats.org/officeDocument/2006/relationships/image" Target="../media/image42.svg"/></Relationships>
</file>

<file path=ppt/slides/_rels/slide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xml"/><Relationship Id="rId1" Type="http://schemas.openxmlformats.org/officeDocument/2006/relationships/slideLayout" Target="../slideLayouts/slideLayout163.xml"/><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146.xml"/><Relationship Id="rId4" Type="http://schemas.openxmlformats.org/officeDocument/2006/relationships/image" Target="../media/image49.svg"/></Relationships>
</file>

<file path=ppt/slides/_rels/slide8.xml.rels><?xml version="1.0" encoding="UTF-8" standalone="yes"?>
<Relationships xmlns="http://schemas.openxmlformats.org/package/2006/relationships"><Relationship Id="rId8" Type="http://schemas.openxmlformats.org/officeDocument/2006/relationships/image" Target="../media/image55.jpeg"/><Relationship Id="rId13" Type="http://schemas.openxmlformats.org/officeDocument/2006/relationships/image" Target="../media/image60.jpeg"/><Relationship Id="rId3" Type="http://schemas.openxmlformats.org/officeDocument/2006/relationships/image" Target="../media/image50.jpeg"/><Relationship Id="rId7" Type="http://schemas.openxmlformats.org/officeDocument/2006/relationships/image" Target="../media/image54.jpeg"/><Relationship Id="rId12" Type="http://schemas.openxmlformats.org/officeDocument/2006/relationships/image" Target="../media/image59.jpeg"/><Relationship Id="rId17" Type="http://schemas.openxmlformats.org/officeDocument/2006/relationships/image" Target="../media/image64.jpeg"/><Relationship Id="rId2" Type="http://schemas.openxmlformats.org/officeDocument/2006/relationships/notesSlide" Target="../notesSlides/notesSlide5.xml"/><Relationship Id="rId16" Type="http://schemas.openxmlformats.org/officeDocument/2006/relationships/image" Target="../media/image63.jpeg"/><Relationship Id="rId1" Type="http://schemas.openxmlformats.org/officeDocument/2006/relationships/slideLayout" Target="../slideLayouts/slideLayout146.xml"/><Relationship Id="rId6" Type="http://schemas.openxmlformats.org/officeDocument/2006/relationships/image" Target="../media/image53.jpeg"/><Relationship Id="rId11" Type="http://schemas.openxmlformats.org/officeDocument/2006/relationships/image" Target="../media/image58.jpeg"/><Relationship Id="rId5" Type="http://schemas.openxmlformats.org/officeDocument/2006/relationships/image" Target="../media/image52.jpeg"/><Relationship Id="rId15" Type="http://schemas.openxmlformats.org/officeDocument/2006/relationships/image" Target="../media/image62.jpeg"/><Relationship Id="rId10" Type="http://schemas.openxmlformats.org/officeDocument/2006/relationships/image" Target="../media/image57.jpeg"/><Relationship Id="rId4" Type="http://schemas.openxmlformats.org/officeDocument/2006/relationships/image" Target="../media/image51.jpeg"/><Relationship Id="rId9" Type="http://schemas.openxmlformats.org/officeDocument/2006/relationships/image" Target="../media/image56.jpeg"/><Relationship Id="rId14" Type="http://schemas.openxmlformats.org/officeDocument/2006/relationships/image" Target="../media/image61.jpeg"/></Relationships>
</file>

<file path=ppt/slides/_rels/slide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6.xml"/><Relationship Id="rId1" Type="http://schemas.openxmlformats.org/officeDocument/2006/relationships/slideLayout" Target="../slideLayouts/slideLayout146.xml"/><Relationship Id="rId5" Type="http://schemas.openxmlformats.org/officeDocument/2006/relationships/image" Target="../media/image67.png"/><Relationship Id="rId4"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B2DF3A-22D0-8B1A-11CB-6B5578CF982D}"/>
              </a:ext>
            </a:extLst>
          </p:cNvPr>
          <p:cNvSpPr>
            <a:spLocks noGrp="1"/>
          </p:cNvSpPr>
          <p:nvPr>
            <p:ph type="body" idx="10"/>
          </p:nvPr>
        </p:nvSpPr>
        <p:spPr/>
        <p:txBody>
          <a:bodyPr/>
          <a:lstStyle/>
          <a:p>
            <a:r>
              <a:rPr lang="en-GB" dirty="0"/>
              <a:t>28 February 2024</a:t>
            </a:r>
          </a:p>
        </p:txBody>
      </p:sp>
      <p:sp>
        <p:nvSpPr>
          <p:cNvPr id="3" name="Title 2">
            <a:extLst>
              <a:ext uri="{FF2B5EF4-FFF2-40B4-BE49-F238E27FC236}">
                <a16:creationId xmlns:a16="http://schemas.microsoft.com/office/drawing/2014/main" id="{85DB8EE5-7CB3-208E-6C1E-BC11B5C49429}"/>
              </a:ext>
            </a:extLst>
          </p:cNvPr>
          <p:cNvSpPr>
            <a:spLocks noGrp="1"/>
          </p:cNvSpPr>
          <p:nvPr>
            <p:ph type="title"/>
          </p:nvPr>
        </p:nvSpPr>
        <p:spPr>
          <a:xfrm>
            <a:off x="3593749" y="1524787"/>
            <a:ext cx="6754018" cy="3024184"/>
          </a:xfrm>
        </p:spPr>
        <p:txBody>
          <a:bodyPr/>
          <a:lstStyle/>
          <a:p>
            <a:r>
              <a:rPr lang="en-GB" dirty="0"/>
              <a:t>Welcome to the Places Hub</a:t>
            </a:r>
          </a:p>
        </p:txBody>
      </p:sp>
    </p:spTree>
    <p:extLst>
      <p:ext uri="{BB962C8B-B14F-4D97-AF65-F5344CB8AC3E}">
        <p14:creationId xmlns:p14="http://schemas.microsoft.com/office/powerpoint/2010/main" val="42574749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holding a surfboard&#10;&#10;Description automatically generated">
            <a:extLst>
              <a:ext uri="{FF2B5EF4-FFF2-40B4-BE49-F238E27FC236}">
                <a16:creationId xmlns:a16="http://schemas.microsoft.com/office/drawing/2014/main" id="{AFAD4EB3-DFFB-0093-F746-6A72EB48B7F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2" name="Title 4">
            <a:extLst>
              <a:ext uri="{FF2B5EF4-FFF2-40B4-BE49-F238E27FC236}">
                <a16:creationId xmlns:a16="http://schemas.microsoft.com/office/drawing/2014/main" id="{56652E23-340A-4DFB-B869-5C64844AB89A}"/>
              </a:ext>
            </a:extLst>
          </p:cNvPr>
          <p:cNvSpPr txBox="1">
            <a:spLocks/>
          </p:cNvSpPr>
          <p:nvPr/>
        </p:nvSpPr>
        <p:spPr>
          <a:xfrm>
            <a:off x="1101600" y="123751"/>
            <a:ext cx="7222129" cy="1069095"/>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3600" b="1" i="0" u="none" strike="noStrike" kern="1200" cap="none" spc="0" normalizeH="0" baseline="0" noProof="0" dirty="0">
              <a:ln>
                <a:noFill/>
              </a:ln>
              <a:solidFill>
                <a:srgbClr val="FFFFFF"/>
              </a:solidFill>
              <a:effectLst/>
              <a:uLnTx/>
              <a:uFillTx/>
              <a:latin typeface="Source Sans Pro"/>
              <a:ea typeface="+mj-ea"/>
              <a:cs typeface="+mj-cs"/>
            </a:endParaRPr>
          </a:p>
        </p:txBody>
      </p:sp>
      <p:sp>
        <p:nvSpPr>
          <p:cNvPr id="21" name="Content Placeholder 20">
            <a:extLst>
              <a:ext uri="{FF2B5EF4-FFF2-40B4-BE49-F238E27FC236}">
                <a16:creationId xmlns:a16="http://schemas.microsoft.com/office/drawing/2014/main" id="{6FDA697F-0956-ACF9-628E-D3E71F155D56}"/>
              </a:ext>
            </a:extLst>
          </p:cNvPr>
          <p:cNvSpPr>
            <a:spLocks noGrp="1"/>
          </p:cNvSpPr>
          <p:nvPr>
            <p:ph idx="1"/>
          </p:nvPr>
        </p:nvSpPr>
        <p:spPr>
          <a:xfrm>
            <a:off x="258618" y="1988840"/>
            <a:ext cx="5209309" cy="4248472"/>
          </a:xfrm>
        </p:spPr>
        <p:txBody>
          <a:bodyPr/>
          <a:lstStyle/>
          <a:p>
            <a:pPr lvl="2">
              <a:spcAft>
                <a:spcPts val="1800"/>
              </a:spcAft>
            </a:pPr>
            <a:r>
              <a:rPr lang="en-GB" sz="2000" dirty="0"/>
              <a:t>UK should remain an attractive destination for investment</a:t>
            </a:r>
          </a:p>
          <a:p>
            <a:pPr lvl="2">
              <a:spcAft>
                <a:spcPts val="1800"/>
              </a:spcAft>
            </a:pPr>
            <a:r>
              <a:rPr lang="en-GB" sz="2000" dirty="0"/>
              <a:t>Infrastructure remains robust asset class with increasing allocation from investors – where does this capital go?</a:t>
            </a:r>
          </a:p>
          <a:p>
            <a:pPr lvl="2">
              <a:spcAft>
                <a:spcPts val="1800"/>
              </a:spcAft>
            </a:pPr>
            <a:r>
              <a:rPr lang="en-GB" sz="2000" dirty="0"/>
              <a:t>Infrastructure market driven by Net Zero as its beacon for investment</a:t>
            </a:r>
          </a:p>
          <a:p>
            <a:pPr lvl="2">
              <a:spcAft>
                <a:spcPts val="1800"/>
              </a:spcAft>
            </a:pPr>
            <a:r>
              <a:rPr lang="en-GB" sz="2000" dirty="0"/>
              <a:t>UK activity remains subdued for investors – need for more pace!</a:t>
            </a:r>
          </a:p>
          <a:p>
            <a:pPr lvl="2">
              <a:spcAft>
                <a:spcPts val="1800"/>
              </a:spcAft>
            </a:pPr>
            <a:r>
              <a:rPr lang="en-GB" sz="2000" dirty="0"/>
              <a:t>Election not likely to change direction of travel for investors</a:t>
            </a:r>
          </a:p>
        </p:txBody>
      </p:sp>
      <p:sp>
        <p:nvSpPr>
          <p:cNvPr id="20" name="Title 19">
            <a:extLst>
              <a:ext uri="{FF2B5EF4-FFF2-40B4-BE49-F238E27FC236}">
                <a16:creationId xmlns:a16="http://schemas.microsoft.com/office/drawing/2014/main" id="{F3DB1B9F-5C00-BE65-1448-031174104325}"/>
              </a:ext>
            </a:extLst>
          </p:cNvPr>
          <p:cNvSpPr>
            <a:spLocks noGrp="1"/>
          </p:cNvSpPr>
          <p:nvPr>
            <p:ph type="title"/>
          </p:nvPr>
        </p:nvSpPr>
        <p:spPr>
          <a:xfrm>
            <a:off x="421623" y="177539"/>
            <a:ext cx="10404000" cy="1069095"/>
          </a:xfrm>
        </p:spPr>
        <p:txBody>
          <a:bodyPr/>
          <a:lstStyle/>
          <a:p>
            <a:r>
              <a:rPr lang="en-GB" dirty="0"/>
              <a:t>Key takeaways</a:t>
            </a:r>
          </a:p>
        </p:txBody>
      </p:sp>
      <p:pic>
        <p:nvPicPr>
          <p:cNvPr id="48" name="Picture 47">
            <a:extLst>
              <a:ext uri="{FF2B5EF4-FFF2-40B4-BE49-F238E27FC236}">
                <a16:creationId xmlns:a16="http://schemas.microsoft.com/office/drawing/2014/main" id="{65F6587B-3722-9971-9F13-F1250CBCA9F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2391626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838A089-AF0E-4A44-B7EB-35E9536A5E72}"/>
              </a:ext>
            </a:extLst>
          </p:cNvPr>
          <p:cNvSpPr>
            <a:spLocks noGrp="1"/>
          </p:cNvSpPr>
          <p:nvPr>
            <p:ph type="subTitle" idx="1"/>
          </p:nvPr>
        </p:nvSpPr>
        <p:spPr/>
        <p:txBody>
          <a:bodyPr/>
          <a:lstStyle/>
          <a:p>
            <a:r>
              <a:rPr lang="en-GB" dirty="0"/>
              <a:t>Darryl Murphy </a:t>
            </a:r>
          </a:p>
          <a:p>
            <a:pPr lvl="1"/>
            <a:r>
              <a:rPr lang="en-GB" dirty="0"/>
              <a:t>Managing Director, Head of Infrastructure Debt darryl.murphy@avivainvestors.com</a:t>
            </a:r>
          </a:p>
        </p:txBody>
      </p:sp>
      <p:sp>
        <p:nvSpPr>
          <p:cNvPr id="5" name="Text Placeholder 8">
            <a:extLst>
              <a:ext uri="{FF2B5EF4-FFF2-40B4-BE49-F238E27FC236}">
                <a16:creationId xmlns:a16="http://schemas.microsoft.com/office/drawing/2014/main" id="{9486ADD0-6DE7-EA46-8F93-A1969849E7F9}"/>
              </a:ext>
            </a:extLst>
          </p:cNvPr>
          <p:cNvSpPr>
            <a:spLocks noGrp="1"/>
          </p:cNvSpPr>
          <p:nvPr>
            <p:ph type="body" sz="quarter" idx="14"/>
          </p:nvPr>
        </p:nvSpPr>
        <p:spPr/>
        <p:txBody>
          <a:bodyPr/>
          <a:lstStyle>
            <a:lvl1pPr>
              <a:defRPr sz="1200" b="0">
                <a:solidFill>
                  <a:schemeClr val="bg1"/>
                </a:solidFill>
              </a:defRPr>
            </a:lvl1pPr>
          </a:lstStyle>
          <a:p>
            <a:pPr lvl="0"/>
            <a:r>
              <a:rPr lang="en-US" dirty="0"/>
              <a:t>avivainvestors.com</a:t>
            </a:r>
          </a:p>
        </p:txBody>
      </p:sp>
      <p:sp>
        <p:nvSpPr>
          <p:cNvPr id="2" name="Title 1">
            <a:extLst>
              <a:ext uri="{FF2B5EF4-FFF2-40B4-BE49-F238E27FC236}">
                <a16:creationId xmlns:a16="http://schemas.microsoft.com/office/drawing/2014/main" id="{BE264708-BC77-425D-8F92-096A10645103}"/>
              </a:ext>
            </a:extLst>
          </p:cNvPr>
          <p:cNvSpPr>
            <a:spLocks noGrp="1"/>
          </p:cNvSpPr>
          <p:nvPr>
            <p:ph type="ctrTitle"/>
          </p:nvPr>
        </p:nvSpPr>
        <p:spPr/>
        <p:txBody>
          <a:bodyPr/>
          <a:lstStyle/>
          <a:p>
            <a:r>
              <a:rPr lang="en-GB" dirty="0"/>
              <a:t>Thank you – Q&amp;A</a:t>
            </a:r>
          </a:p>
        </p:txBody>
      </p:sp>
      <p:sp>
        <p:nvSpPr>
          <p:cNvPr id="4" name="TextBox 3">
            <a:extLst>
              <a:ext uri="{FF2B5EF4-FFF2-40B4-BE49-F238E27FC236}">
                <a16:creationId xmlns:a16="http://schemas.microsoft.com/office/drawing/2014/main" id="{AB71B3CB-E0A7-FF40-8738-A2F8B420F8E4}"/>
              </a:ext>
            </a:extLst>
          </p:cNvPr>
          <p:cNvSpPr txBox="1"/>
          <p:nvPr/>
        </p:nvSpPr>
        <p:spPr>
          <a:xfrm>
            <a:off x="6163056" y="5806440"/>
            <a:ext cx="0" cy="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93741"/>
              </a:solidFill>
              <a:effectLst/>
              <a:uLnTx/>
              <a:uFillTx/>
              <a:latin typeface="Source Sans Pro"/>
              <a:ea typeface="+mn-ea"/>
              <a:cs typeface="+mn-cs"/>
            </a:endParaRPr>
          </a:p>
        </p:txBody>
      </p:sp>
      <p:pic>
        <p:nvPicPr>
          <p:cNvPr id="8" name="Picture 7">
            <a:hlinkClick r:id="rId3"/>
            <a:extLst>
              <a:ext uri="{FF2B5EF4-FFF2-40B4-BE49-F238E27FC236}">
                <a16:creationId xmlns:a16="http://schemas.microsoft.com/office/drawing/2014/main" id="{A561A217-D4FA-8349-8349-97B75610B68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19335" y="6070367"/>
            <a:ext cx="228600" cy="190500"/>
          </a:xfrm>
          <a:prstGeom prst="rect">
            <a:avLst/>
          </a:prstGeom>
        </p:spPr>
      </p:pic>
      <p:pic>
        <p:nvPicPr>
          <p:cNvPr id="10" name="Picture 9">
            <a:hlinkClick r:id="rId5"/>
            <a:extLst>
              <a:ext uri="{FF2B5EF4-FFF2-40B4-BE49-F238E27FC236}">
                <a16:creationId xmlns:a16="http://schemas.microsoft.com/office/drawing/2014/main" id="{9CA67424-B458-AF4D-9C96-FB629BF9CC1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81615" y="6070367"/>
            <a:ext cx="203200" cy="190500"/>
          </a:xfrm>
          <a:prstGeom prst="rect">
            <a:avLst/>
          </a:prstGeom>
        </p:spPr>
      </p:pic>
    </p:spTree>
    <p:extLst>
      <p:ext uri="{BB962C8B-B14F-4D97-AF65-F5344CB8AC3E}">
        <p14:creationId xmlns:p14="http://schemas.microsoft.com/office/powerpoint/2010/main" val="2193593872"/>
      </p:ext>
    </p:extLst>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92695-7796-E07F-E2B7-B4DEB22F7A86}"/>
              </a:ext>
            </a:extLst>
          </p:cNvPr>
          <p:cNvSpPr>
            <a:spLocks noGrp="1"/>
          </p:cNvSpPr>
          <p:nvPr>
            <p:ph type="title"/>
          </p:nvPr>
        </p:nvSpPr>
        <p:spPr/>
        <p:txBody>
          <a:bodyPr/>
          <a:lstStyle/>
          <a:p>
            <a:r>
              <a:rPr lang="en-US" sz="2800" dirty="0"/>
              <a:t>Role of the UK Infrastructure Bank</a:t>
            </a:r>
          </a:p>
        </p:txBody>
      </p:sp>
      <p:sp>
        <p:nvSpPr>
          <p:cNvPr id="3" name="Text Placeholder 2">
            <a:extLst>
              <a:ext uri="{FF2B5EF4-FFF2-40B4-BE49-F238E27FC236}">
                <a16:creationId xmlns:a16="http://schemas.microsoft.com/office/drawing/2014/main" id="{E01B5F8D-DE66-FA82-18A8-A0D59EAA2DAD}"/>
              </a:ext>
            </a:extLst>
          </p:cNvPr>
          <p:cNvSpPr>
            <a:spLocks noGrp="1"/>
          </p:cNvSpPr>
          <p:nvPr>
            <p:ph type="body" sz="quarter" idx="10"/>
          </p:nvPr>
        </p:nvSpPr>
        <p:spPr/>
        <p:txBody>
          <a:bodyPr/>
          <a:lstStyle/>
          <a:p>
            <a:r>
              <a:rPr lang="en-US" dirty="0"/>
              <a:t>3</a:t>
            </a:r>
          </a:p>
        </p:txBody>
      </p:sp>
      <p:pic>
        <p:nvPicPr>
          <p:cNvPr id="9" name="Picture Placeholder 7">
            <a:extLst>
              <a:ext uri="{FF2B5EF4-FFF2-40B4-BE49-F238E27FC236}">
                <a16:creationId xmlns:a16="http://schemas.microsoft.com/office/drawing/2014/main" id="{56EE7544-A0B9-FFD5-2EE8-A58637C0673B}"/>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p:blipFill>
        <p:spPr>
          <a:xfrm>
            <a:off x="7683500" y="476250"/>
            <a:ext cx="3995738" cy="5905500"/>
          </a:xfrm>
        </p:spPr>
      </p:pic>
      <p:sp>
        <p:nvSpPr>
          <p:cNvPr id="11" name="Title 1">
            <a:extLst>
              <a:ext uri="{FF2B5EF4-FFF2-40B4-BE49-F238E27FC236}">
                <a16:creationId xmlns:a16="http://schemas.microsoft.com/office/drawing/2014/main" id="{FF215498-6F95-AE16-25EB-9E40FBA6020D}"/>
              </a:ext>
            </a:extLst>
          </p:cNvPr>
          <p:cNvSpPr txBox="1">
            <a:spLocks/>
          </p:cNvSpPr>
          <p:nvPr/>
        </p:nvSpPr>
        <p:spPr>
          <a:xfrm>
            <a:off x="515814" y="5719271"/>
            <a:ext cx="2870874" cy="692497"/>
          </a:xfrm>
          <a:prstGeom prst="rect">
            <a:avLst/>
          </a:prstGeom>
        </p:spPr>
        <p:txBody>
          <a:bodyPr vert="horz" wrap="square" lIns="0" tIns="0" rIns="0" bIns="0" rtlCol="0" anchor="t">
            <a:spAutoFit/>
          </a:bodyPr>
          <a:lstStyle>
            <a:lvl1pPr eaLnBrk="1" hangingPunct="1">
              <a:lnSpc>
                <a:spcPct val="90000"/>
              </a:lnSpc>
              <a:defRPr sz="3600" b="0" kern="1200" baseline="0">
                <a:solidFill>
                  <a:schemeClr val="bg1">
                    <a:alpha val="80000"/>
                  </a:schemeClr>
                </a:solidFill>
                <a:latin typeface="+mj-lt"/>
                <a:ea typeface="+mj-ea"/>
                <a:cs typeface="+mj-cs"/>
              </a:defRPr>
            </a:lvl1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80BBAD"/>
                </a:solidFill>
                <a:effectLst/>
                <a:uLnTx/>
                <a:uFillTx/>
                <a:latin typeface="Calibre Semibold" panose="020B0703030202060203" pitchFamily="34" charset="0"/>
                <a:ea typeface="+mj-ea"/>
                <a:cs typeface="+mj-cs"/>
              </a:rPr>
              <a:t>Jeremy Barker</a:t>
            </a:r>
          </a:p>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D1D3"/>
                </a:solidFill>
                <a:effectLst/>
                <a:uLnTx/>
                <a:uFillTx/>
                <a:latin typeface="Calibre"/>
                <a:ea typeface="+mj-ea"/>
                <a:cs typeface="+mj-cs"/>
              </a:rPr>
              <a:t>Director, Banking &amp; Investments, </a:t>
            </a:r>
            <a:br>
              <a:rPr kumimoji="0" lang="en-GB" sz="1600" b="0" i="0" u="none" strike="noStrike" kern="1200" cap="none" spc="0" normalizeH="0" baseline="0" noProof="0" dirty="0">
                <a:ln>
                  <a:noFill/>
                </a:ln>
                <a:solidFill>
                  <a:srgbClr val="CAD1D3"/>
                </a:solidFill>
                <a:effectLst/>
                <a:uLnTx/>
                <a:uFillTx/>
                <a:latin typeface="Calibre"/>
                <a:ea typeface="+mj-ea"/>
                <a:cs typeface="+mj-cs"/>
              </a:rPr>
            </a:br>
            <a:r>
              <a:rPr kumimoji="0" lang="en-GB" sz="1600" b="0" i="0" u="none" strike="noStrike" kern="1200" cap="none" spc="0" normalizeH="0" baseline="0" noProof="0" dirty="0">
                <a:ln>
                  <a:noFill/>
                </a:ln>
                <a:solidFill>
                  <a:srgbClr val="CAD1D3"/>
                </a:solidFill>
                <a:effectLst/>
                <a:uLnTx/>
                <a:uFillTx/>
                <a:latin typeface="Calibre"/>
                <a:ea typeface="+mj-ea"/>
                <a:cs typeface="+mj-cs"/>
              </a:rPr>
              <a:t>UK Infrastructure Bank</a:t>
            </a:r>
          </a:p>
        </p:txBody>
      </p:sp>
      <p:pic>
        <p:nvPicPr>
          <p:cNvPr id="14" name="Picture 13">
            <a:extLst>
              <a:ext uri="{FF2B5EF4-FFF2-40B4-BE49-F238E27FC236}">
                <a16:creationId xmlns:a16="http://schemas.microsoft.com/office/drawing/2014/main" id="{3D9F2937-1E08-441B-83DD-65156858083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5815" y="4374231"/>
            <a:ext cx="1016125" cy="1256336"/>
          </a:xfrm>
          <a:prstGeom prst="rect">
            <a:avLst/>
          </a:prstGeom>
        </p:spPr>
      </p:pic>
    </p:spTree>
    <p:extLst>
      <p:ext uri="{BB962C8B-B14F-4D97-AF65-F5344CB8AC3E}">
        <p14:creationId xmlns:p14="http://schemas.microsoft.com/office/powerpoint/2010/main" val="20440946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nvGrpSpPr>
          <p:cNvPr id="3" name="object 3"/>
          <p:cNvGrpSpPr/>
          <p:nvPr/>
        </p:nvGrpSpPr>
        <p:grpSpPr>
          <a:xfrm>
            <a:off x="2344547" y="0"/>
            <a:ext cx="9847580" cy="6858000"/>
            <a:chOff x="2344547" y="0"/>
            <a:chExt cx="9847580" cy="6858000"/>
          </a:xfrm>
        </p:grpSpPr>
        <p:pic>
          <p:nvPicPr>
            <p:cNvPr id="4" name="object 4"/>
            <p:cNvPicPr/>
            <p:nvPr/>
          </p:nvPicPr>
          <p:blipFill>
            <a:blip r:embed="rId2" cstate="screen">
              <a:extLst>
                <a:ext uri="{28A0092B-C50C-407E-A947-70E740481C1C}">
                  <a14:useLocalDpi xmlns:a14="http://schemas.microsoft.com/office/drawing/2010/main"/>
                </a:ext>
              </a:extLst>
            </a:blip>
            <a:stretch>
              <a:fillRect/>
            </a:stretch>
          </p:blipFill>
          <p:spPr>
            <a:xfrm>
              <a:off x="9329928" y="0"/>
              <a:ext cx="2861945" cy="6857997"/>
            </a:xfrm>
            <a:prstGeom prst="rect">
              <a:avLst/>
            </a:prstGeom>
          </p:spPr>
        </p:pic>
        <p:pic>
          <p:nvPicPr>
            <p:cNvPr id="5" name="object 5"/>
            <p:cNvPicPr/>
            <p:nvPr/>
          </p:nvPicPr>
          <p:blipFill>
            <a:blip r:embed="rId3" cstate="screen">
              <a:extLst>
                <a:ext uri="{28A0092B-C50C-407E-A947-70E740481C1C}">
                  <a14:useLocalDpi xmlns:a14="http://schemas.microsoft.com/office/drawing/2010/main"/>
                </a:ext>
              </a:extLst>
            </a:blip>
            <a:stretch>
              <a:fillRect/>
            </a:stretch>
          </p:blipFill>
          <p:spPr>
            <a:xfrm>
              <a:off x="2344547" y="2659710"/>
              <a:ext cx="7318883" cy="977188"/>
            </a:xfrm>
            <a:prstGeom prst="rect">
              <a:avLst/>
            </a:prstGeom>
          </p:spPr>
        </p:pic>
      </p:grpSp>
      <p:grpSp>
        <p:nvGrpSpPr>
          <p:cNvPr id="6" name="object 6"/>
          <p:cNvGrpSpPr/>
          <p:nvPr/>
        </p:nvGrpSpPr>
        <p:grpSpPr>
          <a:xfrm>
            <a:off x="851932" y="464261"/>
            <a:ext cx="1682750" cy="148590"/>
            <a:chOff x="851932" y="464261"/>
            <a:chExt cx="1682750" cy="148590"/>
          </a:xfrm>
        </p:grpSpPr>
        <p:sp>
          <p:nvSpPr>
            <p:cNvPr id="7" name="object 7"/>
            <p:cNvSpPr/>
            <p:nvPr/>
          </p:nvSpPr>
          <p:spPr>
            <a:xfrm>
              <a:off x="851932" y="467641"/>
              <a:ext cx="33020" cy="141605"/>
            </a:xfrm>
            <a:custGeom>
              <a:avLst/>
              <a:gdLst/>
              <a:ahLst/>
              <a:cxnLst/>
              <a:rect l="l" t="t" r="r" b="b"/>
              <a:pathLst>
                <a:path w="33019" h="141604">
                  <a:moveTo>
                    <a:pt x="32670" y="0"/>
                  </a:moveTo>
                  <a:lnTo>
                    <a:pt x="0" y="0"/>
                  </a:lnTo>
                  <a:lnTo>
                    <a:pt x="0" y="141543"/>
                  </a:lnTo>
                  <a:lnTo>
                    <a:pt x="32670" y="141543"/>
                  </a:lnTo>
                  <a:lnTo>
                    <a:pt x="32670"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8" name="object 8"/>
            <p:cNvPicPr/>
            <p:nvPr/>
          </p:nvPicPr>
          <p:blipFill>
            <a:blip r:embed="rId4" cstate="screen">
              <a:extLst>
                <a:ext uri="{28A0092B-C50C-407E-A947-70E740481C1C}">
                  <a14:useLocalDpi xmlns:a14="http://schemas.microsoft.com/office/drawing/2010/main"/>
                </a:ext>
              </a:extLst>
            </a:blip>
            <a:stretch>
              <a:fillRect/>
            </a:stretch>
          </p:blipFill>
          <p:spPr>
            <a:xfrm>
              <a:off x="915837" y="467641"/>
              <a:ext cx="137406" cy="141543"/>
            </a:xfrm>
            <a:prstGeom prst="rect">
              <a:avLst/>
            </a:prstGeom>
          </p:spPr>
        </p:pic>
        <p:sp>
          <p:nvSpPr>
            <p:cNvPr id="9" name="object 9"/>
            <p:cNvSpPr/>
            <p:nvPr/>
          </p:nvSpPr>
          <p:spPr>
            <a:xfrm>
              <a:off x="1083983" y="464273"/>
              <a:ext cx="836930" cy="148590"/>
            </a:xfrm>
            <a:custGeom>
              <a:avLst/>
              <a:gdLst/>
              <a:ahLst/>
              <a:cxnLst/>
              <a:rect l="l" t="t" r="r" b="b"/>
              <a:pathLst>
                <a:path w="836930" h="148590">
                  <a:moveTo>
                    <a:pt x="78346" y="3149"/>
                  </a:moveTo>
                  <a:lnTo>
                    <a:pt x="0" y="3149"/>
                  </a:lnTo>
                  <a:lnTo>
                    <a:pt x="0" y="31165"/>
                  </a:lnTo>
                  <a:lnTo>
                    <a:pt x="0" y="57912"/>
                  </a:lnTo>
                  <a:lnTo>
                    <a:pt x="0" y="85915"/>
                  </a:lnTo>
                  <a:lnTo>
                    <a:pt x="0" y="144487"/>
                  </a:lnTo>
                  <a:lnTo>
                    <a:pt x="32740" y="144487"/>
                  </a:lnTo>
                  <a:lnTo>
                    <a:pt x="32740" y="85915"/>
                  </a:lnTo>
                  <a:lnTo>
                    <a:pt x="75018" y="85915"/>
                  </a:lnTo>
                  <a:lnTo>
                    <a:pt x="75018" y="57912"/>
                  </a:lnTo>
                  <a:lnTo>
                    <a:pt x="32740" y="57912"/>
                  </a:lnTo>
                  <a:lnTo>
                    <a:pt x="32740" y="31165"/>
                  </a:lnTo>
                  <a:lnTo>
                    <a:pt x="78346" y="31165"/>
                  </a:lnTo>
                  <a:lnTo>
                    <a:pt x="78346" y="3149"/>
                  </a:lnTo>
                  <a:close/>
                </a:path>
                <a:path w="836930" h="148590">
                  <a:moveTo>
                    <a:pt x="212420" y="144919"/>
                  </a:moveTo>
                  <a:lnTo>
                    <a:pt x="170624" y="88887"/>
                  </a:lnTo>
                  <a:lnTo>
                    <a:pt x="169176" y="86956"/>
                  </a:lnTo>
                  <a:lnTo>
                    <a:pt x="176872" y="85013"/>
                  </a:lnTo>
                  <a:lnTo>
                    <a:pt x="184048" y="80670"/>
                  </a:lnTo>
                  <a:lnTo>
                    <a:pt x="188849" y="75831"/>
                  </a:lnTo>
                  <a:lnTo>
                    <a:pt x="194449" y="68935"/>
                  </a:lnTo>
                  <a:lnTo>
                    <a:pt x="195046" y="67627"/>
                  </a:lnTo>
                  <a:lnTo>
                    <a:pt x="197827" y="61582"/>
                  </a:lnTo>
                  <a:lnTo>
                    <a:pt x="199491" y="54229"/>
                  </a:lnTo>
                  <a:lnTo>
                    <a:pt x="199936" y="47332"/>
                  </a:lnTo>
                  <a:lnTo>
                    <a:pt x="198793" y="36449"/>
                  </a:lnTo>
                  <a:lnTo>
                    <a:pt x="173736" y="7061"/>
                  </a:lnTo>
                  <a:lnTo>
                    <a:pt x="166751" y="5194"/>
                  </a:lnTo>
                  <a:lnTo>
                    <a:pt x="166751" y="39611"/>
                  </a:lnTo>
                  <a:lnTo>
                    <a:pt x="166751" y="54584"/>
                  </a:lnTo>
                  <a:lnTo>
                    <a:pt x="163868" y="58928"/>
                  </a:lnTo>
                  <a:lnTo>
                    <a:pt x="161493" y="61353"/>
                  </a:lnTo>
                  <a:lnTo>
                    <a:pt x="156184" y="67144"/>
                  </a:lnTo>
                  <a:lnTo>
                    <a:pt x="148043" y="67627"/>
                  </a:lnTo>
                  <a:lnTo>
                    <a:pt x="134594" y="67627"/>
                  </a:lnTo>
                  <a:lnTo>
                    <a:pt x="134594" y="28498"/>
                  </a:lnTo>
                  <a:lnTo>
                    <a:pt x="146570" y="28498"/>
                  </a:lnTo>
                  <a:lnTo>
                    <a:pt x="154774" y="28981"/>
                  </a:lnTo>
                  <a:lnTo>
                    <a:pt x="160020" y="33324"/>
                  </a:lnTo>
                  <a:lnTo>
                    <a:pt x="162902" y="35267"/>
                  </a:lnTo>
                  <a:lnTo>
                    <a:pt x="166751" y="39611"/>
                  </a:lnTo>
                  <a:lnTo>
                    <a:pt x="166751" y="5194"/>
                  </a:lnTo>
                  <a:lnTo>
                    <a:pt x="163766" y="4381"/>
                  </a:lnTo>
                  <a:lnTo>
                    <a:pt x="151371" y="3378"/>
                  </a:lnTo>
                  <a:lnTo>
                    <a:pt x="102374" y="3378"/>
                  </a:lnTo>
                  <a:lnTo>
                    <a:pt x="102374" y="144919"/>
                  </a:lnTo>
                  <a:lnTo>
                    <a:pt x="134594" y="144919"/>
                  </a:lnTo>
                  <a:lnTo>
                    <a:pt x="134594" y="88887"/>
                  </a:lnTo>
                  <a:lnTo>
                    <a:pt x="172516" y="144919"/>
                  </a:lnTo>
                  <a:lnTo>
                    <a:pt x="212420" y="144919"/>
                  </a:lnTo>
                  <a:close/>
                </a:path>
                <a:path w="836930" h="148590">
                  <a:moveTo>
                    <a:pt x="359956" y="144919"/>
                  </a:moveTo>
                  <a:lnTo>
                    <a:pt x="349491" y="118351"/>
                  </a:lnTo>
                  <a:lnTo>
                    <a:pt x="339598" y="93230"/>
                  </a:lnTo>
                  <a:lnTo>
                    <a:pt x="320763" y="45402"/>
                  </a:lnTo>
                  <a:lnTo>
                    <a:pt x="306590" y="9410"/>
                  </a:lnTo>
                  <a:lnTo>
                    <a:pt x="306590" y="93230"/>
                  </a:lnTo>
                  <a:lnTo>
                    <a:pt x="271995" y="93230"/>
                  </a:lnTo>
                  <a:lnTo>
                    <a:pt x="289293" y="45402"/>
                  </a:lnTo>
                  <a:lnTo>
                    <a:pt x="306590" y="93230"/>
                  </a:lnTo>
                  <a:lnTo>
                    <a:pt x="306590" y="9410"/>
                  </a:lnTo>
                  <a:lnTo>
                    <a:pt x="304215" y="3378"/>
                  </a:lnTo>
                  <a:lnTo>
                    <a:pt x="274434" y="3378"/>
                  </a:lnTo>
                  <a:lnTo>
                    <a:pt x="217678" y="144919"/>
                  </a:lnTo>
                  <a:lnTo>
                    <a:pt x="251371" y="144919"/>
                  </a:lnTo>
                  <a:lnTo>
                    <a:pt x="262394" y="118351"/>
                  </a:lnTo>
                  <a:lnTo>
                    <a:pt x="315747" y="118351"/>
                  </a:lnTo>
                  <a:lnTo>
                    <a:pt x="326313" y="144919"/>
                  </a:lnTo>
                  <a:lnTo>
                    <a:pt x="359956" y="144919"/>
                  </a:lnTo>
                  <a:close/>
                </a:path>
                <a:path w="836930" h="148590">
                  <a:moveTo>
                    <a:pt x="468528" y="98539"/>
                  </a:moveTo>
                  <a:lnTo>
                    <a:pt x="445020" y="63766"/>
                  </a:lnTo>
                  <a:lnTo>
                    <a:pt x="428167" y="57480"/>
                  </a:lnTo>
                  <a:lnTo>
                    <a:pt x="419011" y="53619"/>
                  </a:lnTo>
                  <a:lnTo>
                    <a:pt x="414210" y="52654"/>
                  </a:lnTo>
                  <a:lnTo>
                    <a:pt x="410362" y="49263"/>
                  </a:lnTo>
                  <a:lnTo>
                    <a:pt x="408444" y="47332"/>
                  </a:lnTo>
                  <a:lnTo>
                    <a:pt x="407479" y="44919"/>
                  </a:lnTo>
                  <a:lnTo>
                    <a:pt x="407479" y="37680"/>
                  </a:lnTo>
                  <a:lnTo>
                    <a:pt x="408952" y="34785"/>
                  </a:lnTo>
                  <a:lnTo>
                    <a:pt x="410883" y="32359"/>
                  </a:lnTo>
                  <a:lnTo>
                    <a:pt x="414718" y="28498"/>
                  </a:lnTo>
                  <a:lnTo>
                    <a:pt x="420484" y="27533"/>
                  </a:lnTo>
                  <a:lnTo>
                    <a:pt x="424776" y="27533"/>
                  </a:lnTo>
                  <a:lnTo>
                    <a:pt x="428599" y="27825"/>
                  </a:lnTo>
                  <a:lnTo>
                    <a:pt x="434047" y="29159"/>
                  </a:lnTo>
                  <a:lnTo>
                    <a:pt x="440753" y="32219"/>
                  </a:lnTo>
                  <a:lnTo>
                    <a:pt x="448348" y="37680"/>
                  </a:lnTo>
                  <a:lnTo>
                    <a:pt x="462762" y="14008"/>
                  </a:lnTo>
                  <a:lnTo>
                    <a:pt x="450761" y="6718"/>
                  </a:lnTo>
                  <a:lnTo>
                    <a:pt x="439521" y="2463"/>
                  </a:lnTo>
                  <a:lnTo>
                    <a:pt x="429437" y="482"/>
                  </a:lnTo>
                  <a:lnTo>
                    <a:pt x="420928" y="0"/>
                  </a:lnTo>
                  <a:lnTo>
                    <a:pt x="411492" y="609"/>
                  </a:lnTo>
                  <a:lnTo>
                    <a:pt x="376859" y="27533"/>
                  </a:lnTo>
                  <a:lnTo>
                    <a:pt x="373849" y="44919"/>
                  </a:lnTo>
                  <a:lnTo>
                    <a:pt x="374192" y="50533"/>
                  </a:lnTo>
                  <a:lnTo>
                    <a:pt x="402234" y="80670"/>
                  </a:lnTo>
                  <a:lnTo>
                    <a:pt x="417601" y="86474"/>
                  </a:lnTo>
                  <a:lnTo>
                    <a:pt x="426250" y="89369"/>
                  </a:lnTo>
                  <a:lnTo>
                    <a:pt x="430098" y="92748"/>
                  </a:lnTo>
                  <a:lnTo>
                    <a:pt x="433425" y="95161"/>
                  </a:lnTo>
                  <a:lnTo>
                    <a:pt x="434898" y="98056"/>
                  </a:lnTo>
                  <a:lnTo>
                    <a:pt x="434898" y="108204"/>
                  </a:lnTo>
                  <a:lnTo>
                    <a:pt x="432981" y="112064"/>
                  </a:lnTo>
                  <a:lnTo>
                    <a:pt x="425284" y="118351"/>
                  </a:lnTo>
                  <a:lnTo>
                    <a:pt x="419519" y="119316"/>
                  </a:lnTo>
                  <a:lnTo>
                    <a:pt x="408952" y="119316"/>
                  </a:lnTo>
                  <a:lnTo>
                    <a:pt x="384416" y="103365"/>
                  </a:lnTo>
                  <a:lnTo>
                    <a:pt x="367639" y="126555"/>
                  </a:lnTo>
                  <a:lnTo>
                    <a:pt x="401662" y="146786"/>
                  </a:lnTo>
                  <a:lnTo>
                    <a:pt x="416128" y="148297"/>
                  </a:lnTo>
                  <a:lnTo>
                    <a:pt x="424472" y="147866"/>
                  </a:lnTo>
                  <a:lnTo>
                    <a:pt x="461048" y="127076"/>
                  </a:lnTo>
                  <a:lnTo>
                    <a:pt x="467601" y="109080"/>
                  </a:lnTo>
                  <a:lnTo>
                    <a:pt x="468528" y="98539"/>
                  </a:lnTo>
                  <a:close/>
                </a:path>
                <a:path w="836930" h="148590">
                  <a:moveTo>
                    <a:pt x="571855" y="3149"/>
                  </a:moveTo>
                  <a:lnTo>
                    <a:pt x="478142" y="3149"/>
                  </a:lnTo>
                  <a:lnTo>
                    <a:pt x="478142" y="31165"/>
                  </a:lnTo>
                  <a:lnTo>
                    <a:pt x="508889" y="31165"/>
                  </a:lnTo>
                  <a:lnTo>
                    <a:pt x="508889" y="144487"/>
                  </a:lnTo>
                  <a:lnTo>
                    <a:pt x="541553" y="144487"/>
                  </a:lnTo>
                  <a:lnTo>
                    <a:pt x="541553" y="31165"/>
                  </a:lnTo>
                  <a:lnTo>
                    <a:pt x="571855" y="31165"/>
                  </a:lnTo>
                  <a:lnTo>
                    <a:pt x="571855" y="3149"/>
                  </a:lnTo>
                  <a:close/>
                </a:path>
                <a:path w="836930" h="148590">
                  <a:moveTo>
                    <a:pt x="699211" y="144919"/>
                  </a:moveTo>
                  <a:lnTo>
                    <a:pt x="657402" y="88887"/>
                  </a:lnTo>
                  <a:lnTo>
                    <a:pt x="655967" y="86956"/>
                  </a:lnTo>
                  <a:lnTo>
                    <a:pt x="664108" y="85013"/>
                  </a:lnTo>
                  <a:lnTo>
                    <a:pt x="670826" y="80670"/>
                  </a:lnTo>
                  <a:lnTo>
                    <a:pt x="686714" y="47332"/>
                  </a:lnTo>
                  <a:lnTo>
                    <a:pt x="685647" y="36449"/>
                  </a:lnTo>
                  <a:lnTo>
                    <a:pt x="660793" y="7061"/>
                  </a:lnTo>
                  <a:lnTo>
                    <a:pt x="654050" y="5257"/>
                  </a:lnTo>
                  <a:lnTo>
                    <a:pt x="654050" y="39611"/>
                  </a:lnTo>
                  <a:lnTo>
                    <a:pt x="654050" y="54584"/>
                  </a:lnTo>
                  <a:lnTo>
                    <a:pt x="650646" y="58928"/>
                  </a:lnTo>
                  <a:lnTo>
                    <a:pt x="648728" y="61353"/>
                  </a:lnTo>
                  <a:lnTo>
                    <a:pt x="642962" y="67144"/>
                  </a:lnTo>
                  <a:lnTo>
                    <a:pt x="634758" y="67627"/>
                  </a:lnTo>
                  <a:lnTo>
                    <a:pt x="621817" y="67627"/>
                  </a:lnTo>
                  <a:lnTo>
                    <a:pt x="621817" y="28498"/>
                  </a:lnTo>
                  <a:lnTo>
                    <a:pt x="633349" y="28498"/>
                  </a:lnTo>
                  <a:lnTo>
                    <a:pt x="641997" y="28981"/>
                  </a:lnTo>
                  <a:lnTo>
                    <a:pt x="647319" y="33324"/>
                  </a:lnTo>
                  <a:lnTo>
                    <a:pt x="650201" y="35267"/>
                  </a:lnTo>
                  <a:lnTo>
                    <a:pt x="654050" y="39611"/>
                  </a:lnTo>
                  <a:lnTo>
                    <a:pt x="654050" y="5257"/>
                  </a:lnTo>
                  <a:lnTo>
                    <a:pt x="650811" y="4381"/>
                  </a:lnTo>
                  <a:lnTo>
                    <a:pt x="638606" y="3378"/>
                  </a:lnTo>
                  <a:lnTo>
                    <a:pt x="589153" y="3378"/>
                  </a:lnTo>
                  <a:lnTo>
                    <a:pt x="589153" y="144919"/>
                  </a:lnTo>
                  <a:lnTo>
                    <a:pt x="621817" y="144919"/>
                  </a:lnTo>
                  <a:lnTo>
                    <a:pt x="621817" y="88887"/>
                  </a:lnTo>
                  <a:lnTo>
                    <a:pt x="659815" y="144919"/>
                  </a:lnTo>
                  <a:lnTo>
                    <a:pt x="699211" y="144919"/>
                  </a:lnTo>
                  <a:close/>
                </a:path>
                <a:path w="836930" h="148590">
                  <a:moveTo>
                    <a:pt x="836612" y="3378"/>
                  </a:moveTo>
                  <a:lnTo>
                    <a:pt x="803948" y="3378"/>
                  </a:lnTo>
                  <a:lnTo>
                    <a:pt x="803948" y="92265"/>
                  </a:lnTo>
                  <a:lnTo>
                    <a:pt x="803427" y="102882"/>
                  </a:lnTo>
                  <a:lnTo>
                    <a:pt x="790943" y="116420"/>
                  </a:lnTo>
                  <a:lnTo>
                    <a:pt x="783247" y="117386"/>
                  </a:lnTo>
                  <a:lnTo>
                    <a:pt x="770763" y="117386"/>
                  </a:lnTo>
                  <a:lnTo>
                    <a:pt x="763066" y="116420"/>
                  </a:lnTo>
                  <a:lnTo>
                    <a:pt x="757313" y="110134"/>
                  </a:lnTo>
                  <a:lnTo>
                    <a:pt x="750138" y="102882"/>
                  </a:lnTo>
                  <a:lnTo>
                    <a:pt x="750138" y="3378"/>
                  </a:lnTo>
                  <a:lnTo>
                    <a:pt x="717461" y="3378"/>
                  </a:lnTo>
                  <a:lnTo>
                    <a:pt x="717461" y="86956"/>
                  </a:lnTo>
                  <a:lnTo>
                    <a:pt x="717905" y="97637"/>
                  </a:lnTo>
                  <a:lnTo>
                    <a:pt x="743508" y="140347"/>
                  </a:lnTo>
                  <a:lnTo>
                    <a:pt x="777036" y="148297"/>
                  </a:lnTo>
                  <a:lnTo>
                    <a:pt x="788238" y="147701"/>
                  </a:lnTo>
                  <a:lnTo>
                    <a:pt x="829094" y="120637"/>
                  </a:lnTo>
                  <a:lnTo>
                    <a:pt x="836612" y="86956"/>
                  </a:lnTo>
                  <a:lnTo>
                    <a:pt x="836612" y="3378"/>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0" name="object 10"/>
            <p:cNvPicPr/>
            <p:nvPr/>
          </p:nvPicPr>
          <p:blipFill>
            <a:blip r:embed="rId5" cstate="screen">
              <a:extLst>
                <a:ext uri="{28A0092B-C50C-407E-A947-70E740481C1C}">
                  <a14:useLocalDpi xmlns:a14="http://schemas.microsoft.com/office/drawing/2010/main"/>
                </a:ext>
              </a:extLst>
            </a:blip>
            <a:stretch>
              <a:fillRect/>
            </a:stretch>
          </p:blipFill>
          <p:spPr>
            <a:xfrm>
              <a:off x="1944624" y="464261"/>
              <a:ext cx="350786" cy="148305"/>
            </a:xfrm>
            <a:prstGeom prst="rect">
              <a:avLst/>
            </a:prstGeom>
          </p:spPr>
        </p:pic>
        <p:pic>
          <p:nvPicPr>
            <p:cNvPr id="11" name="object 11"/>
            <p:cNvPicPr/>
            <p:nvPr/>
          </p:nvPicPr>
          <p:blipFill>
            <a:blip r:embed="rId6" cstate="screen">
              <a:extLst>
                <a:ext uri="{28A0092B-C50C-407E-A947-70E740481C1C}">
                  <a14:useLocalDpi xmlns:a14="http://schemas.microsoft.com/office/drawing/2010/main"/>
                </a:ext>
              </a:extLst>
            </a:blip>
            <a:stretch>
              <a:fillRect/>
            </a:stretch>
          </p:blipFill>
          <p:spPr>
            <a:xfrm>
              <a:off x="2326159" y="467421"/>
              <a:ext cx="208063" cy="141764"/>
            </a:xfrm>
            <a:prstGeom prst="rect">
              <a:avLst/>
            </a:prstGeom>
          </p:spPr>
        </p:pic>
      </p:grpSp>
      <p:grpSp>
        <p:nvGrpSpPr>
          <p:cNvPr id="12" name="object 12"/>
          <p:cNvGrpSpPr/>
          <p:nvPr/>
        </p:nvGrpSpPr>
        <p:grpSpPr>
          <a:xfrm>
            <a:off x="851451" y="666670"/>
            <a:ext cx="561340" cy="141605"/>
            <a:chOff x="851451" y="666670"/>
            <a:chExt cx="561340" cy="141605"/>
          </a:xfrm>
        </p:grpSpPr>
        <p:pic>
          <p:nvPicPr>
            <p:cNvPr id="13" name="object 13"/>
            <p:cNvPicPr/>
            <p:nvPr/>
          </p:nvPicPr>
          <p:blipFill>
            <a:blip r:embed="rId7" cstate="screen">
              <a:extLst>
                <a:ext uri="{28A0092B-C50C-407E-A947-70E740481C1C}">
                  <a14:useLocalDpi xmlns:a14="http://schemas.microsoft.com/office/drawing/2010/main"/>
                </a:ext>
              </a:extLst>
            </a:blip>
            <a:stretch>
              <a:fillRect/>
            </a:stretch>
          </p:blipFill>
          <p:spPr>
            <a:xfrm>
              <a:off x="851451" y="666670"/>
              <a:ext cx="405563" cy="141537"/>
            </a:xfrm>
            <a:prstGeom prst="rect">
              <a:avLst/>
            </a:prstGeom>
          </p:spPr>
        </p:pic>
        <p:pic>
          <p:nvPicPr>
            <p:cNvPr id="14" name="object 14"/>
            <p:cNvPicPr/>
            <p:nvPr/>
          </p:nvPicPr>
          <p:blipFill>
            <a:blip r:embed="rId8" cstate="screen">
              <a:extLst>
                <a:ext uri="{28A0092B-C50C-407E-A947-70E740481C1C}">
                  <a14:useLocalDpi xmlns:a14="http://schemas.microsoft.com/office/drawing/2010/main"/>
                </a:ext>
              </a:extLst>
            </a:blip>
            <a:stretch>
              <a:fillRect/>
            </a:stretch>
          </p:blipFill>
          <p:spPr>
            <a:xfrm>
              <a:off x="1287763" y="666670"/>
              <a:ext cx="124914" cy="141537"/>
            </a:xfrm>
            <a:prstGeom prst="rect">
              <a:avLst/>
            </a:prstGeom>
          </p:spPr>
        </p:pic>
      </p:grpSp>
      <p:grpSp>
        <p:nvGrpSpPr>
          <p:cNvPr id="15" name="object 15"/>
          <p:cNvGrpSpPr/>
          <p:nvPr/>
        </p:nvGrpSpPr>
        <p:grpSpPr>
          <a:xfrm>
            <a:off x="513162" y="467641"/>
            <a:ext cx="282575" cy="340995"/>
            <a:chOff x="513162" y="467641"/>
            <a:chExt cx="282575" cy="340995"/>
          </a:xfrm>
        </p:grpSpPr>
        <p:sp>
          <p:nvSpPr>
            <p:cNvPr id="16" name="object 16"/>
            <p:cNvSpPr/>
            <p:nvPr/>
          </p:nvSpPr>
          <p:spPr>
            <a:xfrm>
              <a:off x="654438" y="467641"/>
              <a:ext cx="141605" cy="340995"/>
            </a:xfrm>
            <a:custGeom>
              <a:avLst/>
              <a:gdLst/>
              <a:ahLst/>
              <a:cxnLst/>
              <a:rect l="l" t="t" r="r" b="b"/>
              <a:pathLst>
                <a:path w="141604" h="340995">
                  <a:moveTo>
                    <a:pt x="141269" y="0"/>
                  </a:moveTo>
                  <a:lnTo>
                    <a:pt x="0" y="0"/>
                  </a:lnTo>
                  <a:lnTo>
                    <a:pt x="10916" y="2204"/>
                  </a:lnTo>
                  <a:lnTo>
                    <a:pt x="19941" y="8213"/>
                  </a:lnTo>
                  <a:lnTo>
                    <a:pt x="26084" y="17120"/>
                  </a:lnTo>
                  <a:lnTo>
                    <a:pt x="28352" y="28017"/>
                  </a:lnTo>
                  <a:lnTo>
                    <a:pt x="28352" y="340565"/>
                  </a:lnTo>
                  <a:lnTo>
                    <a:pt x="141269" y="340565"/>
                  </a:lnTo>
                  <a:lnTo>
                    <a:pt x="141269" y="284047"/>
                  </a:lnTo>
                  <a:lnTo>
                    <a:pt x="56218" y="170044"/>
                  </a:lnTo>
                  <a:lnTo>
                    <a:pt x="141269" y="56518"/>
                  </a:lnTo>
                  <a:lnTo>
                    <a:pt x="141269"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7" name="object 17"/>
            <p:cNvSpPr/>
            <p:nvPr/>
          </p:nvSpPr>
          <p:spPr>
            <a:xfrm>
              <a:off x="513162" y="467641"/>
              <a:ext cx="141605" cy="340995"/>
            </a:xfrm>
            <a:custGeom>
              <a:avLst/>
              <a:gdLst/>
              <a:ahLst/>
              <a:cxnLst/>
              <a:rect l="l" t="t" r="r" b="b"/>
              <a:pathLst>
                <a:path w="141604" h="340995">
                  <a:moveTo>
                    <a:pt x="141275" y="0"/>
                  </a:moveTo>
                  <a:lnTo>
                    <a:pt x="0" y="0"/>
                  </a:lnTo>
                  <a:lnTo>
                    <a:pt x="0" y="284047"/>
                  </a:lnTo>
                  <a:lnTo>
                    <a:pt x="4392" y="306124"/>
                  </a:lnTo>
                  <a:lnTo>
                    <a:pt x="16399" y="324080"/>
                  </a:lnTo>
                  <a:lnTo>
                    <a:pt x="34262" y="336149"/>
                  </a:lnTo>
                  <a:lnTo>
                    <a:pt x="56224" y="340565"/>
                  </a:lnTo>
                  <a:lnTo>
                    <a:pt x="78261" y="336150"/>
                  </a:lnTo>
                  <a:lnTo>
                    <a:pt x="96287" y="324080"/>
                  </a:lnTo>
                  <a:lnTo>
                    <a:pt x="108456" y="306124"/>
                  </a:lnTo>
                  <a:lnTo>
                    <a:pt x="112923" y="284047"/>
                  </a:lnTo>
                  <a:lnTo>
                    <a:pt x="112923" y="24154"/>
                  </a:lnTo>
                  <a:lnTo>
                    <a:pt x="113884" y="20290"/>
                  </a:lnTo>
                  <a:lnTo>
                    <a:pt x="115325" y="16909"/>
                  </a:lnTo>
                  <a:lnTo>
                    <a:pt x="115325" y="16426"/>
                  </a:lnTo>
                  <a:lnTo>
                    <a:pt x="116286" y="14495"/>
                  </a:lnTo>
                  <a:lnTo>
                    <a:pt x="120663" y="8562"/>
                  </a:lnTo>
                  <a:lnTo>
                    <a:pt x="126438" y="3987"/>
                  </a:lnTo>
                  <a:lnTo>
                    <a:pt x="133384" y="1042"/>
                  </a:lnTo>
                  <a:lnTo>
                    <a:pt x="141275"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1233170"/>
            <a:chOff x="0" y="0"/>
            <a:chExt cx="12192000" cy="1233170"/>
          </a:xfrm>
        </p:grpSpPr>
        <p:sp>
          <p:nvSpPr>
            <p:cNvPr id="3" name="object 3"/>
            <p:cNvSpPr/>
            <p:nvPr/>
          </p:nvSpPr>
          <p:spPr>
            <a:xfrm>
              <a:off x="0" y="0"/>
              <a:ext cx="12192000" cy="1233170"/>
            </a:xfrm>
            <a:custGeom>
              <a:avLst/>
              <a:gdLst/>
              <a:ahLst/>
              <a:cxnLst/>
              <a:rect l="l" t="t" r="r" b="b"/>
              <a:pathLst>
                <a:path w="12192000" h="1233170">
                  <a:moveTo>
                    <a:pt x="12192000" y="0"/>
                  </a:moveTo>
                  <a:lnTo>
                    <a:pt x="0" y="0"/>
                  </a:lnTo>
                  <a:lnTo>
                    <a:pt x="0" y="998601"/>
                  </a:lnTo>
                  <a:lnTo>
                    <a:pt x="6096000" y="1232915"/>
                  </a:lnTo>
                  <a:lnTo>
                    <a:pt x="12192000" y="998601"/>
                  </a:lnTo>
                  <a:lnTo>
                    <a:pt x="12192000"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 name="object 4"/>
            <p:cNvPicPr/>
            <p:nvPr/>
          </p:nvPicPr>
          <p:blipFill>
            <a:blip r:embed="rId2" cstate="screen">
              <a:extLst>
                <a:ext uri="{28A0092B-C50C-407E-A947-70E740481C1C}">
                  <a14:useLocalDpi xmlns:a14="http://schemas.microsoft.com/office/drawing/2010/main"/>
                </a:ext>
              </a:extLst>
            </a:blip>
            <a:stretch>
              <a:fillRect/>
            </a:stretch>
          </p:blipFill>
          <p:spPr>
            <a:xfrm>
              <a:off x="960119" y="220929"/>
              <a:ext cx="5701537" cy="651052"/>
            </a:xfrm>
            <a:prstGeom prst="rect">
              <a:avLst/>
            </a:prstGeom>
          </p:spPr>
        </p:pic>
        <p:pic>
          <p:nvPicPr>
            <p:cNvPr id="5" name="object 5"/>
            <p:cNvPicPr/>
            <p:nvPr/>
          </p:nvPicPr>
          <p:blipFill>
            <a:blip r:embed="rId3" cstate="screen">
              <a:extLst>
                <a:ext uri="{28A0092B-C50C-407E-A947-70E740481C1C}">
                  <a14:useLocalDpi xmlns:a14="http://schemas.microsoft.com/office/drawing/2010/main"/>
                </a:ext>
              </a:extLst>
            </a:blip>
            <a:stretch>
              <a:fillRect/>
            </a:stretch>
          </p:blipFill>
          <p:spPr>
            <a:xfrm>
              <a:off x="6450457" y="220929"/>
              <a:ext cx="353567" cy="651052"/>
            </a:xfrm>
            <a:prstGeom prst="rect">
              <a:avLst/>
            </a:prstGeom>
          </p:spPr>
        </p:pic>
        <p:pic>
          <p:nvPicPr>
            <p:cNvPr id="6" name="object 6"/>
            <p:cNvPicPr/>
            <p:nvPr/>
          </p:nvPicPr>
          <p:blipFill>
            <a:blip r:embed="rId4" cstate="screen">
              <a:extLst>
                <a:ext uri="{28A0092B-C50C-407E-A947-70E740481C1C}">
                  <a14:useLocalDpi xmlns:a14="http://schemas.microsoft.com/office/drawing/2010/main"/>
                </a:ext>
              </a:extLst>
            </a:blip>
            <a:stretch>
              <a:fillRect/>
            </a:stretch>
          </p:blipFill>
          <p:spPr>
            <a:xfrm>
              <a:off x="6759829" y="220929"/>
              <a:ext cx="2821686" cy="651052"/>
            </a:xfrm>
            <a:prstGeom prst="rect">
              <a:avLst/>
            </a:prstGeom>
          </p:spPr>
        </p:pic>
      </p:grpSp>
      <p:sp>
        <p:nvSpPr>
          <p:cNvPr id="7" name="object 7"/>
          <p:cNvSpPr txBox="1"/>
          <p:nvPr/>
        </p:nvSpPr>
        <p:spPr>
          <a:xfrm>
            <a:off x="9312402" y="299669"/>
            <a:ext cx="274320" cy="514350"/>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3200" b="1" i="0" u="none" strike="noStrike" kern="0" cap="none" spc="-50" normalizeH="0" baseline="0" noProof="0" dirty="0">
                <a:ln>
                  <a:noFill/>
                </a:ln>
                <a:solidFill>
                  <a:srgbClr val="012B1F"/>
                </a:solidFill>
                <a:effectLst/>
                <a:uLnTx/>
                <a:uFillTx/>
                <a:latin typeface="Arial"/>
                <a:ea typeface="+mn-ea"/>
                <a:cs typeface="Arial"/>
              </a:rPr>
              <a:t>?</a:t>
            </a:r>
            <a:endParaRPr kumimoji="0" sz="32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8" name="object 8"/>
          <p:cNvGrpSpPr/>
          <p:nvPr/>
        </p:nvGrpSpPr>
        <p:grpSpPr>
          <a:xfrm>
            <a:off x="827341" y="2169985"/>
            <a:ext cx="5017770" cy="3227070"/>
            <a:chOff x="827341" y="2169985"/>
            <a:chExt cx="5017770" cy="3227070"/>
          </a:xfrm>
        </p:grpSpPr>
        <p:sp>
          <p:nvSpPr>
            <p:cNvPr id="9" name="object 9"/>
            <p:cNvSpPr/>
            <p:nvPr/>
          </p:nvSpPr>
          <p:spPr>
            <a:xfrm>
              <a:off x="832103" y="2174748"/>
              <a:ext cx="5008245" cy="3217545"/>
            </a:xfrm>
            <a:custGeom>
              <a:avLst/>
              <a:gdLst/>
              <a:ahLst/>
              <a:cxnLst/>
              <a:rect l="l" t="t" r="r" b="b"/>
              <a:pathLst>
                <a:path w="5008245" h="3217545">
                  <a:moveTo>
                    <a:pt x="3399282" y="0"/>
                  </a:moveTo>
                  <a:lnTo>
                    <a:pt x="0" y="0"/>
                  </a:lnTo>
                  <a:lnTo>
                    <a:pt x="0" y="3217164"/>
                  </a:lnTo>
                  <a:lnTo>
                    <a:pt x="3399282" y="3217164"/>
                  </a:lnTo>
                  <a:lnTo>
                    <a:pt x="5007864" y="1608582"/>
                  </a:lnTo>
                  <a:lnTo>
                    <a:pt x="3399282"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0" name="object 10"/>
            <p:cNvSpPr/>
            <p:nvPr/>
          </p:nvSpPr>
          <p:spPr>
            <a:xfrm>
              <a:off x="832103" y="2174748"/>
              <a:ext cx="5008245" cy="3217545"/>
            </a:xfrm>
            <a:custGeom>
              <a:avLst/>
              <a:gdLst/>
              <a:ahLst/>
              <a:cxnLst/>
              <a:rect l="l" t="t" r="r" b="b"/>
              <a:pathLst>
                <a:path w="5008245" h="3217545">
                  <a:moveTo>
                    <a:pt x="0" y="0"/>
                  </a:moveTo>
                  <a:lnTo>
                    <a:pt x="3399282" y="0"/>
                  </a:lnTo>
                  <a:lnTo>
                    <a:pt x="5007864" y="1608582"/>
                  </a:lnTo>
                  <a:lnTo>
                    <a:pt x="3399282" y="3217164"/>
                  </a:lnTo>
                  <a:lnTo>
                    <a:pt x="0" y="3217164"/>
                  </a:lnTo>
                  <a:lnTo>
                    <a:pt x="0"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1" name="object 11"/>
            <p:cNvPicPr/>
            <p:nvPr/>
          </p:nvPicPr>
          <p:blipFill>
            <a:blip r:embed="rId5" cstate="screen">
              <a:extLst>
                <a:ext uri="{28A0092B-C50C-407E-A947-70E740481C1C}">
                  <a14:useLocalDpi xmlns:a14="http://schemas.microsoft.com/office/drawing/2010/main"/>
                </a:ext>
              </a:extLst>
            </a:blip>
            <a:stretch>
              <a:fillRect/>
            </a:stretch>
          </p:blipFill>
          <p:spPr>
            <a:xfrm>
              <a:off x="924153" y="3189986"/>
              <a:ext cx="604266" cy="326136"/>
            </a:xfrm>
            <a:prstGeom prst="rect">
              <a:avLst/>
            </a:prstGeom>
          </p:spPr>
        </p:pic>
        <p:pic>
          <p:nvPicPr>
            <p:cNvPr id="12" name="object 12"/>
            <p:cNvPicPr/>
            <p:nvPr/>
          </p:nvPicPr>
          <p:blipFill>
            <a:blip r:embed="rId6" cstate="screen">
              <a:extLst>
                <a:ext uri="{28A0092B-C50C-407E-A947-70E740481C1C}">
                  <a14:useLocalDpi xmlns:a14="http://schemas.microsoft.com/office/drawing/2010/main"/>
                </a:ext>
              </a:extLst>
            </a:blip>
            <a:stretch>
              <a:fillRect/>
            </a:stretch>
          </p:blipFill>
          <p:spPr>
            <a:xfrm>
              <a:off x="1407540" y="3189986"/>
              <a:ext cx="1017155" cy="326136"/>
            </a:xfrm>
            <a:prstGeom prst="rect">
              <a:avLst/>
            </a:prstGeom>
          </p:spPr>
        </p:pic>
        <p:pic>
          <p:nvPicPr>
            <p:cNvPr id="13" name="object 13"/>
            <p:cNvPicPr/>
            <p:nvPr/>
          </p:nvPicPr>
          <p:blipFill>
            <a:blip r:embed="rId7" cstate="screen">
              <a:extLst>
                <a:ext uri="{28A0092B-C50C-407E-A947-70E740481C1C}">
                  <a14:useLocalDpi xmlns:a14="http://schemas.microsoft.com/office/drawing/2010/main"/>
                </a:ext>
              </a:extLst>
            </a:blip>
            <a:stretch>
              <a:fillRect/>
            </a:stretch>
          </p:blipFill>
          <p:spPr>
            <a:xfrm>
              <a:off x="2363088" y="3189986"/>
              <a:ext cx="2298191" cy="326136"/>
            </a:xfrm>
            <a:prstGeom prst="rect">
              <a:avLst/>
            </a:prstGeom>
          </p:spPr>
        </p:pic>
        <p:pic>
          <p:nvPicPr>
            <p:cNvPr id="14" name="object 14"/>
            <p:cNvPicPr/>
            <p:nvPr/>
          </p:nvPicPr>
          <p:blipFill>
            <a:blip r:embed="rId8" cstate="screen">
              <a:extLst>
                <a:ext uri="{28A0092B-C50C-407E-A947-70E740481C1C}">
                  <a14:useLocalDpi xmlns:a14="http://schemas.microsoft.com/office/drawing/2010/main"/>
                </a:ext>
              </a:extLst>
            </a:blip>
            <a:stretch>
              <a:fillRect/>
            </a:stretch>
          </p:blipFill>
          <p:spPr>
            <a:xfrm>
              <a:off x="924153" y="3464306"/>
              <a:ext cx="3949319" cy="326135"/>
            </a:xfrm>
            <a:prstGeom prst="rect">
              <a:avLst/>
            </a:prstGeom>
          </p:spPr>
        </p:pic>
        <p:pic>
          <p:nvPicPr>
            <p:cNvPr id="15" name="object 15"/>
            <p:cNvPicPr/>
            <p:nvPr/>
          </p:nvPicPr>
          <p:blipFill>
            <a:blip r:embed="rId9" cstate="screen">
              <a:extLst>
                <a:ext uri="{28A0092B-C50C-407E-A947-70E740481C1C}">
                  <a14:useLocalDpi xmlns:a14="http://schemas.microsoft.com/office/drawing/2010/main"/>
                </a:ext>
              </a:extLst>
            </a:blip>
            <a:stretch>
              <a:fillRect/>
            </a:stretch>
          </p:blipFill>
          <p:spPr>
            <a:xfrm>
              <a:off x="924153" y="3738626"/>
              <a:ext cx="4133087" cy="326136"/>
            </a:xfrm>
            <a:prstGeom prst="rect">
              <a:avLst/>
            </a:prstGeom>
          </p:spPr>
        </p:pic>
        <p:pic>
          <p:nvPicPr>
            <p:cNvPr id="16" name="object 16"/>
            <p:cNvPicPr/>
            <p:nvPr/>
          </p:nvPicPr>
          <p:blipFill>
            <a:blip r:embed="rId10" cstate="screen">
              <a:extLst>
                <a:ext uri="{28A0092B-C50C-407E-A947-70E740481C1C}">
                  <a14:useLocalDpi xmlns:a14="http://schemas.microsoft.com/office/drawing/2010/main"/>
                </a:ext>
              </a:extLst>
            </a:blip>
            <a:stretch>
              <a:fillRect/>
            </a:stretch>
          </p:blipFill>
          <p:spPr>
            <a:xfrm>
              <a:off x="924153" y="4012946"/>
              <a:ext cx="4065270" cy="326136"/>
            </a:xfrm>
            <a:prstGeom prst="rect">
              <a:avLst/>
            </a:prstGeom>
          </p:spPr>
        </p:pic>
      </p:grpSp>
      <p:grpSp>
        <p:nvGrpSpPr>
          <p:cNvPr id="17" name="object 17"/>
          <p:cNvGrpSpPr/>
          <p:nvPr/>
        </p:nvGrpSpPr>
        <p:grpSpPr>
          <a:xfrm>
            <a:off x="1074115" y="140752"/>
            <a:ext cx="11026775" cy="5257800"/>
            <a:chOff x="1074115" y="140752"/>
            <a:chExt cx="11026775" cy="5257800"/>
          </a:xfrm>
        </p:grpSpPr>
        <p:sp>
          <p:nvSpPr>
            <p:cNvPr id="18" name="object 18"/>
            <p:cNvSpPr/>
            <p:nvPr/>
          </p:nvSpPr>
          <p:spPr>
            <a:xfrm>
              <a:off x="10416909" y="144126"/>
              <a:ext cx="33020" cy="141605"/>
            </a:xfrm>
            <a:custGeom>
              <a:avLst/>
              <a:gdLst/>
              <a:ahLst/>
              <a:cxnLst/>
              <a:rect l="l" t="t" r="r" b="b"/>
              <a:pathLst>
                <a:path w="33020" h="141604">
                  <a:moveTo>
                    <a:pt x="32690" y="0"/>
                  </a:moveTo>
                  <a:lnTo>
                    <a:pt x="0" y="0"/>
                  </a:lnTo>
                  <a:lnTo>
                    <a:pt x="0" y="141267"/>
                  </a:lnTo>
                  <a:lnTo>
                    <a:pt x="32690" y="141267"/>
                  </a:lnTo>
                  <a:lnTo>
                    <a:pt x="32690"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9" name="object 19"/>
            <p:cNvPicPr/>
            <p:nvPr/>
          </p:nvPicPr>
          <p:blipFill>
            <a:blip r:embed="rId11" cstate="screen">
              <a:extLst>
                <a:ext uri="{28A0092B-C50C-407E-A947-70E740481C1C}">
                  <a14:useLocalDpi xmlns:a14="http://schemas.microsoft.com/office/drawing/2010/main"/>
                </a:ext>
              </a:extLst>
            </a:blip>
            <a:stretch>
              <a:fillRect/>
            </a:stretch>
          </p:blipFill>
          <p:spPr>
            <a:xfrm>
              <a:off x="10480854" y="144126"/>
              <a:ext cx="137493" cy="141267"/>
            </a:xfrm>
            <a:prstGeom prst="rect">
              <a:avLst/>
            </a:prstGeom>
          </p:spPr>
        </p:pic>
        <p:sp>
          <p:nvSpPr>
            <p:cNvPr id="20" name="object 20"/>
            <p:cNvSpPr/>
            <p:nvPr/>
          </p:nvSpPr>
          <p:spPr>
            <a:xfrm>
              <a:off x="10649115" y="140753"/>
              <a:ext cx="837565" cy="148590"/>
            </a:xfrm>
            <a:custGeom>
              <a:avLst/>
              <a:gdLst/>
              <a:ahLst/>
              <a:cxnLst/>
              <a:rect l="l" t="t" r="r" b="b"/>
              <a:pathLst>
                <a:path w="837565" h="148590">
                  <a:moveTo>
                    <a:pt x="78384" y="2781"/>
                  </a:moveTo>
                  <a:lnTo>
                    <a:pt x="0" y="2781"/>
                  </a:lnTo>
                  <a:lnTo>
                    <a:pt x="0" y="30759"/>
                  </a:lnTo>
                  <a:lnTo>
                    <a:pt x="0" y="58737"/>
                  </a:lnTo>
                  <a:lnTo>
                    <a:pt x="0" y="85445"/>
                  </a:lnTo>
                  <a:lnTo>
                    <a:pt x="0" y="145211"/>
                  </a:lnTo>
                  <a:lnTo>
                    <a:pt x="32753" y="145211"/>
                  </a:lnTo>
                  <a:lnTo>
                    <a:pt x="32753" y="85445"/>
                  </a:lnTo>
                  <a:lnTo>
                    <a:pt x="75057" y="85445"/>
                  </a:lnTo>
                  <a:lnTo>
                    <a:pt x="75057" y="58737"/>
                  </a:lnTo>
                  <a:lnTo>
                    <a:pt x="32753" y="58737"/>
                  </a:lnTo>
                  <a:lnTo>
                    <a:pt x="32753" y="30759"/>
                  </a:lnTo>
                  <a:lnTo>
                    <a:pt x="78384" y="30759"/>
                  </a:lnTo>
                  <a:lnTo>
                    <a:pt x="78384" y="2781"/>
                  </a:lnTo>
                  <a:close/>
                </a:path>
                <a:path w="837565" h="148590">
                  <a:moveTo>
                    <a:pt x="212547" y="144653"/>
                  </a:moveTo>
                  <a:lnTo>
                    <a:pt x="170726" y="88722"/>
                  </a:lnTo>
                  <a:lnTo>
                    <a:pt x="169278" y="86791"/>
                  </a:lnTo>
                  <a:lnTo>
                    <a:pt x="176974" y="84861"/>
                  </a:lnTo>
                  <a:lnTo>
                    <a:pt x="184150" y="80518"/>
                  </a:lnTo>
                  <a:lnTo>
                    <a:pt x="188963" y="75704"/>
                  </a:lnTo>
                  <a:lnTo>
                    <a:pt x="194564" y="68821"/>
                  </a:lnTo>
                  <a:lnTo>
                    <a:pt x="195160" y="67500"/>
                  </a:lnTo>
                  <a:lnTo>
                    <a:pt x="197942" y="61480"/>
                  </a:lnTo>
                  <a:lnTo>
                    <a:pt x="199605" y="54140"/>
                  </a:lnTo>
                  <a:lnTo>
                    <a:pt x="200050" y="47256"/>
                  </a:lnTo>
                  <a:lnTo>
                    <a:pt x="198907" y="36385"/>
                  </a:lnTo>
                  <a:lnTo>
                    <a:pt x="173837" y="7061"/>
                  </a:lnTo>
                  <a:lnTo>
                    <a:pt x="166839" y="5194"/>
                  </a:lnTo>
                  <a:lnTo>
                    <a:pt x="166839" y="39547"/>
                  </a:lnTo>
                  <a:lnTo>
                    <a:pt x="166839" y="54483"/>
                  </a:lnTo>
                  <a:lnTo>
                    <a:pt x="163957" y="58826"/>
                  </a:lnTo>
                  <a:lnTo>
                    <a:pt x="161594" y="61239"/>
                  </a:lnTo>
                  <a:lnTo>
                    <a:pt x="156273" y="67017"/>
                  </a:lnTo>
                  <a:lnTo>
                    <a:pt x="148132" y="67500"/>
                  </a:lnTo>
                  <a:lnTo>
                    <a:pt x="134670" y="67500"/>
                  </a:lnTo>
                  <a:lnTo>
                    <a:pt x="134670" y="28448"/>
                  </a:lnTo>
                  <a:lnTo>
                    <a:pt x="146659" y="28448"/>
                  </a:lnTo>
                  <a:lnTo>
                    <a:pt x="154863" y="28930"/>
                  </a:lnTo>
                  <a:lnTo>
                    <a:pt x="160108" y="33274"/>
                  </a:lnTo>
                  <a:lnTo>
                    <a:pt x="163004" y="35204"/>
                  </a:lnTo>
                  <a:lnTo>
                    <a:pt x="166839" y="39547"/>
                  </a:lnTo>
                  <a:lnTo>
                    <a:pt x="166839" y="5194"/>
                  </a:lnTo>
                  <a:lnTo>
                    <a:pt x="163855" y="4381"/>
                  </a:lnTo>
                  <a:lnTo>
                    <a:pt x="151460" y="3378"/>
                  </a:lnTo>
                  <a:lnTo>
                    <a:pt x="102425" y="3378"/>
                  </a:lnTo>
                  <a:lnTo>
                    <a:pt x="102425" y="144653"/>
                  </a:lnTo>
                  <a:lnTo>
                    <a:pt x="134670" y="144653"/>
                  </a:lnTo>
                  <a:lnTo>
                    <a:pt x="134670" y="88722"/>
                  </a:lnTo>
                  <a:lnTo>
                    <a:pt x="172618" y="144653"/>
                  </a:lnTo>
                  <a:lnTo>
                    <a:pt x="212547" y="144653"/>
                  </a:lnTo>
                  <a:close/>
                </a:path>
                <a:path w="837565" h="148590">
                  <a:moveTo>
                    <a:pt x="360172" y="144653"/>
                  </a:moveTo>
                  <a:lnTo>
                    <a:pt x="349694" y="118135"/>
                  </a:lnTo>
                  <a:lnTo>
                    <a:pt x="339801" y="93052"/>
                  </a:lnTo>
                  <a:lnTo>
                    <a:pt x="320967" y="45326"/>
                  </a:lnTo>
                  <a:lnTo>
                    <a:pt x="306768" y="9372"/>
                  </a:lnTo>
                  <a:lnTo>
                    <a:pt x="306768" y="93052"/>
                  </a:lnTo>
                  <a:lnTo>
                    <a:pt x="272161" y="93052"/>
                  </a:lnTo>
                  <a:lnTo>
                    <a:pt x="289471" y="45326"/>
                  </a:lnTo>
                  <a:lnTo>
                    <a:pt x="306768" y="93052"/>
                  </a:lnTo>
                  <a:lnTo>
                    <a:pt x="306768" y="9372"/>
                  </a:lnTo>
                  <a:lnTo>
                    <a:pt x="304406" y="3378"/>
                  </a:lnTo>
                  <a:lnTo>
                    <a:pt x="274599" y="3378"/>
                  </a:lnTo>
                  <a:lnTo>
                    <a:pt x="217805" y="144653"/>
                  </a:lnTo>
                  <a:lnTo>
                    <a:pt x="251523" y="144653"/>
                  </a:lnTo>
                  <a:lnTo>
                    <a:pt x="262547" y="118135"/>
                  </a:lnTo>
                  <a:lnTo>
                    <a:pt x="315937" y="118135"/>
                  </a:lnTo>
                  <a:lnTo>
                    <a:pt x="326517" y="144653"/>
                  </a:lnTo>
                  <a:lnTo>
                    <a:pt x="360172" y="144653"/>
                  </a:lnTo>
                  <a:close/>
                </a:path>
                <a:path w="837565" h="148590">
                  <a:moveTo>
                    <a:pt x="468820" y="98361"/>
                  </a:moveTo>
                  <a:lnTo>
                    <a:pt x="445287" y="63652"/>
                  </a:lnTo>
                  <a:lnTo>
                    <a:pt x="428434" y="57378"/>
                  </a:lnTo>
                  <a:lnTo>
                    <a:pt x="419265" y="53517"/>
                  </a:lnTo>
                  <a:lnTo>
                    <a:pt x="414007" y="52552"/>
                  </a:lnTo>
                  <a:lnTo>
                    <a:pt x="408686" y="47256"/>
                  </a:lnTo>
                  <a:lnTo>
                    <a:pt x="407733" y="44843"/>
                  </a:lnTo>
                  <a:lnTo>
                    <a:pt x="407733" y="37617"/>
                  </a:lnTo>
                  <a:lnTo>
                    <a:pt x="409206" y="34721"/>
                  </a:lnTo>
                  <a:lnTo>
                    <a:pt x="411124" y="32308"/>
                  </a:lnTo>
                  <a:lnTo>
                    <a:pt x="414972" y="28448"/>
                  </a:lnTo>
                  <a:lnTo>
                    <a:pt x="420738" y="27482"/>
                  </a:lnTo>
                  <a:lnTo>
                    <a:pt x="425030" y="27482"/>
                  </a:lnTo>
                  <a:lnTo>
                    <a:pt x="428853" y="27774"/>
                  </a:lnTo>
                  <a:lnTo>
                    <a:pt x="434301" y="29108"/>
                  </a:lnTo>
                  <a:lnTo>
                    <a:pt x="441020" y="32169"/>
                  </a:lnTo>
                  <a:lnTo>
                    <a:pt x="448627" y="37617"/>
                  </a:lnTo>
                  <a:lnTo>
                    <a:pt x="463042" y="13995"/>
                  </a:lnTo>
                  <a:lnTo>
                    <a:pt x="451040" y="6718"/>
                  </a:lnTo>
                  <a:lnTo>
                    <a:pt x="439788" y="2476"/>
                  </a:lnTo>
                  <a:lnTo>
                    <a:pt x="429704" y="495"/>
                  </a:lnTo>
                  <a:lnTo>
                    <a:pt x="421195" y="0"/>
                  </a:lnTo>
                  <a:lnTo>
                    <a:pt x="411746" y="609"/>
                  </a:lnTo>
                  <a:lnTo>
                    <a:pt x="377088" y="27482"/>
                  </a:lnTo>
                  <a:lnTo>
                    <a:pt x="374078" y="44843"/>
                  </a:lnTo>
                  <a:lnTo>
                    <a:pt x="374421" y="50444"/>
                  </a:lnTo>
                  <a:lnTo>
                    <a:pt x="402475" y="80518"/>
                  </a:lnTo>
                  <a:lnTo>
                    <a:pt x="417855" y="86309"/>
                  </a:lnTo>
                  <a:lnTo>
                    <a:pt x="426516" y="89204"/>
                  </a:lnTo>
                  <a:lnTo>
                    <a:pt x="433247" y="94983"/>
                  </a:lnTo>
                  <a:lnTo>
                    <a:pt x="435165" y="97878"/>
                  </a:lnTo>
                  <a:lnTo>
                    <a:pt x="435165" y="108000"/>
                  </a:lnTo>
                  <a:lnTo>
                    <a:pt x="433247" y="111861"/>
                  </a:lnTo>
                  <a:lnTo>
                    <a:pt x="425551" y="118135"/>
                  </a:lnTo>
                  <a:lnTo>
                    <a:pt x="419785" y="119087"/>
                  </a:lnTo>
                  <a:lnTo>
                    <a:pt x="409206" y="119087"/>
                  </a:lnTo>
                  <a:lnTo>
                    <a:pt x="384657" y="103174"/>
                  </a:lnTo>
                  <a:lnTo>
                    <a:pt x="367855" y="126326"/>
                  </a:lnTo>
                  <a:lnTo>
                    <a:pt x="401916" y="146519"/>
                  </a:lnTo>
                  <a:lnTo>
                    <a:pt x="416382" y="148018"/>
                  </a:lnTo>
                  <a:lnTo>
                    <a:pt x="424738" y="147586"/>
                  </a:lnTo>
                  <a:lnTo>
                    <a:pt x="461327" y="126834"/>
                  </a:lnTo>
                  <a:lnTo>
                    <a:pt x="467880" y="108877"/>
                  </a:lnTo>
                  <a:lnTo>
                    <a:pt x="468820" y="98361"/>
                  </a:lnTo>
                  <a:close/>
                </a:path>
                <a:path w="837565" h="148590">
                  <a:moveTo>
                    <a:pt x="572211" y="2781"/>
                  </a:moveTo>
                  <a:lnTo>
                    <a:pt x="478434" y="2781"/>
                  </a:lnTo>
                  <a:lnTo>
                    <a:pt x="478434" y="30759"/>
                  </a:lnTo>
                  <a:lnTo>
                    <a:pt x="509193" y="30759"/>
                  </a:lnTo>
                  <a:lnTo>
                    <a:pt x="509193" y="145211"/>
                  </a:lnTo>
                  <a:lnTo>
                    <a:pt x="541896" y="145211"/>
                  </a:lnTo>
                  <a:lnTo>
                    <a:pt x="541896" y="30759"/>
                  </a:lnTo>
                  <a:lnTo>
                    <a:pt x="572211" y="30759"/>
                  </a:lnTo>
                  <a:lnTo>
                    <a:pt x="572211" y="2781"/>
                  </a:lnTo>
                  <a:close/>
                </a:path>
                <a:path w="837565" h="148590">
                  <a:moveTo>
                    <a:pt x="699643" y="144653"/>
                  </a:moveTo>
                  <a:lnTo>
                    <a:pt x="657809" y="88722"/>
                  </a:lnTo>
                  <a:lnTo>
                    <a:pt x="656374" y="86791"/>
                  </a:lnTo>
                  <a:lnTo>
                    <a:pt x="664514" y="84861"/>
                  </a:lnTo>
                  <a:lnTo>
                    <a:pt x="671245" y="80518"/>
                  </a:lnTo>
                  <a:lnTo>
                    <a:pt x="676046" y="75704"/>
                  </a:lnTo>
                  <a:lnTo>
                    <a:pt x="681647" y="68821"/>
                  </a:lnTo>
                  <a:lnTo>
                    <a:pt x="682256" y="67500"/>
                  </a:lnTo>
                  <a:lnTo>
                    <a:pt x="685038" y="61480"/>
                  </a:lnTo>
                  <a:lnTo>
                    <a:pt x="686701" y="54140"/>
                  </a:lnTo>
                  <a:lnTo>
                    <a:pt x="687133" y="47256"/>
                  </a:lnTo>
                  <a:lnTo>
                    <a:pt x="686066" y="36385"/>
                  </a:lnTo>
                  <a:lnTo>
                    <a:pt x="661200" y="7061"/>
                  </a:lnTo>
                  <a:lnTo>
                    <a:pt x="654443" y="5257"/>
                  </a:lnTo>
                  <a:lnTo>
                    <a:pt x="654443" y="39547"/>
                  </a:lnTo>
                  <a:lnTo>
                    <a:pt x="654443" y="54483"/>
                  </a:lnTo>
                  <a:lnTo>
                    <a:pt x="651052" y="58826"/>
                  </a:lnTo>
                  <a:lnTo>
                    <a:pt x="649122" y="61239"/>
                  </a:lnTo>
                  <a:lnTo>
                    <a:pt x="643356" y="67017"/>
                  </a:lnTo>
                  <a:lnTo>
                    <a:pt x="635152" y="67500"/>
                  </a:lnTo>
                  <a:lnTo>
                    <a:pt x="622211" y="67500"/>
                  </a:lnTo>
                  <a:lnTo>
                    <a:pt x="622211" y="28448"/>
                  </a:lnTo>
                  <a:lnTo>
                    <a:pt x="633742" y="28448"/>
                  </a:lnTo>
                  <a:lnTo>
                    <a:pt x="642404" y="28930"/>
                  </a:lnTo>
                  <a:lnTo>
                    <a:pt x="647712" y="33274"/>
                  </a:lnTo>
                  <a:lnTo>
                    <a:pt x="650608" y="35204"/>
                  </a:lnTo>
                  <a:lnTo>
                    <a:pt x="654443" y="39547"/>
                  </a:lnTo>
                  <a:lnTo>
                    <a:pt x="654443" y="5257"/>
                  </a:lnTo>
                  <a:lnTo>
                    <a:pt x="651205" y="4381"/>
                  </a:lnTo>
                  <a:lnTo>
                    <a:pt x="639000" y="3378"/>
                  </a:lnTo>
                  <a:lnTo>
                    <a:pt x="589521" y="3378"/>
                  </a:lnTo>
                  <a:lnTo>
                    <a:pt x="589521" y="144653"/>
                  </a:lnTo>
                  <a:lnTo>
                    <a:pt x="622211" y="144653"/>
                  </a:lnTo>
                  <a:lnTo>
                    <a:pt x="622211" y="88722"/>
                  </a:lnTo>
                  <a:lnTo>
                    <a:pt x="660222" y="144653"/>
                  </a:lnTo>
                  <a:lnTo>
                    <a:pt x="699643" y="144653"/>
                  </a:lnTo>
                  <a:close/>
                </a:path>
                <a:path w="837565" h="148590">
                  <a:moveTo>
                    <a:pt x="837133" y="3378"/>
                  </a:moveTo>
                  <a:lnTo>
                    <a:pt x="804443" y="3378"/>
                  </a:lnTo>
                  <a:lnTo>
                    <a:pt x="804443" y="92100"/>
                  </a:lnTo>
                  <a:lnTo>
                    <a:pt x="803922" y="102704"/>
                  </a:lnTo>
                  <a:lnTo>
                    <a:pt x="791425" y="116205"/>
                  </a:lnTo>
                  <a:lnTo>
                    <a:pt x="783742" y="117170"/>
                  </a:lnTo>
                  <a:lnTo>
                    <a:pt x="771232" y="117170"/>
                  </a:lnTo>
                  <a:lnTo>
                    <a:pt x="763549" y="116205"/>
                  </a:lnTo>
                  <a:lnTo>
                    <a:pt x="757770" y="109931"/>
                  </a:lnTo>
                  <a:lnTo>
                    <a:pt x="750595" y="102704"/>
                  </a:lnTo>
                  <a:lnTo>
                    <a:pt x="750595" y="3378"/>
                  </a:lnTo>
                  <a:lnTo>
                    <a:pt x="717905" y="3378"/>
                  </a:lnTo>
                  <a:lnTo>
                    <a:pt x="717905" y="86791"/>
                  </a:lnTo>
                  <a:lnTo>
                    <a:pt x="718350" y="97459"/>
                  </a:lnTo>
                  <a:lnTo>
                    <a:pt x="743966" y="140093"/>
                  </a:lnTo>
                  <a:lnTo>
                    <a:pt x="777519" y="148018"/>
                  </a:lnTo>
                  <a:lnTo>
                    <a:pt x="788733" y="147421"/>
                  </a:lnTo>
                  <a:lnTo>
                    <a:pt x="829614" y="120421"/>
                  </a:lnTo>
                  <a:lnTo>
                    <a:pt x="837133" y="86791"/>
                  </a:lnTo>
                  <a:lnTo>
                    <a:pt x="837133" y="3378"/>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1" name="object 21"/>
            <p:cNvPicPr/>
            <p:nvPr/>
          </p:nvPicPr>
          <p:blipFill>
            <a:blip r:embed="rId12" cstate="screen">
              <a:extLst>
                <a:ext uri="{28A0092B-C50C-407E-A947-70E740481C1C}">
                  <a14:useLocalDpi xmlns:a14="http://schemas.microsoft.com/office/drawing/2010/main"/>
                </a:ext>
              </a:extLst>
            </a:blip>
            <a:stretch>
              <a:fillRect/>
            </a:stretch>
          </p:blipFill>
          <p:spPr>
            <a:xfrm>
              <a:off x="11510290" y="140752"/>
              <a:ext cx="351008" cy="148016"/>
            </a:xfrm>
            <a:prstGeom prst="rect">
              <a:avLst/>
            </a:prstGeom>
          </p:spPr>
        </p:pic>
        <p:pic>
          <p:nvPicPr>
            <p:cNvPr id="22" name="object 22"/>
            <p:cNvPicPr/>
            <p:nvPr/>
          </p:nvPicPr>
          <p:blipFill>
            <a:blip r:embed="rId13" cstate="screen">
              <a:extLst>
                <a:ext uri="{28A0092B-C50C-407E-A947-70E740481C1C}">
                  <a14:useLocalDpi xmlns:a14="http://schemas.microsoft.com/office/drawing/2010/main"/>
                </a:ext>
              </a:extLst>
            </a:blip>
            <a:stretch>
              <a:fillRect/>
            </a:stretch>
          </p:blipFill>
          <p:spPr>
            <a:xfrm>
              <a:off x="11892066" y="143534"/>
              <a:ext cx="208194" cy="142427"/>
            </a:xfrm>
            <a:prstGeom prst="rect">
              <a:avLst/>
            </a:prstGeom>
          </p:spPr>
        </p:pic>
        <p:pic>
          <p:nvPicPr>
            <p:cNvPr id="23" name="object 23"/>
            <p:cNvPicPr/>
            <p:nvPr/>
          </p:nvPicPr>
          <p:blipFill>
            <a:blip r:embed="rId14" cstate="screen">
              <a:extLst>
                <a:ext uri="{28A0092B-C50C-407E-A947-70E740481C1C}">
                  <a14:useLocalDpi xmlns:a14="http://schemas.microsoft.com/office/drawing/2010/main"/>
                </a:ext>
              </a:extLst>
            </a:blip>
            <a:stretch>
              <a:fillRect/>
            </a:stretch>
          </p:blipFill>
          <p:spPr>
            <a:xfrm>
              <a:off x="10416428" y="342766"/>
              <a:ext cx="405819" cy="141261"/>
            </a:xfrm>
            <a:prstGeom prst="rect">
              <a:avLst/>
            </a:prstGeom>
          </p:spPr>
        </p:pic>
        <p:pic>
          <p:nvPicPr>
            <p:cNvPr id="24" name="object 24"/>
            <p:cNvPicPr/>
            <p:nvPr/>
          </p:nvPicPr>
          <p:blipFill>
            <a:blip r:embed="rId15" cstate="screen">
              <a:extLst>
                <a:ext uri="{28A0092B-C50C-407E-A947-70E740481C1C}">
                  <a14:useLocalDpi xmlns:a14="http://schemas.microsoft.com/office/drawing/2010/main"/>
                </a:ext>
              </a:extLst>
            </a:blip>
            <a:stretch>
              <a:fillRect/>
            </a:stretch>
          </p:blipFill>
          <p:spPr>
            <a:xfrm>
              <a:off x="10853015" y="342766"/>
              <a:ext cx="124993" cy="141261"/>
            </a:xfrm>
            <a:prstGeom prst="rect">
              <a:avLst/>
            </a:prstGeom>
          </p:spPr>
        </p:pic>
        <p:sp>
          <p:nvSpPr>
            <p:cNvPr id="25" name="object 25"/>
            <p:cNvSpPr/>
            <p:nvPr/>
          </p:nvSpPr>
          <p:spPr>
            <a:xfrm>
              <a:off x="10219290" y="144126"/>
              <a:ext cx="141605" cy="340360"/>
            </a:xfrm>
            <a:custGeom>
              <a:avLst/>
              <a:gdLst/>
              <a:ahLst/>
              <a:cxnLst/>
              <a:rect l="l" t="t" r="r" b="b"/>
              <a:pathLst>
                <a:path w="141604" h="340359">
                  <a:moveTo>
                    <a:pt x="141358" y="0"/>
                  </a:moveTo>
                  <a:lnTo>
                    <a:pt x="0" y="0"/>
                  </a:lnTo>
                  <a:lnTo>
                    <a:pt x="10922" y="2200"/>
                  </a:lnTo>
                  <a:lnTo>
                    <a:pt x="19954" y="8197"/>
                  </a:lnTo>
                  <a:lnTo>
                    <a:pt x="26100" y="17086"/>
                  </a:lnTo>
                  <a:lnTo>
                    <a:pt x="28370" y="27963"/>
                  </a:lnTo>
                  <a:lnTo>
                    <a:pt x="28370" y="339901"/>
                  </a:lnTo>
                  <a:lnTo>
                    <a:pt x="141358" y="339901"/>
                  </a:lnTo>
                  <a:lnTo>
                    <a:pt x="141358" y="283493"/>
                  </a:lnTo>
                  <a:lnTo>
                    <a:pt x="56253" y="169713"/>
                  </a:lnTo>
                  <a:lnTo>
                    <a:pt x="141358" y="56408"/>
                  </a:lnTo>
                  <a:lnTo>
                    <a:pt x="141358"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26" name="object 26"/>
            <p:cNvSpPr/>
            <p:nvPr/>
          </p:nvSpPr>
          <p:spPr>
            <a:xfrm>
              <a:off x="10077926" y="144126"/>
              <a:ext cx="141605" cy="340360"/>
            </a:xfrm>
            <a:custGeom>
              <a:avLst/>
              <a:gdLst/>
              <a:ahLst/>
              <a:cxnLst/>
              <a:rect l="l" t="t" r="r" b="b"/>
              <a:pathLst>
                <a:path w="141604" h="340359">
                  <a:moveTo>
                    <a:pt x="141364" y="0"/>
                  </a:moveTo>
                  <a:lnTo>
                    <a:pt x="0" y="0"/>
                  </a:lnTo>
                  <a:lnTo>
                    <a:pt x="0" y="283493"/>
                  </a:lnTo>
                  <a:lnTo>
                    <a:pt x="4395" y="305527"/>
                  </a:lnTo>
                  <a:lnTo>
                    <a:pt x="16409" y="323449"/>
                  </a:lnTo>
                  <a:lnTo>
                    <a:pt x="34284" y="335494"/>
                  </a:lnTo>
                  <a:lnTo>
                    <a:pt x="56260" y="339901"/>
                  </a:lnTo>
                  <a:lnTo>
                    <a:pt x="78310" y="335494"/>
                  </a:lnTo>
                  <a:lnTo>
                    <a:pt x="96348" y="323449"/>
                  </a:lnTo>
                  <a:lnTo>
                    <a:pt x="108525" y="305527"/>
                  </a:lnTo>
                  <a:lnTo>
                    <a:pt x="112994" y="283493"/>
                  </a:lnTo>
                  <a:lnTo>
                    <a:pt x="112994" y="24107"/>
                  </a:lnTo>
                  <a:lnTo>
                    <a:pt x="113955" y="20250"/>
                  </a:lnTo>
                  <a:lnTo>
                    <a:pt x="115398" y="16876"/>
                  </a:lnTo>
                  <a:lnTo>
                    <a:pt x="115398" y="16394"/>
                  </a:lnTo>
                  <a:lnTo>
                    <a:pt x="116359" y="14466"/>
                  </a:lnTo>
                  <a:lnTo>
                    <a:pt x="120739" y="8546"/>
                  </a:lnTo>
                  <a:lnTo>
                    <a:pt x="126518" y="3979"/>
                  </a:lnTo>
                  <a:lnTo>
                    <a:pt x="133469" y="1040"/>
                  </a:lnTo>
                  <a:lnTo>
                    <a:pt x="141364"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7" name="object 27"/>
            <p:cNvPicPr/>
            <p:nvPr/>
          </p:nvPicPr>
          <p:blipFill>
            <a:blip r:embed="rId16" cstate="screen">
              <a:extLst>
                <a:ext uri="{28A0092B-C50C-407E-A947-70E740481C1C}">
                  <a14:useLocalDpi xmlns:a14="http://schemas.microsoft.com/office/drawing/2010/main"/>
                </a:ext>
              </a:extLst>
            </a:blip>
            <a:stretch>
              <a:fillRect/>
            </a:stretch>
          </p:blipFill>
          <p:spPr>
            <a:xfrm>
              <a:off x="1074115" y="1275842"/>
              <a:ext cx="7360284" cy="326136"/>
            </a:xfrm>
            <a:prstGeom prst="rect">
              <a:avLst/>
            </a:prstGeom>
          </p:spPr>
        </p:pic>
        <p:pic>
          <p:nvPicPr>
            <p:cNvPr id="28" name="object 28"/>
            <p:cNvPicPr/>
            <p:nvPr/>
          </p:nvPicPr>
          <p:blipFill>
            <a:blip r:embed="rId17" cstate="screen">
              <a:extLst>
                <a:ext uri="{28A0092B-C50C-407E-A947-70E740481C1C}">
                  <a14:useLocalDpi xmlns:a14="http://schemas.microsoft.com/office/drawing/2010/main"/>
                </a:ext>
              </a:extLst>
            </a:blip>
            <a:stretch>
              <a:fillRect/>
            </a:stretch>
          </p:blipFill>
          <p:spPr>
            <a:xfrm>
              <a:off x="8393303" y="1275842"/>
              <a:ext cx="2138679" cy="326136"/>
            </a:xfrm>
            <a:prstGeom prst="rect">
              <a:avLst/>
            </a:prstGeom>
          </p:spPr>
        </p:pic>
        <p:pic>
          <p:nvPicPr>
            <p:cNvPr id="29" name="object 29"/>
            <p:cNvPicPr/>
            <p:nvPr/>
          </p:nvPicPr>
          <p:blipFill>
            <a:blip r:embed="rId18" cstate="screen">
              <a:extLst>
                <a:ext uri="{28A0092B-C50C-407E-A947-70E740481C1C}">
                  <a14:useLocalDpi xmlns:a14="http://schemas.microsoft.com/office/drawing/2010/main"/>
                </a:ext>
              </a:extLst>
            </a:blip>
            <a:stretch>
              <a:fillRect/>
            </a:stretch>
          </p:blipFill>
          <p:spPr>
            <a:xfrm>
              <a:off x="1074115" y="1580337"/>
              <a:ext cx="8099425" cy="326440"/>
            </a:xfrm>
            <a:prstGeom prst="rect">
              <a:avLst/>
            </a:prstGeom>
          </p:spPr>
        </p:pic>
        <p:sp>
          <p:nvSpPr>
            <p:cNvPr id="30" name="object 30"/>
            <p:cNvSpPr/>
            <p:nvPr/>
          </p:nvSpPr>
          <p:spPr>
            <a:xfrm>
              <a:off x="6352032" y="1956816"/>
              <a:ext cx="5008245" cy="3435350"/>
            </a:xfrm>
            <a:custGeom>
              <a:avLst/>
              <a:gdLst/>
              <a:ahLst/>
              <a:cxnLst/>
              <a:rect l="l" t="t" r="r" b="b"/>
              <a:pathLst>
                <a:path w="5008245" h="3435350">
                  <a:moveTo>
                    <a:pt x="4435347" y="0"/>
                  </a:moveTo>
                  <a:lnTo>
                    <a:pt x="572515" y="0"/>
                  </a:lnTo>
                  <a:lnTo>
                    <a:pt x="525555" y="1897"/>
                  </a:lnTo>
                  <a:lnTo>
                    <a:pt x="479641" y="7492"/>
                  </a:lnTo>
                  <a:lnTo>
                    <a:pt x="434921" y="16636"/>
                  </a:lnTo>
                  <a:lnTo>
                    <a:pt x="391542" y="29183"/>
                  </a:lnTo>
                  <a:lnTo>
                    <a:pt x="349650" y="44985"/>
                  </a:lnTo>
                  <a:lnTo>
                    <a:pt x="309395" y="63895"/>
                  </a:lnTo>
                  <a:lnTo>
                    <a:pt x="270922" y="85766"/>
                  </a:lnTo>
                  <a:lnTo>
                    <a:pt x="234379" y="110451"/>
                  </a:lnTo>
                  <a:lnTo>
                    <a:pt x="199913" y="137802"/>
                  </a:lnTo>
                  <a:lnTo>
                    <a:pt x="167671" y="167671"/>
                  </a:lnTo>
                  <a:lnTo>
                    <a:pt x="137802" y="199913"/>
                  </a:lnTo>
                  <a:lnTo>
                    <a:pt x="110451" y="234379"/>
                  </a:lnTo>
                  <a:lnTo>
                    <a:pt x="85766" y="270922"/>
                  </a:lnTo>
                  <a:lnTo>
                    <a:pt x="63895" y="309395"/>
                  </a:lnTo>
                  <a:lnTo>
                    <a:pt x="44985" y="349650"/>
                  </a:lnTo>
                  <a:lnTo>
                    <a:pt x="29183" y="391542"/>
                  </a:lnTo>
                  <a:lnTo>
                    <a:pt x="16636" y="434921"/>
                  </a:lnTo>
                  <a:lnTo>
                    <a:pt x="7492" y="479641"/>
                  </a:lnTo>
                  <a:lnTo>
                    <a:pt x="1897" y="525555"/>
                  </a:lnTo>
                  <a:lnTo>
                    <a:pt x="0" y="572516"/>
                  </a:lnTo>
                  <a:lnTo>
                    <a:pt x="0" y="2862580"/>
                  </a:lnTo>
                  <a:lnTo>
                    <a:pt x="1897" y="2909540"/>
                  </a:lnTo>
                  <a:lnTo>
                    <a:pt x="7492" y="2955454"/>
                  </a:lnTo>
                  <a:lnTo>
                    <a:pt x="16636" y="3000174"/>
                  </a:lnTo>
                  <a:lnTo>
                    <a:pt x="29183" y="3043553"/>
                  </a:lnTo>
                  <a:lnTo>
                    <a:pt x="44985" y="3085445"/>
                  </a:lnTo>
                  <a:lnTo>
                    <a:pt x="63895" y="3125700"/>
                  </a:lnTo>
                  <a:lnTo>
                    <a:pt x="85766" y="3164173"/>
                  </a:lnTo>
                  <a:lnTo>
                    <a:pt x="110451" y="3200716"/>
                  </a:lnTo>
                  <a:lnTo>
                    <a:pt x="137802" y="3235182"/>
                  </a:lnTo>
                  <a:lnTo>
                    <a:pt x="167671" y="3267424"/>
                  </a:lnTo>
                  <a:lnTo>
                    <a:pt x="199913" y="3297293"/>
                  </a:lnTo>
                  <a:lnTo>
                    <a:pt x="234379" y="3324644"/>
                  </a:lnTo>
                  <a:lnTo>
                    <a:pt x="270922" y="3349329"/>
                  </a:lnTo>
                  <a:lnTo>
                    <a:pt x="309395" y="3371200"/>
                  </a:lnTo>
                  <a:lnTo>
                    <a:pt x="349650" y="3390110"/>
                  </a:lnTo>
                  <a:lnTo>
                    <a:pt x="391542" y="3405912"/>
                  </a:lnTo>
                  <a:lnTo>
                    <a:pt x="434921" y="3418459"/>
                  </a:lnTo>
                  <a:lnTo>
                    <a:pt x="479641" y="3427603"/>
                  </a:lnTo>
                  <a:lnTo>
                    <a:pt x="525555" y="3433198"/>
                  </a:lnTo>
                  <a:lnTo>
                    <a:pt x="572515" y="3435096"/>
                  </a:lnTo>
                  <a:lnTo>
                    <a:pt x="4435347" y="3435096"/>
                  </a:lnTo>
                  <a:lnTo>
                    <a:pt x="4482308" y="3433198"/>
                  </a:lnTo>
                  <a:lnTo>
                    <a:pt x="4528222" y="3427603"/>
                  </a:lnTo>
                  <a:lnTo>
                    <a:pt x="4572942" y="3418459"/>
                  </a:lnTo>
                  <a:lnTo>
                    <a:pt x="4616321" y="3405912"/>
                  </a:lnTo>
                  <a:lnTo>
                    <a:pt x="4658213" y="3390110"/>
                  </a:lnTo>
                  <a:lnTo>
                    <a:pt x="4698468" y="3371200"/>
                  </a:lnTo>
                  <a:lnTo>
                    <a:pt x="4736941" y="3349329"/>
                  </a:lnTo>
                  <a:lnTo>
                    <a:pt x="4773484" y="3324644"/>
                  </a:lnTo>
                  <a:lnTo>
                    <a:pt x="4807950" y="3297293"/>
                  </a:lnTo>
                  <a:lnTo>
                    <a:pt x="4840192" y="3267424"/>
                  </a:lnTo>
                  <a:lnTo>
                    <a:pt x="4870061" y="3235182"/>
                  </a:lnTo>
                  <a:lnTo>
                    <a:pt x="4897412" y="3200716"/>
                  </a:lnTo>
                  <a:lnTo>
                    <a:pt x="4922097" y="3164173"/>
                  </a:lnTo>
                  <a:lnTo>
                    <a:pt x="4943968" y="3125700"/>
                  </a:lnTo>
                  <a:lnTo>
                    <a:pt x="4962878" y="3085445"/>
                  </a:lnTo>
                  <a:lnTo>
                    <a:pt x="4978680" y="3043553"/>
                  </a:lnTo>
                  <a:lnTo>
                    <a:pt x="4991227" y="3000174"/>
                  </a:lnTo>
                  <a:lnTo>
                    <a:pt x="5000371" y="2955454"/>
                  </a:lnTo>
                  <a:lnTo>
                    <a:pt x="5005966" y="2909540"/>
                  </a:lnTo>
                  <a:lnTo>
                    <a:pt x="5007864" y="2862580"/>
                  </a:lnTo>
                  <a:lnTo>
                    <a:pt x="5007864" y="572516"/>
                  </a:lnTo>
                  <a:lnTo>
                    <a:pt x="5005966" y="525555"/>
                  </a:lnTo>
                  <a:lnTo>
                    <a:pt x="5000371" y="479641"/>
                  </a:lnTo>
                  <a:lnTo>
                    <a:pt x="4991227" y="434921"/>
                  </a:lnTo>
                  <a:lnTo>
                    <a:pt x="4978680" y="391542"/>
                  </a:lnTo>
                  <a:lnTo>
                    <a:pt x="4962878" y="349650"/>
                  </a:lnTo>
                  <a:lnTo>
                    <a:pt x="4943968" y="309395"/>
                  </a:lnTo>
                  <a:lnTo>
                    <a:pt x="4922097" y="270922"/>
                  </a:lnTo>
                  <a:lnTo>
                    <a:pt x="4897412" y="234379"/>
                  </a:lnTo>
                  <a:lnTo>
                    <a:pt x="4870061" y="199913"/>
                  </a:lnTo>
                  <a:lnTo>
                    <a:pt x="4840192" y="167671"/>
                  </a:lnTo>
                  <a:lnTo>
                    <a:pt x="4807950" y="137802"/>
                  </a:lnTo>
                  <a:lnTo>
                    <a:pt x="4773484" y="110451"/>
                  </a:lnTo>
                  <a:lnTo>
                    <a:pt x="4736941" y="85766"/>
                  </a:lnTo>
                  <a:lnTo>
                    <a:pt x="4698468" y="63895"/>
                  </a:lnTo>
                  <a:lnTo>
                    <a:pt x="4658213" y="44985"/>
                  </a:lnTo>
                  <a:lnTo>
                    <a:pt x="4616321" y="29183"/>
                  </a:lnTo>
                  <a:lnTo>
                    <a:pt x="4572942" y="16636"/>
                  </a:lnTo>
                  <a:lnTo>
                    <a:pt x="4528222" y="7492"/>
                  </a:lnTo>
                  <a:lnTo>
                    <a:pt x="4482308" y="1897"/>
                  </a:lnTo>
                  <a:lnTo>
                    <a:pt x="4435347" y="0"/>
                  </a:lnTo>
                  <a:close/>
                </a:path>
              </a:pathLst>
            </a:custGeom>
            <a:solidFill>
              <a:srgbClr val="8FD9C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31" name="object 31"/>
            <p:cNvSpPr/>
            <p:nvPr/>
          </p:nvSpPr>
          <p:spPr>
            <a:xfrm>
              <a:off x="6352032" y="1956816"/>
              <a:ext cx="5008245" cy="3435350"/>
            </a:xfrm>
            <a:custGeom>
              <a:avLst/>
              <a:gdLst/>
              <a:ahLst/>
              <a:cxnLst/>
              <a:rect l="l" t="t" r="r" b="b"/>
              <a:pathLst>
                <a:path w="5008245" h="3435350">
                  <a:moveTo>
                    <a:pt x="0" y="572516"/>
                  </a:moveTo>
                  <a:lnTo>
                    <a:pt x="1897" y="525555"/>
                  </a:lnTo>
                  <a:lnTo>
                    <a:pt x="7492" y="479641"/>
                  </a:lnTo>
                  <a:lnTo>
                    <a:pt x="16636" y="434921"/>
                  </a:lnTo>
                  <a:lnTo>
                    <a:pt x="29183" y="391542"/>
                  </a:lnTo>
                  <a:lnTo>
                    <a:pt x="44985" y="349650"/>
                  </a:lnTo>
                  <a:lnTo>
                    <a:pt x="63895" y="309395"/>
                  </a:lnTo>
                  <a:lnTo>
                    <a:pt x="85766" y="270922"/>
                  </a:lnTo>
                  <a:lnTo>
                    <a:pt x="110451" y="234379"/>
                  </a:lnTo>
                  <a:lnTo>
                    <a:pt x="137802" y="199913"/>
                  </a:lnTo>
                  <a:lnTo>
                    <a:pt x="167671" y="167671"/>
                  </a:lnTo>
                  <a:lnTo>
                    <a:pt x="199913" y="137802"/>
                  </a:lnTo>
                  <a:lnTo>
                    <a:pt x="234379" y="110451"/>
                  </a:lnTo>
                  <a:lnTo>
                    <a:pt x="270922" y="85766"/>
                  </a:lnTo>
                  <a:lnTo>
                    <a:pt x="309395" y="63895"/>
                  </a:lnTo>
                  <a:lnTo>
                    <a:pt x="349650" y="44985"/>
                  </a:lnTo>
                  <a:lnTo>
                    <a:pt x="391542" y="29183"/>
                  </a:lnTo>
                  <a:lnTo>
                    <a:pt x="434921" y="16636"/>
                  </a:lnTo>
                  <a:lnTo>
                    <a:pt x="479641" y="7492"/>
                  </a:lnTo>
                  <a:lnTo>
                    <a:pt x="525555" y="1897"/>
                  </a:lnTo>
                  <a:lnTo>
                    <a:pt x="572515" y="0"/>
                  </a:lnTo>
                  <a:lnTo>
                    <a:pt x="4435347" y="0"/>
                  </a:lnTo>
                  <a:lnTo>
                    <a:pt x="4482308" y="1897"/>
                  </a:lnTo>
                  <a:lnTo>
                    <a:pt x="4528222" y="7492"/>
                  </a:lnTo>
                  <a:lnTo>
                    <a:pt x="4572942" y="16636"/>
                  </a:lnTo>
                  <a:lnTo>
                    <a:pt x="4616321" y="29183"/>
                  </a:lnTo>
                  <a:lnTo>
                    <a:pt x="4658213" y="44985"/>
                  </a:lnTo>
                  <a:lnTo>
                    <a:pt x="4698468" y="63895"/>
                  </a:lnTo>
                  <a:lnTo>
                    <a:pt x="4736941" y="85766"/>
                  </a:lnTo>
                  <a:lnTo>
                    <a:pt x="4773484" y="110451"/>
                  </a:lnTo>
                  <a:lnTo>
                    <a:pt x="4807950" y="137802"/>
                  </a:lnTo>
                  <a:lnTo>
                    <a:pt x="4840192" y="167671"/>
                  </a:lnTo>
                  <a:lnTo>
                    <a:pt x="4870061" y="199913"/>
                  </a:lnTo>
                  <a:lnTo>
                    <a:pt x="4897412" y="234379"/>
                  </a:lnTo>
                  <a:lnTo>
                    <a:pt x="4922097" y="270922"/>
                  </a:lnTo>
                  <a:lnTo>
                    <a:pt x="4943968" y="309395"/>
                  </a:lnTo>
                  <a:lnTo>
                    <a:pt x="4962878" y="349650"/>
                  </a:lnTo>
                  <a:lnTo>
                    <a:pt x="4978680" y="391542"/>
                  </a:lnTo>
                  <a:lnTo>
                    <a:pt x="4991227" y="434921"/>
                  </a:lnTo>
                  <a:lnTo>
                    <a:pt x="5000371" y="479641"/>
                  </a:lnTo>
                  <a:lnTo>
                    <a:pt x="5005966" y="525555"/>
                  </a:lnTo>
                  <a:lnTo>
                    <a:pt x="5007864" y="572516"/>
                  </a:lnTo>
                  <a:lnTo>
                    <a:pt x="5007864" y="2862580"/>
                  </a:lnTo>
                  <a:lnTo>
                    <a:pt x="5005966" y="2909540"/>
                  </a:lnTo>
                  <a:lnTo>
                    <a:pt x="5000371" y="2955454"/>
                  </a:lnTo>
                  <a:lnTo>
                    <a:pt x="4991227" y="3000174"/>
                  </a:lnTo>
                  <a:lnTo>
                    <a:pt x="4978680" y="3043553"/>
                  </a:lnTo>
                  <a:lnTo>
                    <a:pt x="4962878" y="3085445"/>
                  </a:lnTo>
                  <a:lnTo>
                    <a:pt x="4943968" y="3125700"/>
                  </a:lnTo>
                  <a:lnTo>
                    <a:pt x="4922097" y="3164173"/>
                  </a:lnTo>
                  <a:lnTo>
                    <a:pt x="4897412" y="3200716"/>
                  </a:lnTo>
                  <a:lnTo>
                    <a:pt x="4870061" y="3235182"/>
                  </a:lnTo>
                  <a:lnTo>
                    <a:pt x="4840192" y="3267424"/>
                  </a:lnTo>
                  <a:lnTo>
                    <a:pt x="4807950" y="3297293"/>
                  </a:lnTo>
                  <a:lnTo>
                    <a:pt x="4773484" y="3324644"/>
                  </a:lnTo>
                  <a:lnTo>
                    <a:pt x="4736941" y="3349329"/>
                  </a:lnTo>
                  <a:lnTo>
                    <a:pt x="4698468" y="3371200"/>
                  </a:lnTo>
                  <a:lnTo>
                    <a:pt x="4658213" y="3390110"/>
                  </a:lnTo>
                  <a:lnTo>
                    <a:pt x="4616321" y="3405912"/>
                  </a:lnTo>
                  <a:lnTo>
                    <a:pt x="4572942" y="3418459"/>
                  </a:lnTo>
                  <a:lnTo>
                    <a:pt x="4528222" y="3427603"/>
                  </a:lnTo>
                  <a:lnTo>
                    <a:pt x="4482308" y="3433198"/>
                  </a:lnTo>
                  <a:lnTo>
                    <a:pt x="4435347" y="3435096"/>
                  </a:lnTo>
                  <a:lnTo>
                    <a:pt x="572515" y="3435096"/>
                  </a:lnTo>
                  <a:lnTo>
                    <a:pt x="525555" y="3433198"/>
                  </a:lnTo>
                  <a:lnTo>
                    <a:pt x="479641" y="3427603"/>
                  </a:lnTo>
                  <a:lnTo>
                    <a:pt x="434921" y="3418459"/>
                  </a:lnTo>
                  <a:lnTo>
                    <a:pt x="391542" y="3405912"/>
                  </a:lnTo>
                  <a:lnTo>
                    <a:pt x="349650" y="3390110"/>
                  </a:lnTo>
                  <a:lnTo>
                    <a:pt x="309395" y="3371200"/>
                  </a:lnTo>
                  <a:lnTo>
                    <a:pt x="270922" y="3349329"/>
                  </a:lnTo>
                  <a:lnTo>
                    <a:pt x="234379" y="3324644"/>
                  </a:lnTo>
                  <a:lnTo>
                    <a:pt x="199913" y="3297293"/>
                  </a:lnTo>
                  <a:lnTo>
                    <a:pt x="167671" y="3267424"/>
                  </a:lnTo>
                  <a:lnTo>
                    <a:pt x="137802" y="3235182"/>
                  </a:lnTo>
                  <a:lnTo>
                    <a:pt x="110451" y="3200716"/>
                  </a:lnTo>
                  <a:lnTo>
                    <a:pt x="85766" y="3164173"/>
                  </a:lnTo>
                  <a:lnTo>
                    <a:pt x="63895" y="3125700"/>
                  </a:lnTo>
                  <a:lnTo>
                    <a:pt x="44985" y="3085445"/>
                  </a:lnTo>
                  <a:lnTo>
                    <a:pt x="29183" y="3043553"/>
                  </a:lnTo>
                  <a:lnTo>
                    <a:pt x="16636" y="3000174"/>
                  </a:lnTo>
                  <a:lnTo>
                    <a:pt x="7492" y="2955454"/>
                  </a:lnTo>
                  <a:lnTo>
                    <a:pt x="1897" y="2909540"/>
                  </a:lnTo>
                  <a:lnTo>
                    <a:pt x="0" y="2862580"/>
                  </a:lnTo>
                  <a:lnTo>
                    <a:pt x="0" y="572516"/>
                  </a:lnTo>
                  <a:close/>
                </a:path>
              </a:pathLst>
            </a:custGeom>
            <a:ln w="12700">
              <a:solidFill>
                <a:srgbClr val="689F9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32" name="object 32"/>
            <p:cNvPicPr/>
            <p:nvPr/>
          </p:nvPicPr>
          <p:blipFill>
            <a:blip r:embed="rId19" cstate="screen">
              <a:extLst>
                <a:ext uri="{28A0092B-C50C-407E-A947-70E740481C1C}">
                  <a14:useLocalDpi xmlns:a14="http://schemas.microsoft.com/office/drawing/2010/main"/>
                </a:ext>
              </a:extLst>
            </a:blip>
            <a:stretch>
              <a:fillRect/>
            </a:stretch>
          </p:blipFill>
          <p:spPr>
            <a:xfrm>
              <a:off x="6612636" y="2439288"/>
              <a:ext cx="324611" cy="326136"/>
            </a:xfrm>
            <a:prstGeom prst="rect">
              <a:avLst/>
            </a:prstGeom>
          </p:spPr>
        </p:pic>
        <p:pic>
          <p:nvPicPr>
            <p:cNvPr id="33" name="object 33"/>
            <p:cNvPicPr/>
            <p:nvPr/>
          </p:nvPicPr>
          <p:blipFill>
            <a:blip r:embed="rId20" cstate="screen">
              <a:extLst>
                <a:ext uri="{28A0092B-C50C-407E-A947-70E740481C1C}">
                  <a14:useLocalDpi xmlns:a14="http://schemas.microsoft.com/office/drawing/2010/main"/>
                </a:ext>
              </a:extLst>
            </a:blip>
            <a:stretch>
              <a:fillRect/>
            </a:stretch>
          </p:blipFill>
          <p:spPr>
            <a:xfrm>
              <a:off x="7127747" y="2439288"/>
              <a:ext cx="2687954" cy="326136"/>
            </a:xfrm>
            <a:prstGeom prst="rect">
              <a:avLst/>
            </a:prstGeom>
          </p:spPr>
        </p:pic>
        <p:pic>
          <p:nvPicPr>
            <p:cNvPr id="34" name="object 34"/>
            <p:cNvPicPr/>
            <p:nvPr/>
          </p:nvPicPr>
          <p:blipFill>
            <a:blip r:embed="rId21" cstate="screen">
              <a:extLst>
                <a:ext uri="{28A0092B-C50C-407E-A947-70E740481C1C}">
                  <a14:useLocalDpi xmlns:a14="http://schemas.microsoft.com/office/drawing/2010/main"/>
                </a:ext>
              </a:extLst>
            </a:blip>
            <a:stretch>
              <a:fillRect/>
            </a:stretch>
          </p:blipFill>
          <p:spPr>
            <a:xfrm>
              <a:off x="9708133" y="2439288"/>
              <a:ext cx="307848" cy="326136"/>
            </a:xfrm>
            <a:prstGeom prst="rect">
              <a:avLst/>
            </a:prstGeom>
          </p:spPr>
        </p:pic>
        <p:pic>
          <p:nvPicPr>
            <p:cNvPr id="35" name="object 35"/>
            <p:cNvPicPr/>
            <p:nvPr/>
          </p:nvPicPr>
          <p:blipFill>
            <a:blip r:embed="rId22" cstate="screen">
              <a:extLst>
                <a:ext uri="{28A0092B-C50C-407E-A947-70E740481C1C}">
                  <a14:useLocalDpi xmlns:a14="http://schemas.microsoft.com/office/drawing/2010/main"/>
                </a:ext>
              </a:extLst>
            </a:blip>
            <a:stretch>
              <a:fillRect/>
            </a:stretch>
          </p:blipFill>
          <p:spPr>
            <a:xfrm>
              <a:off x="9929114" y="2439288"/>
              <a:ext cx="1330705" cy="326136"/>
            </a:xfrm>
            <a:prstGeom prst="rect">
              <a:avLst/>
            </a:prstGeom>
          </p:spPr>
        </p:pic>
        <p:pic>
          <p:nvPicPr>
            <p:cNvPr id="36" name="object 36"/>
            <p:cNvPicPr/>
            <p:nvPr/>
          </p:nvPicPr>
          <p:blipFill>
            <a:blip r:embed="rId23" cstate="screen">
              <a:extLst>
                <a:ext uri="{28A0092B-C50C-407E-A947-70E740481C1C}">
                  <a14:useLocalDpi xmlns:a14="http://schemas.microsoft.com/office/drawing/2010/main"/>
                </a:ext>
              </a:extLst>
            </a:blip>
            <a:stretch>
              <a:fillRect/>
            </a:stretch>
          </p:blipFill>
          <p:spPr>
            <a:xfrm>
              <a:off x="7127747" y="2744088"/>
              <a:ext cx="3564763" cy="326136"/>
            </a:xfrm>
            <a:prstGeom prst="rect">
              <a:avLst/>
            </a:prstGeom>
          </p:spPr>
        </p:pic>
        <p:pic>
          <p:nvPicPr>
            <p:cNvPr id="37" name="object 37"/>
            <p:cNvPicPr/>
            <p:nvPr/>
          </p:nvPicPr>
          <p:blipFill>
            <a:blip r:embed="rId24" cstate="screen">
              <a:extLst>
                <a:ext uri="{28A0092B-C50C-407E-A947-70E740481C1C}">
                  <a14:useLocalDpi xmlns:a14="http://schemas.microsoft.com/office/drawing/2010/main"/>
                </a:ext>
              </a:extLst>
            </a:blip>
            <a:stretch>
              <a:fillRect/>
            </a:stretch>
          </p:blipFill>
          <p:spPr>
            <a:xfrm>
              <a:off x="7127747" y="3048888"/>
              <a:ext cx="1270000" cy="326136"/>
            </a:xfrm>
            <a:prstGeom prst="rect">
              <a:avLst/>
            </a:prstGeom>
          </p:spPr>
        </p:pic>
        <p:pic>
          <p:nvPicPr>
            <p:cNvPr id="38" name="object 38"/>
            <p:cNvPicPr/>
            <p:nvPr/>
          </p:nvPicPr>
          <p:blipFill>
            <a:blip r:embed="rId25" cstate="screen">
              <a:extLst>
                <a:ext uri="{28A0092B-C50C-407E-A947-70E740481C1C}">
                  <a14:useLocalDpi xmlns:a14="http://schemas.microsoft.com/office/drawing/2010/main"/>
                </a:ext>
              </a:extLst>
            </a:blip>
            <a:stretch>
              <a:fillRect/>
            </a:stretch>
          </p:blipFill>
          <p:spPr>
            <a:xfrm>
              <a:off x="6612636" y="3658870"/>
              <a:ext cx="324611" cy="326136"/>
            </a:xfrm>
            <a:prstGeom prst="rect">
              <a:avLst/>
            </a:prstGeom>
          </p:spPr>
        </p:pic>
        <p:pic>
          <p:nvPicPr>
            <p:cNvPr id="39" name="object 39"/>
            <p:cNvPicPr/>
            <p:nvPr/>
          </p:nvPicPr>
          <p:blipFill>
            <a:blip r:embed="rId26" cstate="screen">
              <a:extLst>
                <a:ext uri="{28A0092B-C50C-407E-A947-70E740481C1C}">
                  <a14:useLocalDpi xmlns:a14="http://schemas.microsoft.com/office/drawing/2010/main"/>
                </a:ext>
              </a:extLst>
            </a:blip>
            <a:stretch>
              <a:fillRect/>
            </a:stretch>
          </p:blipFill>
          <p:spPr>
            <a:xfrm>
              <a:off x="7127747" y="3658870"/>
              <a:ext cx="3329432" cy="326136"/>
            </a:xfrm>
            <a:prstGeom prst="rect">
              <a:avLst/>
            </a:prstGeom>
          </p:spPr>
        </p:pic>
        <p:pic>
          <p:nvPicPr>
            <p:cNvPr id="40" name="object 40"/>
            <p:cNvPicPr/>
            <p:nvPr/>
          </p:nvPicPr>
          <p:blipFill>
            <a:blip r:embed="rId27" cstate="screen">
              <a:extLst>
                <a:ext uri="{28A0092B-C50C-407E-A947-70E740481C1C}">
                  <a14:useLocalDpi xmlns:a14="http://schemas.microsoft.com/office/drawing/2010/main"/>
                </a:ext>
              </a:extLst>
            </a:blip>
            <a:stretch>
              <a:fillRect/>
            </a:stretch>
          </p:blipFill>
          <p:spPr>
            <a:xfrm>
              <a:off x="7127747" y="3963670"/>
              <a:ext cx="1985518" cy="326136"/>
            </a:xfrm>
            <a:prstGeom prst="rect">
              <a:avLst/>
            </a:prstGeom>
          </p:spPr>
        </p:pic>
        <p:pic>
          <p:nvPicPr>
            <p:cNvPr id="41" name="object 41"/>
            <p:cNvPicPr/>
            <p:nvPr/>
          </p:nvPicPr>
          <p:blipFill>
            <a:blip r:embed="rId21" cstate="screen">
              <a:extLst>
                <a:ext uri="{28A0092B-C50C-407E-A947-70E740481C1C}">
                  <a14:useLocalDpi xmlns:a14="http://schemas.microsoft.com/office/drawing/2010/main"/>
                </a:ext>
              </a:extLst>
            </a:blip>
            <a:stretch>
              <a:fillRect/>
            </a:stretch>
          </p:blipFill>
          <p:spPr>
            <a:xfrm>
              <a:off x="8996426" y="3963670"/>
              <a:ext cx="307848" cy="326136"/>
            </a:xfrm>
            <a:prstGeom prst="rect">
              <a:avLst/>
            </a:prstGeom>
          </p:spPr>
        </p:pic>
        <p:pic>
          <p:nvPicPr>
            <p:cNvPr id="42" name="object 42"/>
            <p:cNvPicPr/>
            <p:nvPr/>
          </p:nvPicPr>
          <p:blipFill>
            <a:blip r:embed="rId28" cstate="screen">
              <a:extLst>
                <a:ext uri="{28A0092B-C50C-407E-A947-70E740481C1C}">
                  <a14:useLocalDpi xmlns:a14="http://schemas.microsoft.com/office/drawing/2010/main"/>
                </a:ext>
              </a:extLst>
            </a:blip>
            <a:stretch>
              <a:fillRect/>
            </a:stretch>
          </p:blipFill>
          <p:spPr>
            <a:xfrm>
              <a:off x="9217405" y="3963670"/>
              <a:ext cx="1166774" cy="326136"/>
            </a:xfrm>
            <a:prstGeom prst="rect">
              <a:avLst/>
            </a:prstGeom>
          </p:spPr>
        </p:pic>
        <p:pic>
          <p:nvPicPr>
            <p:cNvPr id="43" name="object 43"/>
            <p:cNvPicPr/>
            <p:nvPr/>
          </p:nvPicPr>
          <p:blipFill>
            <a:blip r:embed="rId29" cstate="screen">
              <a:extLst>
                <a:ext uri="{28A0092B-C50C-407E-A947-70E740481C1C}">
                  <a14:useLocalDpi xmlns:a14="http://schemas.microsoft.com/office/drawing/2010/main"/>
                </a:ext>
              </a:extLst>
            </a:blip>
            <a:stretch>
              <a:fillRect/>
            </a:stretch>
          </p:blipFill>
          <p:spPr>
            <a:xfrm>
              <a:off x="7127747" y="4268470"/>
              <a:ext cx="4106036" cy="326136"/>
            </a:xfrm>
            <a:prstGeom prst="rect">
              <a:avLst/>
            </a:prstGeom>
          </p:spPr>
        </p:pic>
        <p:pic>
          <p:nvPicPr>
            <p:cNvPr id="44" name="object 44"/>
            <p:cNvPicPr/>
            <p:nvPr/>
          </p:nvPicPr>
          <p:blipFill>
            <a:blip r:embed="rId30" cstate="screen">
              <a:extLst>
                <a:ext uri="{28A0092B-C50C-407E-A947-70E740481C1C}">
                  <a14:useLocalDpi xmlns:a14="http://schemas.microsoft.com/office/drawing/2010/main"/>
                </a:ext>
              </a:extLst>
            </a:blip>
            <a:stretch>
              <a:fillRect/>
            </a:stretch>
          </p:blipFill>
          <p:spPr>
            <a:xfrm>
              <a:off x="7127747" y="4573270"/>
              <a:ext cx="2254757" cy="326136"/>
            </a:xfrm>
            <a:prstGeom prst="rect">
              <a:avLst/>
            </a:prstGeom>
          </p:spPr>
        </p:pic>
      </p:grpSp>
      <p:grpSp>
        <p:nvGrpSpPr>
          <p:cNvPr id="45" name="object 45"/>
          <p:cNvGrpSpPr/>
          <p:nvPr/>
        </p:nvGrpSpPr>
        <p:grpSpPr>
          <a:xfrm>
            <a:off x="815335" y="5602172"/>
            <a:ext cx="10173335" cy="1186180"/>
            <a:chOff x="815335" y="5602172"/>
            <a:chExt cx="10173335" cy="1186180"/>
          </a:xfrm>
        </p:grpSpPr>
        <p:pic>
          <p:nvPicPr>
            <p:cNvPr id="46" name="object 46"/>
            <p:cNvPicPr/>
            <p:nvPr/>
          </p:nvPicPr>
          <p:blipFill>
            <a:blip r:embed="rId31" cstate="print"/>
            <a:stretch>
              <a:fillRect/>
            </a:stretch>
          </p:blipFill>
          <p:spPr>
            <a:xfrm>
              <a:off x="815335" y="5602172"/>
              <a:ext cx="10172708" cy="1185740"/>
            </a:xfrm>
            <a:prstGeom prst="rect">
              <a:avLst/>
            </a:prstGeom>
          </p:spPr>
        </p:pic>
        <p:pic>
          <p:nvPicPr>
            <p:cNvPr id="47" name="object 47"/>
            <p:cNvPicPr/>
            <p:nvPr/>
          </p:nvPicPr>
          <p:blipFill>
            <a:blip r:embed="rId32" cstate="print"/>
            <a:stretch>
              <a:fillRect/>
            </a:stretch>
          </p:blipFill>
          <p:spPr>
            <a:xfrm>
              <a:off x="879347" y="5795772"/>
              <a:ext cx="10101072" cy="856475"/>
            </a:xfrm>
            <a:prstGeom prst="rect">
              <a:avLst/>
            </a:prstGeom>
          </p:spPr>
        </p:pic>
        <p:sp>
          <p:nvSpPr>
            <p:cNvPr id="48" name="object 48"/>
            <p:cNvSpPr/>
            <p:nvPr/>
          </p:nvSpPr>
          <p:spPr>
            <a:xfrm>
              <a:off x="832103" y="5609844"/>
              <a:ext cx="10088880" cy="1111250"/>
            </a:xfrm>
            <a:custGeom>
              <a:avLst/>
              <a:gdLst/>
              <a:ahLst/>
              <a:cxnLst/>
              <a:rect l="l" t="t" r="r" b="b"/>
              <a:pathLst>
                <a:path w="10088880" h="1111250">
                  <a:moveTo>
                    <a:pt x="9903714" y="0"/>
                  </a:moveTo>
                  <a:lnTo>
                    <a:pt x="185178" y="0"/>
                  </a:lnTo>
                  <a:lnTo>
                    <a:pt x="135950" y="6614"/>
                  </a:lnTo>
                  <a:lnTo>
                    <a:pt x="91714" y="25281"/>
                  </a:lnTo>
                  <a:lnTo>
                    <a:pt x="54236" y="54236"/>
                  </a:lnTo>
                  <a:lnTo>
                    <a:pt x="25281" y="91714"/>
                  </a:lnTo>
                  <a:lnTo>
                    <a:pt x="6614" y="135950"/>
                  </a:lnTo>
                  <a:lnTo>
                    <a:pt x="0" y="185178"/>
                  </a:lnTo>
                  <a:lnTo>
                    <a:pt x="0" y="925817"/>
                  </a:lnTo>
                  <a:lnTo>
                    <a:pt x="6614" y="975045"/>
                  </a:lnTo>
                  <a:lnTo>
                    <a:pt x="25281" y="1019281"/>
                  </a:lnTo>
                  <a:lnTo>
                    <a:pt x="54236" y="1056759"/>
                  </a:lnTo>
                  <a:lnTo>
                    <a:pt x="91714" y="1085714"/>
                  </a:lnTo>
                  <a:lnTo>
                    <a:pt x="135950" y="1104381"/>
                  </a:lnTo>
                  <a:lnTo>
                    <a:pt x="185178" y="1110995"/>
                  </a:lnTo>
                  <a:lnTo>
                    <a:pt x="9903714" y="1110995"/>
                  </a:lnTo>
                  <a:lnTo>
                    <a:pt x="9952928" y="1104381"/>
                  </a:lnTo>
                  <a:lnTo>
                    <a:pt x="9997157" y="1085714"/>
                  </a:lnTo>
                  <a:lnTo>
                    <a:pt x="10034635" y="1056759"/>
                  </a:lnTo>
                  <a:lnTo>
                    <a:pt x="10063592" y="1019281"/>
                  </a:lnTo>
                  <a:lnTo>
                    <a:pt x="10082263" y="975045"/>
                  </a:lnTo>
                  <a:lnTo>
                    <a:pt x="10088880" y="925817"/>
                  </a:lnTo>
                  <a:lnTo>
                    <a:pt x="10088880" y="185178"/>
                  </a:lnTo>
                  <a:lnTo>
                    <a:pt x="10082263" y="135950"/>
                  </a:lnTo>
                  <a:lnTo>
                    <a:pt x="10063592" y="91714"/>
                  </a:lnTo>
                  <a:lnTo>
                    <a:pt x="10034635" y="54236"/>
                  </a:lnTo>
                  <a:lnTo>
                    <a:pt x="9997157" y="25281"/>
                  </a:lnTo>
                  <a:lnTo>
                    <a:pt x="9952928" y="6614"/>
                  </a:lnTo>
                  <a:lnTo>
                    <a:pt x="9903714"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9" name="object 49"/>
            <p:cNvPicPr/>
            <p:nvPr/>
          </p:nvPicPr>
          <p:blipFill>
            <a:blip r:embed="rId33" cstate="screen">
              <a:extLst>
                <a:ext uri="{28A0092B-C50C-407E-A947-70E740481C1C}">
                  <a14:useLocalDpi xmlns:a14="http://schemas.microsoft.com/office/drawing/2010/main"/>
                </a:ext>
              </a:extLst>
            </a:blip>
            <a:stretch>
              <a:fillRect/>
            </a:stretch>
          </p:blipFill>
          <p:spPr>
            <a:xfrm>
              <a:off x="1042720" y="5877763"/>
              <a:ext cx="5882132" cy="292912"/>
            </a:xfrm>
            <a:prstGeom prst="rect">
              <a:avLst/>
            </a:prstGeom>
          </p:spPr>
        </p:pic>
        <p:pic>
          <p:nvPicPr>
            <p:cNvPr id="50" name="object 50"/>
            <p:cNvPicPr/>
            <p:nvPr/>
          </p:nvPicPr>
          <p:blipFill>
            <a:blip r:embed="rId34" cstate="screen">
              <a:extLst>
                <a:ext uri="{28A0092B-C50C-407E-A947-70E740481C1C}">
                  <a14:useLocalDpi xmlns:a14="http://schemas.microsoft.com/office/drawing/2010/main"/>
                </a:ext>
              </a:extLst>
            </a:blip>
            <a:stretch>
              <a:fillRect/>
            </a:stretch>
          </p:blipFill>
          <p:spPr>
            <a:xfrm>
              <a:off x="6828409" y="5877763"/>
              <a:ext cx="2663062" cy="292912"/>
            </a:xfrm>
            <a:prstGeom prst="rect">
              <a:avLst/>
            </a:prstGeom>
          </p:spPr>
        </p:pic>
        <p:pic>
          <p:nvPicPr>
            <p:cNvPr id="51" name="object 51"/>
            <p:cNvPicPr/>
            <p:nvPr/>
          </p:nvPicPr>
          <p:blipFill>
            <a:blip r:embed="rId35" cstate="screen">
              <a:extLst>
                <a:ext uri="{28A0092B-C50C-407E-A947-70E740481C1C}">
                  <a14:useLocalDpi xmlns:a14="http://schemas.microsoft.com/office/drawing/2010/main"/>
                </a:ext>
              </a:extLst>
            </a:blip>
            <a:stretch>
              <a:fillRect/>
            </a:stretch>
          </p:blipFill>
          <p:spPr>
            <a:xfrm>
              <a:off x="9389110" y="5877763"/>
              <a:ext cx="1460627" cy="292912"/>
            </a:xfrm>
            <a:prstGeom prst="rect">
              <a:avLst/>
            </a:prstGeom>
          </p:spPr>
        </p:pic>
        <p:pic>
          <p:nvPicPr>
            <p:cNvPr id="52" name="object 52"/>
            <p:cNvPicPr/>
            <p:nvPr/>
          </p:nvPicPr>
          <p:blipFill>
            <a:blip r:embed="rId36" cstate="screen">
              <a:extLst>
                <a:ext uri="{28A0092B-C50C-407E-A947-70E740481C1C}">
                  <a14:useLocalDpi xmlns:a14="http://schemas.microsoft.com/office/drawing/2010/main"/>
                </a:ext>
              </a:extLst>
            </a:blip>
            <a:stretch>
              <a:fillRect/>
            </a:stretch>
          </p:blipFill>
          <p:spPr>
            <a:xfrm>
              <a:off x="2702686" y="6152693"/>
              <a:ext cx="1964816" cy="292608"/>
            </a:xfrm>
            <a:prstGeom prst="rect">
              <a:avLst/>
            </a:prstGeom>
          </p:spPr>
        </p:pic>
        <p:pic>
          <p:nvPicPr>
            <p:cNvPr id="53" name="object 53"/>
            <p:cNvPicPr/>
            <p:nvPr/>
          </p:nvPicPr>
          <p:blipFill>
            <a:blip r:embed="rId37" cstate="screen">
              <a:extLst>
                <a:ext uri="{28A0092B-C50C-407E-A947-70E740481C1C}">
                  <a14:useLocalDpi xmlns:a14="http://schemas.microsoft.com/office/drawing/2010/main"/>
                </a:ext>
              </a:extLst>
            </a:blip>
            <a:stretch>
              <a:fillRect/>
            </a:stretch>
          </p:blipFill>
          <p:spPr>
            <a:xfrm>
              <a:off x="4582033" y="6152693"/>
              <a:ext cx="2289174" cy="292608"/>
            </a:xfrm>
            <a:prstGeom prst="rect">
              <a:avLst/>
            </a:prstGeom>
          </p:spPr>
        </p:pic>
        <p:pic>
          <p:nvPicPr>
            <p:cNvPr id="54" name="object 54"/>
            <p:cNvPicPr/>
            <p:nvPr/>
          </p:nvPicPr>
          <p:blipFill>
            <a:blip r:embed="rId38" cstate="screen">
              <a:extLst>
                <a:ext uri="{28A0092B-C50C-407E-A947-70E740481C1C}">
                  <a14:useLocalDpi xmlns:a14="http://schemas.microsoft.com/office/drawing/2010/main"/>
                </a:ext>
              </a:extLst>
            </a:blip>
            <a:stretch>
              <a:fillRect/>
            </a:stretch>
          </p:blipFill>
          <p:spPr>
            <a:xfrm>
              <a:off x="6779640" y="6152693"/>
              <a:ext cx="2355214" cy="292608"/>
            </a:xfrm>
            <a:prstGeom prst="rect">
              <a:avLst/>
            </a:prstGeom>
          </p:spPr>
        </p:pic>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 y="0"/>
            <a:ext cx="12192000" cy="1146175"/>
            <a:chOff x="1" y="0"/>
            <a:chExt cx="12192000" cy="1146175"/>
          </a:xfrm>
        </p:grpSpPr>
        <p:sp>
          <p:nvSpPr>
            <p:cNvPr id="3" name="object 3"/>
            <p:cNvSpPr/>
            <p:nvPr/>
          </p:nvSpPr>
          <p:spPr>
            <a:xfrm>
              <a:off x="1" y="0"/>
              <a:ext cx="12192000" cy="1146175"/>
            </a:xfrm>
            <a:custGeom>
              <a:avLst/>
              <a:gdLst/>
              <a:ahLst/>
              <a:cxnLst/>
              <a:rect l="l" t="t" r="r" b="b"/>
              <a:pathLst>
                <a:path w="12192000" h="1146175">
                  <a:moveTo>
                    <a:pt x="12191998" y="0"/>
                  </a:moveTo>
                  <a:lnTo>
                    <a:pt x="0" y="0"/>
                  </a:lnTo>
                  <a:lnTo>
                    <a:pt x="0" y="911733"/>
                  </a:lnTo>
                  <a:lnTo>
                    <a:pt x="6095998" y="1146048"/>
                  </a:lnTo>
                  <a:lnTo>
                    <a:pt x="12191996" y="911733"/>
                  </a:lnTo>
                  <a:lnTo>
                    <a:pt x="12191998"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 name="object 4"/>
            <p:cNvPicPr/>
            <p:nvPr/>
          </p:nvPicPr>
          <p:blipFill>
            <a:blip r:embed="rId2" cstate="screen">
              <a:extLst>
                <a:ext uri="{28A0092B-C50C-407E-A947-70E740481C1C}">
                  <a14:useLocalDpi xmlns:a14="http://schemas.microsoft.com/office/drawing/2010/main"/>
                </a:ext>
              </a:extLst>
            </a:blip>
            <a:stretch>
              <a:fillRect/>
            </a:stretch>
          </p:blipFill>
          <p:spPr>
            <a:xfrm>
              <a:off x="5123053" y="133553"/>
              <a:ext cx="2162682" cy="651052"/>
            </a:xfrm>
            <a:prstGeom prst="rect">
              <a:avLst/>
            </a:prstGeom>
          </p:spPr>
        </p:pic>
        <p:sp>
          <p:nvSpPr>
            <p:cNvPr id="5" name="object 5"/>
            <p:cNvSpPr/>
            <p:nvPr/>
          </p:nvSpPr>
          <p:spPr>
            <a:xfrm>
              <a:off x="10217265" y="196369"/>
              <a:ext cx="33020" cy="141605"/>
            </a:xfrm>
            <a:custGeom>
              <a:avLst/>
              <a:gdLst/>
              <a:ahLst/>
              <a:cxnLst/>
              <a:rect l="l" t="t" r="r" b="b"/>
              <a:pathLst>
                <a:path w="33020" h="141604">
                  <a:moveTo>
                    <a:pt x="32690" y="0"/>
                  </a:moveTo>
                  <a:lnTo>
                    <a:pt x="0" y="0"/>
                  </a:lnTo>
                  <a:lnTo>
                    <a:pt x="0" y="141543"/>
                  </a:lnTo>
                  <a:lnTo>
                    <a:pt x="32690" y="141543"/>
                  </a:lnTo>
                  <a:lnTo>
                    <a:pt x="32690"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6" name="object 6"/>
            <p:cNvPicPr/>
            <p:nvPr/>
          </p:nvPicPr>
          <p:blipFill>
            <a:blip r:embed="rId3" cstate="screen">
              <a:extLst>
                <a:ext uri="{28A0092B-C50C-407E-A947-70E740481C1C}">
                  <a14:useLocalDpi xmlns:a14="http://schemas.microsoft.com/office/drawing/2010/main"/>
                </a:ext>
              </a:extLst>
            </a:blip>
            <a:stretch>
              <a:fillRect/>
            </a:stretch>
          </p:blipFill>
          <p:spPr>
            <a:xfrm>
              <a:off x="10281211" y="196369"/>
              <a:ext cx="137493" cy="141543"/>
            </a:xfrm>
            <a:prstGeom prst="rect">
              <a:avLst/>
            </a:prstGeom>
          </p:spPr>
        </p:pic>
        <p:sp>
          <p:nvSpPr>
            <p:cNvPr id="7" name="object 7"/>
            <p:cNvSpPr/>
            <p:nvPr/>
          </p:nvSpPr>
          <p:spPr>
            <a:xfrm>
              <a:off x="10449471" y="193001"/>
              <a:ext cx="837565" cy="148590"/>
            </a:xfrm>
            <a:custGeom>
              <a:avLst/>
              <a:gdLst/>
              <a:ahLst/>
              <a:cxnLst/>
              <a:rect l="l" t="t" r="r" b="b"/>
              <a:pathLst>
                <a:path w="837565" h="148590">
                  <a:moveTo>
                    <a:pt x="78384" y="3327"/>
                  </a:moveTo>
                  <a:lnTo>
                    <a:pt x="0" y="3327"/>
                  </a:lnTo>
                  <a:lnTo>
                    <a:pt x="0" y="31330"/>
                  </a:lnTo>
                  <a:lnTo>
                    <a:pt x="0" y="58064"/>
                  </a:lnTo>
                  <a:lnTo>
                    <a:pt x="0" y="86067"/>
                  </a:lnTo>
                  <a:lnTo>
                    <a:pt x="0" y="144627"/>
                  </a:lnTo>
                  <a:lnTo>
                    <a:pt x="32753" y="144627"/>
                  </a:lnTo>
                  <a:lnTo>
                    <a:pt x="32753" y="86067"/>
                  </a:lnTo>
                  <a:lnTo>
                    <a:pt x="75057" y="86067"/>
                  </a:lnTo>
                  <a:lnTo>
                    <a:pt x="75057" y="58064"/>
                  </a:lnTo>
                  <a:lnTo>
                    <a:pt x="32753" y="58064"/>
                  </a:lnTo>
                  <a:lnTo>
                    <a:pt x="32753" y="31330"/>
                  </a:lnTo>
                  <a:lnTo>
                    <a:pt x="78384" y="31330"/>
                  </a:lnTo>
                  <a:lnTo>
                    <a:pt x="78384" y="3327"/>
                  </a:lnTo>
                  <a:close/>
                </a:path>
                <a:path w="837565" h="148590">
                  <a:moveTo>
                    <a:pt x="212547" y="144919"/>
                  </a:moveTo>
                  <a:lnTo>
                    <a:pt x="170726" y="88887"/>
                  </a:lnTo>
                  <a:lnTo>
                    <a:pt x="169278" y="86956"/>
                  </a:lnTo>
                  <a:lnTo>
                    <a:pt x="176974" y="85013"/>
                  </a:lnTo>
                  <a:lnTo>
                    <a:pt x="184150" y="80670"/>
                  </a:lnTo>
                  <a:lnTo>
                    <a:pt x="188963" y="75831"/>
                  </a:lnTo>
                  <a:lnTo>
                    <a:pt x="194564" y="68935"/>
                  </a:lnTo>
                  <a:lnTo>
                    <a:pt x="195160" y="67627"/>
                  </a:lnTo>
                  <a:lnTo>
                    <a:pt x="197942" y="61582"/>
                  </a:lnTo>
                  <a:lnTo>
                    <a:pt x="199605" y="54229"/>
                  </a:lnTo>
                  <a:lnTo>
                    <a:pt x="200050" y="47332"/>
                  </a:lnTo>
                  <a:lnTo>
                    <a:pt x="198907" y="36449"/>
                  </a:lnTo>
                  <a:lnTo>
                    <a:pt x="173837" y="7061"/>
                  </a:lnTo>
                  <a:lnTo>
                    <a:pt x="166839" y="5194"/>
                  </a:lnTo>
                  <a:lnTo>
                    <a:pt x="166839" y="39611"/>
                  </a:lnTo>
                  <a:lnTo>
                    <a:pt x="166839" y="54584"/>
                  </a:lnTo>
                  <a:lnTo>
                    <a:pt x="163957" y="58928"/>
                  </a:lnTo>
                  <a:lnTo>
                    <a:pt x="161594" y="61353"/>
                  </a:lnTo>
                  <a:lnTo>
                    <a:pt x="156273" y="67144"/>
                  </a:lnTo>
                  <a:lnTo>
                    <a:pt x="148132" y="67627"/>
                  </a:lnTo>
                  <a:lnTo>
                    <a:pt x="134670" y="67627"/>
                  </a:lnTo>
                  <a:lnTo>
                    <a:pt x="134670" y="28498"/>
                  </a:lnTo>
                  <a:lnTo>
                    <a:pt x="146659" y="28498"/>
                  </a:lnTo>
                  <a:lnTo>
                    <a:pt x="154863" y="28981"/>
                  </a:lnTo>
                  <a:lnTo>
                    <a:pt x="160108" y="33324"/>
                  </a:lnTo>
                  <a:lnTo>
                    <a:pt x="163004" y="35267"/>
                  </a:lnTo>
                  <a:lnTo>
                    <a:pt x="166839" y="39611"/>
                  </a:lnTo>
                  <a:lnTo>
                    <a:pt x="166839" y="5194"/>
                  </a:lnTo>
                  <a:lnTo>
                    <a:pt x="163855" y="4381"/>
                  </a:lnTo>
                  <a:lnTo>
                    <a:pt x="151460" y="3378"/>
                  </a:lnTo>
                  <a:lnTo>
                    <a:pt x="102425" y="3378"/>
                  </a:lnTo>
                  <a:lnTo>
                    <a:pt x="102425" y="144919"/>
                  </a:lnTo>
                  <a:lnTo>
                    <a:pt x="134670" y="144919"/>
                  </a:lnTo>
                  <a:lnTo>
                    <a:pt x="134670" y="88887"/>
                  </a:lnTo>
                  <a:lnTo>
                    <a:pt x="172618" y="144919"/>
                  </a:lnTo>
                  <a:lnTo>
                    <a:pt x="212547" y="144919"/>
                  </a:lnTo>
                  <a:close/>
                </a:path>
                <a:path w="837565" h="148590">
                  <a:moveTo>
                    <a:pt x="360172" y="144919"/>
                  </a:moveTo>
                  <a:lnTo>
                    <a:pt x="349707" y="118351"/>
                  </a:lnTo>
                  <a:lnTo>
                    <a:pt x="339801" y="93230"/>
                  </a:lnTo>
                  <a:lnTo>
                    <a:pt x="320967" y="45402"/>
                  </a:lnTo>
                  <a:lnTo>
                    <a:pt x="306768" y="9372"/>
                  </a:lnTo>
                  <a:lnTo>
                    <a:pt x="306768" y="93230"/>
                  </a:lnTo>
                  <a:lnTo>
                    <a:pt x="272161" y="93230"/>
                  </a:lnTo>
                  <a:lnTo>
                    <a:pt x="289471" y="45402"/>
                  </a:lnTo>
                  <a:lnTo>
                    <a:pt x="306768" y="93230"/>
                  </a:lnTo>
                  <a:lnTo>
                    <a:pt x="306768" y="9372"/>
                  </a:lnTo>
                  <a:lnTo>
                    <a:pt x="304406" y="3378"/>
                  </a:lnTo>
                  <a:lnTo>
                    <a:pt x="274599" y="3378"/>
                  </a:lnTo>
                  <a:lnTo>
                    <a:pt x="217805" y="144919"/>
                  </a:lnTo>
                  <a:lnTo>
                    <a:pt x="251523" y="144919"/>
                  </a:lnTo>
                  <a:lnTo>
                    <a:pt x="262547" y="118351"/>
                  </a:lnTo>
                  <a:lnTo>
                    <a:pt x="315937" y="118351"/>
                  </a:lnTo>
                  <a:lnTo>
                    <a:pt x="326517" y="144919"/>
                  </a:lnTo>
                  <a:lnTo>
                    <a:pt x="360172" y="144919"/>
                  </a:lnTo>
                  <a:close/>
                </a:path>
                <a:path w="837565" h="148590">
                  <a:moveTo>
                    <a:pt x="468820" y="98539"/>
                  </a:moveTo>
                  <a:lnTo>
                    <a:pt x="445287" y="63766"/>
                  </a:lnTo>
                  <a:lnTo>
                    <a:pt x="428434" y="57480"/>
                  </a:lnTo>
                  <a:lnTo>
                    <a:pt x="419265" y="53619"/>
                  </a:lnTo>
                  <a:lnTo>
                    <a:pt x="414007" y="52654"/>
                  </a:lnTo>
                  <a:lnTo>
                    <a:pt x="408686" y="47332"/>
                  </a:lnTo>
                  <a:lnTo>
                    <a:pt x="407733" y="44919"/>
                  </a:lnTo>
                  <a:lnTo>
                    <a:pt x="407733" y="37680"/>
                  </a:lnTo>
                  <a:lnTo>
                    <a:pt x="409206" y="34785"/>
                  </a:lnTo>
                  <a:lnTo>
                    <a:pt x="411124" y="32359"/>
                  </a:lnTo>
                  <a:lnTo>
                    <a:pt x="414972" y="28498"/>
                  </a:lnTo>
                  <a:lnTo>
                    <a:pt x="420738" y="27533"/>
                  </a:lnTo>
                  <a:lnTo>
                    <a:pt x="425043" y="27533"/>
                  </a:lnTo>
                  <a:lnTo>
                    <a:pt x="428853" y="27825"/>
                  </a:lnTo>
                  <a:lnTo>
                    <a:pt x="434301" y="29159"/>
                  </a:lnTo>
                  <a:lnTo>
                    <a:pt x="441020" y="32219"/>
                  </a:lnTo>
                  <a:lnTo>
                    <a:pt x="448627" y="37680"/>
                  </a:lnTo>
                  <a:lnTo>
                    <a:pt x="463054" y="14008"/>
                  </a:lnTo>
                  <a:lnTo>
                    <a:pt x="451040" y="6718"/>
                  </a:lnTo>
                  <a:lnTo>
                    <a:pt x="439788" y="2463"/>
                  </a:lnTo>
                  <a:lnTo>
                    <a:pt x="429704" y="482"/>
                  </a:lnTo>
                  <a:lnTo>
                    <a:pt x="421195" y="0"/>
                  </a:lnTo>
                  <a:lnTo>
                    <a:pt x="411746" y="609"/>
                  </a:lnTo>
                  <a:lnTo>
                    <a:pt x="377088" y="27533"/>
                  </a:lnTo>
                  <a:lnTo>
                    <a:pt x="374078" y="44919"/>
                  </a:lnTo>
                  <a:lnTo>
                    <a:pt x="374421" y="50533"/>
                  </a:lnTo>
                  <a:lnTo>
                    <a:pt x="402475" y="80670"/>
                  </a:lnTo>
                  <a:lnTo>
                    <a:pt x="417855" y="86474"/>
                  </a:lnTo>
                  <a:lnTo>
                    <a:pt x="426516" y="89369"/>
                  </a:lnTo>
                  <a:lnTo>
                    <a:pt x="433247" y="95161"/>
                  </a:lnTo>
                  <a:lnTo>
                    <a:pt x="435165" y="98056"/>
                  </a:lnTo>
                  <a:lnTo>
                    <a:pt x="435165" y="108204"/>
                  </a:lnTo>
                  <a:lnTo>
                    <a:pt x="433247" y="112064"/>
                  </a:lnTo>
                  <a:lnTo>
                    <a:pt x="425551" y="118351"/>
                  </a:lnTo>
                  <a:lnTo>
                    <a:pt x="419785" y="119316"/>
                  </a:lnTo>
                  <a:lnTo>
                    <a:pt x="409206" y="119316"/>
                  </a:lnTo>
                  <a:lnTo>
                    <a:pt x="384657" y="103365"/>
                  </a:lnTo>
                  <a:lnTo>
                    <a:pt x="367855" y="126555"/>
                  </a:lnTo>
                  <a:lnTo>
                    <a:pt x="401916" y="146786"/>
                  </a:lnTo>
                  <a:lnTo>
                    <a:pt x="416382" y="148297"/>
                  </a:lnTo>
                  <a:lnTo>
                    <a:pt x="424738" y="147866"/>
                  </a:lnTo>
                  <a:lnTo>
                    <a:pt x="461327" y="127076"/>
                  </a:lnTo>
                  <a:lnTo>
                    <a:pt x="467880" y="109080"/>
                  </a:lnTo>
                  <a:lnTo>
                    <a:pt x="468820" y="98539"/>
                  </a:lnTo>
                  <a:close/>
                </a:path>
                <a:path w="837565" h="148590">
                  <a:moveTo>
                    <a:pt x="572211" y="3327"/>
                  </a:moveTo>
                  <a:lnTo>
                    <a:pt x="478434" y="3327"/>
                  </a:lnTo>
                  <a:lnTo>
                    <a:pt x="478434" y="31330"/>
                  </a:lnTo>
                  <a:lnTo>
                    <a:pt x="509193" y="31330"/>
                  </a:lnTo>
                  <a:lnTo>
                    <a:pt x="509193" y="144627"/>
                  </a:lnTo>
                  <a:lnTo>
                    <a:pt x="541896" y="144627"/>
                  </a:lnTo>
                  <a:lnTo>
                    <a:pt x="541896" y="31330"/>
                  </a:lnTo>
                  <a:lnTo>
                    <a:pt x="572211" y="31330"/>
                  </a:lnTo>
                  <a:lnTo>
                    <a:pt x="572211" y="3327"/>
                  </a:lnTo>
                  <a:close/>
                </a:path>
                <a:path w="837565" h="148590">
                  <a:moveTo>
                    <a:pt x="699643" y="144919"/>
                  </a:moveTo>
                  <a:lnTo>
                    <a:pt x="657809" y="88887"/>
                  </a:lnTo>
                  <a:lnTo>
                    <a:pt x="656374" y="86956"/>
                  </a:lnTo>
                  <a:lnTo>
                    <a:pt x="664514" y="85013"/>
                  </a:lnTo>
                  <a:lnTo>
                    <a:pt x="671245" y="80670"/>
                  </a:lnTo>
                  <a:lnTo>
                    <a:pt x="687146" y="47332"/>
                  </a:lnTo>
                  <a:lnTo>
                    <a:pt x="686066" y="36449"/>
                  </a:lnTo>
                  <a:lnTo>
                    <a:pt x="661200" y="7061"/>
                  </a:lnTo>
                  <a:lnTo>
                    <a:pt x="654443" y="5257"/>
                  </a:lnTo>
                  <a:lnTo>
                    <a:pt x="654443" y="39611"/>
                  </a:lnTo>
                  <a:lnTo>
                    <a:pt x="654443" y="54584"/>
                  </a:lnTo>
                  <a:lnTo>
                    <a:pt x="651052" y="58928"/>
                  </a:lnTo>
                  <a:lnTo>
                    <a:pt x="649135" y="61353"/>
                  </a:lnTo>
                  <a:lnTo>
                    <a:pt x="643356" y="67144"/>
                  </a:lnTo>
                  <a:lnTo>
                    <a:pt x="635152" y="67627"/>
                  </a:lnTo>
                  <a:lnTo>
                    <a:pt x="622211" y="67627"/>
                  </a:lnTo>
                  <a:lnTo>
                    <a:pt x="622211" y="28498"/>
                  </a:lnTo>
                  <a:lnTo>
                    <a:pt x="633742" y="28498"/>
                  </a:lnTo>
                  <a:lnTo>
                    <a:pt x="642404" y="28981"/>
                  </a:lnTo>
                  <a:lnTo>
                    <a:pt x="647712" y="33324"/>
                  </a:lnTo>
                  <a:lnTo>
                    <a:pt x="650608" y="35267"/>
                  </a:lnTo>
                  <a:lnTo>
                    <a:pt x="654443" y="39611"/>
                  </a:lnTo>
                  <a:lnTo>
                    <a:pt x="654443" y="5257"/>
                  </a:lnTo>
                  <a:lnTo>
                    <a:pt x="651205" y="4381"/>
                  </a:lnTo>
                  <a:lnTo>
                    <a:pt x="639000" y="3378"/>
                  </a:lnTo>
                  <a:lnTo>
                    <a:pt x="589521" y="3378"/>
                  </a:lnTo>
                  <a:lnTo>
                    <a:pt x="589521" y="144919"/>
                  </a:lnTo>
                  <a:lnTo>
                    <a:pt x="622211" y="144919"/>
                  </a:lnTo>
                  <a:lnTo>
                    <a:pt x="622211" y="88887"/>
                  </a:lnTo>
                  <a:lnTo>
                    <a:pt x="660222" y="144919"/>
                  </a:lnTo>
                  <a:lnTo>
                    <a:pt x="699643" y="144919"/>
                  </a:lnTo>
                  <a:close/>
                </a:path>
                <a:path w="837565" h="148590">
                  <a:moveTo>
                    <a:pt x="837133" y="3378"/>
                  </a:moveTo>
                  <a:lnTo>
                    <a:pt x="804443" y="3378"/>
                  </a:lnTo>
                  <a:lnTo>
                    <a:pt x="804443" y="92265"/>
                  </a:lnTo>
                  <a:lnTo>
                    <a:pt x="803922" y="102882"/>
                  </a:lnTo>
                  <a:lnTo>
                    <a:pt x="791425" y="116420"/>
                  </a:lnTo>
                  <a:lnTo>
                    <a:pt x="783742" y="117386"/>
                  </a:lnTo>
                  <a:lnTo>
                    <a:pt x="771232" y="117386"/>
                  </a:lnTo>
                  <a:lnTo>
                    <a:pt x="763549" y="116420"/>
                  </a:lnTo>
                  <a:lnTo>
                    <a:pt x="757783" y="110134"/>
                  </a:lnTo>
                  <a:lnTo>
                    <a:pt x="750595" y="102882"/>
                  </a:lnTo>
                  <a:lnTo>
                    <a:pt x="750595" y="3378"/>
                  </a:lnTo>
                  <a:lnTo>
                    <a:pt x="717905" y="3378"/>
                  </a:lnTo>
                  <a:lnTo>
                    <a:pt x="717905" y="86956"/>
                  </a:lnTo>
                  <a:lnTo>
                    <a:pt x="718350" y="97637"/>
                  </a:lnTo>
                  <a:lnTo>
                    <a:pt x="743966" y="140347"/>
                  </a:lnTo>
                  <a:lnTo>
                    <a:pt x="777519" y="148297"/>
                  </a:lnTo>
                  <a:lnTo>
                    <a:pt x="788733" y="147701"/>
                  </a:lnTo>
                  <a:lnTo>
                    <a:pt x="829614" y="120637"/>
                  </a:lnTo>
                  <a:lnTo>
                    <a:pt x="837133" y="86956"/>
                  </a:lnTo>
                  <a:lnTo>
                    <a:pt x="837133" y="3378"/>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8" name="object 8"/>
            <p:cNvPicPr/>
            <p:nvPr/>
          </p:nvPicPr>
          <p:blipFill>
            <a:blip r:embed="rId4" cstate="screen">
              <a:extLst>
                <a:ext uri="{28A0092B-C50C-407E-A947-70E740481C1C}">
                  <a14:useLocalDpi xmlns:a14="http://schemas.microsoft.com/office/drawing/2010/main"/>
                </a:ext>
              </a:extLst>
            </a:blip>
            <a:stretch>
              <a:fillRect/>
            </a:stretch>
          </p:blipFill>
          <p:spPr>
            <a:xfrm>
              <a:off x="11310646" y="192989"/>
              <a:ext cx="351008" cy="148305"/>
            </a:xfrm>
            <a:prstGeom prst="rect">
              <a:avLst/>
            </a:prstGeom>
          </p:spPr>
        </p:pic>
        <p:pic>
          <p:nvPicPr>
            <p:cNvPr id="9" name="object 9"/>
            <p:cNvPicPr/>
            <p:nvPr/>
          </p:nvPicPr>
          <p:blipFill>
            <a:blip r:embed="rId5" cstate="screen">
              <a:extLst>
                <a:ext uri="{28A0092B-C50C-407E-A947-70E740481C1C}">
                  <a14:useLocalDpi xmlns:a14="http://schemas.microsoft.com/office/drawing/2010/main"/>
                </a:ext>
              </a:extLst>
            </a:blip>
            <a:stretch>
              <a:fillRect/>
            </a:stretch>
          </p:blipFill>
          <p:spPr>
            <a:xfrm>
              <a:off x="11692423" y="196326"/>
              <a:ext cx="208194" cy="141587"/>
            </a:xfrm>
            <a:prstGeom prst="rect">
              <a:avLst/>
            </a:prstGeom>
          </p:spPr>
        </p:pic>
        <p:pic>
          <p:nvPicPr>
            <p:cNvPr id="10" name="object 10"/>
            <p:cNvPicPr/>
            <p:nvPr/>
          </p:nvPicPr>
          <p:blipFill>
            <a:blip r:embed="rId6" cstate="screen">
              <a:extLst>
                <a:ext uri="{28A0092B-C50C-407E-A947-70E740481C1C}">
                  <a14:useLocalDpi xmlns:a14="http://schemas.microsoft.com/office/drawing/2010/main"/>
                </a:ext>
              </a:extLst>
            </a:blip>
            <a:stretch>
              <a:fillRect/>
            </a:stretch>
          </p:blipFill>
          <p:spPr>
            <a:xfrm>
              <a:off x="10216784" y="395398"/>
              <a:ext cx="405819" cy="141537"/>
            </a:xfrm>
            <a:prstGeom prst="rect">
              <a:avLst/>
            </a:prstGeom>
          </p:spPr>
        </p:pic>
        <p:pic>
          <p:nvPicPr>
            <p:cNvPr id="11" name="object 11"/>
            <p:cNvPicPr/>
            <p:nvPr/>
          </p:nvPicPr>
          <p:blipFill>
            <a:blip r:embed="rId7" cstate="screen">
              <a:extLst>
                <a:ext uri="{28A0092B-C50C-407E-A947-70E740481C1C}">
                  <a14:useLocalDpi xmlns:a14="http://schemas.microsoft.com/office/drawing/2010/main"/>
                </a:ext>
              </a:extLst>
            </a:blip>
            <a:stretch>
              <a:fillRect/>
            </a:stretch>
          </p:blipFill>
          <p:spPr>
            <a:xfrm>
              <a:off x="10653372" y="395398"/>
              <a:ext cx="124993" cy="141537"/>
            </a:xfrm>
            <a:prstGeom prst="rect">
              <a:avLst/>
            </a:prstGeom>
          </p:spPr>
        </p:pic>
        <p:sp>
          <p:nvSpPr>
            <p:cNvPr id="12" name="object 12"/>
            <p:cNvSpPr/>
            <p:nvPr/>
          </p:nvSpPr>
          <p:spPr>
            <a:xfrm>
              <a:off x="10019647" y="196369"/>
              <a:ext cx="141605" cy="340995"/>
            </a:xfrm>
            <a:custGeom>
              <a:avLst/>
              <a:gdLst/>
              <a:ahLst/>
              <a:cxnLst/>
              <a:rect l="l" t="t" r="r" b="b"/>
              <a:pathLst>
                <a:path w="141604" h="340995">
                  <a:moveTo>
                    <a:pt x="141358" y="0"/>
                  </a:moveTo>
                  <a:lnTo>
                    <a:pt x="0" y="0"/>
                  </a:lnTo>
                  <a:lnTo>
                    <a:pt x="10922" y="2204"/>
                  </a:lnTo>
                  <a:lnTo>
                    <a:pt x="19954" y="8213"/>
                  </a:lnTo>
                  <a:lnTo>
                    <a:pt x="26100" y="17120"/>
                  </a:lnTo>
                  <a:lnTo>
                    <a:pt x="28370" y="28017"/>
                  </a:lnTo>
                  <a:lnTo>
                    <a:pt x="28370" y="340565"/>
                  </a:lnTo>
                  <a:lnTo>
                    <a:pt x="141358" y="340565"/>
                  </a:lnTo>
                  <a:lnTo>
                    <a:pt x="141358" y="284047"/>
                  </a:lnTo>
                  <a:lnTo>
                    <a:pt x="56253" y="170044"/>
                  </a:lnTo>
                  <a:lnTo>
                    <a:pt x="141358" y="56518"/>
                  </a:lnTo>
                  <a:lnTo>
                    <a:pt x="141358"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3" name="object 13"/>
            <p:cNvSpPr/>
            <p:nvPr/>
          </p:nvSpPr>
          <p:spPr>
            <a:xfrm>
              <a:off x="9878282" y="196369"/>
              <a:ext cx="141605" cy="340995"/>
            </a:xfrm>
            <a:custGeom>
              <a:avLst/>
              <a:gdLst/>
              <a:ahLst/>
              <a:cxnLst/>
              <a:rect l="l" t="t" r="r" b="b"/>
              <a:pathLst>
                <a:path w="141604" h="340995">
                  <a:moveTo>
                    <a:pt x="141364" y="0"/>
                  </a:moveTo>
                  <a:lnTo>
                    <a:pt x="0" y="0"/>
                  </a:lnTo>
                  <a:lnTo>
                    <a:pt x="0" y="284047"/>
                  </a:lnTo>
                  <a:lnTo>
                    <a:pt x="4395" y="306124"/>
                  </a:lnTo>
                  <a:lnTo>
                    <a:pt x="16409" y="324080"/>
                  </a:lnTo>
                  <a:lnTo>
                    <a:pt x="34283" y="336149"/>
                  </a:lnTo>
                  <a:lnTo>
                    <a:pt x="56260" y="340565"/>
                  </a:lnTo>
                  <a:lnTo>
                    <a:pt x="78310" y="336150"/>
                  </a:lnTo>
                  <a:lnTo>
                    <a:pt x="96347" y="324080"/>
                  </a:lnTo>
                  <a:lnTo>
                    <a:pt x="108524" y="306124"/>
                  </a:lnTo>
                  <a:lnTo>
                    <a:pt x="112994" y="284047"/>
                  </a:lnTo>
                  <a:lnTo>
                    <a:pt x="112994" y="24154"/>
                  </a:lnTo>
                  <a:lnTo>
                    <a:pt x="113955" y="20290"/>
                  </a:lnTo>
                  <a:lnTo>
                    <a:pt x="115398" y="16909"/>
                  </a:lnTo>
                  <a:lnTo>
                    <a:pt x="115398" y="16426"/>
                  </a:lnTo>
                  <a:lnTo>
                    <a:pt x="116359" y="14495"/>
                  </a:lnTo>
                  <a:lnTo>
                    <a:pt x="120739" y="8562"/>
                  </a:lnTo>
                  <a:lnTo>
                    <a:pt x="126518" y="3987"/>
                  </a:lnTo>
                  <a:lnTo>
                    <a:pt x="133469" y="1042"/>
                  </a:lnTo>
                  <a:lnTo>
                    <a:pt x="141364"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pic>
        <p:nvPicPr>
          <p:cNvPr id="14" name="object 14"/>
          <p:cNvPicPr/>
          <p:nvPr/>
        </p:nvPicPr>
        <p:blipFill>
          <a:blip r:embed="rId8" cstate="print"/>
          <a:stretch>
            <a:fillRect/>
          </a:stretch>
        </p:blipFill>
        <p:spPr>
          <a:xfrm>
            <a:off x="3246120" y="2142157"/>
            <a:ext cx="5409388" cy="3518329"/>
          </a:xfrm>
          <a:prstGeom prst="rect">
            <a:avLst/>
          </a:prstGeom>
        </p:spPr>
      </p:pic>
      <p:grpSp>
        <p:nvGrpSpPr>
          <p:cNvPr id="15" name="object 15"/>
          <p:cNvGrpSpPr/>
          <p:nvPr/>
        </p:nvGrpSpPr>
        <p:grpSpPr>
          <a:xfrm>
            <a:off x="75946" y="1296669"/>
            <a:ext cx="3138805" cy="5184140"/>
            <a:chOff x="75946" y="1296669"/>
            <a:chExt cx="3138805" cy="5184140"/>
          </a:xfrm>
        </p:grpSpPr>
        <p:pic>
          <p:nvPicPr>
            <p:cNvPr id="16" name="object 16"/>
            <p:cNvPicPr/>
            <p:nvPr/>
          </p:nvPicPr>
          <p:blipFill>
            <a:blip r:embed="rId9" cstate="print"/>
            <a:stretch>
              <a:fillRect/>
            </a:stretch>
          </p:blipFill>
          <p:spPr>
            <a:xfrm>
              <a:off x="2557272" y="1897379"/>
              <a:ext cx="499871" cy="473963"/>
            </a:xfrm>
            <a:prstGeom prst="rect">
              <a:avLst/>
            </a:prstGeom>
          </p:spPr>
        </p:pic>
        <p:sp>
          <p:nvSpPr>
            <p:cNvPr id="17" name="object 17"/>
            <p:cNvSpPr/>
            <p:nvPr/>
          </p:nvSpPr>
          <p:spPr>
            <a:xfrm>
              <a:off x="82296" y="1303019"/>
              <a:ext cx="3126105" cy="5171440"/>
            </a:xfrm>
            <a:custGeom>
              <a:avLst/>
              <a:gdLst/>
              <a:ahLst/>
              <a:cxnLst/>
              <a:rect l="l" t="t" r="r" b="b"/>
              <a:pathLst>
                <a:path w="3126105" h="5171440">
                  <a:moveTo>
                    <a:pt x="2604770" y="0"/>
                  </a:moveTo>
                  <a:lnTo>
                    <a:pt x="520966" y="0"/>
                  </a:lnTo>
                  <a:lnTo>
                    <a:pt x="473548" y="2129"/>
                  </a:lnTo>
                  <a:lnTo>
                    <a:pt x="427323" y="8395"/>
                  </a:lnTo>
                  <a:lnTo>
                    <a:pt x="382474" y="18613"/>
                  </a:lnTo>
                  <a:lnTo>
                    <a:pt x="339185" y="32599"/>
                  </a:lnTo>
                  <a:lnTo>
                    <a:pt x="297641" y="50169"/>
                  </a:lnTo>
                  <a:lnTo>
                    <a:pt x="258026" y="71138"/>
                  </a:lnTo>
                  <a:lnTo>
                    <a:pt x="220523" y="95324"/>
                  </a:lnTo>
                  <a:lnTo>
                    <a:pt x="185315" y="122541"/>
                  </a:lnTo>
                  <a:lnTo>
                    <a:pt x="152588" y="152606"/>
                  </a:lnTo>
                  <a:lnTo>
                    <a:pt x="122525" y="185334"/>
                  </a:lnTo>
                  <a:lnTo>
                    <a:pt x="95311" y="220542"/>
                  </a:lnTo>
                  <a:lnTo>
                    <a:pt x="71127" y="258045"/>
                  </a:lnTo>
                  <a:lnTo>
                    <a:pt x="50160" y="297659"/>
                  </a:lnTo>
                  <a:lnTo>
                    <a:pt x="32593" y="339200"/>
                  </a:lnTo>
                  <a:lnTo>
                    <a:pt x="18609" y="382484"/>
                  </a:lnTo>
                  <a:lnTo>
                    <a:pt x="8393" y="427327"/>
                  </a:lnTo>
                  <a:lnTo>
                    <a:pt x="2129" y="473545"/>
                  </a:lnTo>
                  <a:lnTo>
                    <a:pt x="0" y="520953"/>
                  </a:lnTo>
                  <a:lnTo>
                    <a:pt x="0" y="4649965"/>
                  </a:lnTo>
                  <a:lnTo>
                    <a:pt x="2129" y="4697383"/>
                  </a:lnTo>
                  <a:lnTo>
                    <a:pt x="8393" y="4743608"/>
                  </a:lnTo>
                  <a:lnTo>
                    <a:pt x="18609" y="4788457"/>
                  </a:lnTo>
                  <a:lnTo>
                    <a:pt x="32593" y="4831746"/>
                  </a:lnTo>
                  <a:lnTo>
                    <a:pt x="50160" y="4873290"/>
                  </a:lnTo>
                  <a:lnTo>
                    <a:pt x="71127" y="4912905"/>
                  </a:lnTo>
                  <a:lnTo>
                    <a:pt x="95311" y="4950408"/>
                  </a:lnTo>
                  <a:lnTo>
                    <a:pt x="122525" y="4985616"/>
                  </a:lnTo>
                  <a:lnTo>
                    <a:pt x="152588" y="5018343"/>
                  </a:lnTo>
                  <a:lnTo>
                    <a:pt x="185315" y="5048406"/>
                  </a:lnTo>
                  <a:lnTo>
                    <a:pt x="220523" y="5075620"/>
                  </a:lnTo>
                  <a:lnTo>
                    <a:pt x="258026" y="5099804"/>
                  </a:lnTo>
                  <a:lnTo>
                    <a:pt x="297641" y="5120771"/>
                  </a:lnTo>
                  <a:lnTo>
                    <a:pt x="339185" y="5138338"/>
                  </a:lnTo>
                  <a:lnTo>
                    <a:pt x="382474" y="5152322"/>
                  </a:lnTo>
                  <a:lnTo>
                    <a:pt x="427323" y="5162538"/>
                  </a:lnTo>
                  <a:lnTo>
                    <a:pt x="473548" y="5168802"/>
                  </a:lnTo>
                  <a:lnTo>
                    <a:pt x="520966" y="5170932"/>
                  </a:lnTo>
                  <a:lnTo>
                    <a:pt x="2604770" y="5170932"/>
                  </a:lnTo>
                  <a:lnTo>
                    <a:pt x="2652178" y="5168802"/>
                  </a:lnTo>
                  <a:lnTo>
                    <a:pt x="2698396" y="5162538"/>
                  </a:lnTo>
                  <a:lnTo>
                    <a:pt x="2743239" y="5152322"/>
                  </a:lnTo>
                  <a:lnTo>
                    <a:pt x="2786523" y="5138338"/>
                  </a:lnTo>
                  <a:lnTo>
                    <a:pt x="2828064" y="5120771"/>
                  </a:lnTo>
                  <a:lnTo>
                    <a:pt x="2867678" y="5099804"/>
                  </a:lnTo>
                  <a:lnTo>
                    <a:pt x="2905181" y="5075620"/>
                  </a:lnTo>
                  <a:lnTo>
                    <a:pt x="2940389" y="5048406"/>
                  </a:lnTo>
                  <a:lnTo>
                    <a:pt x="2973117" y="5018343"/>
                  </a:lnTo>
                  <a:lnTo>
                    <a:pt x="3003182" y="4985616"/>
                  </a:lnTo>
                  <a:lnTo>
                    <a:pt x="3030399" y="4950408"/>
                  </a:lnTo>
                  <a:lnTo>
                    <a:pt x="3054585" y="4912905"/>
                  </a:lnTo>
                  <a:lnTo>
                    <a:pt x="3075554" y="4873290"/>
                  </a:lnTo>
                  <a:lnTo>
                    <a:pt x="3093124" y="4831746"/>
                  </a:lnTo>
                  <a:lnTo>
                    <a:pt x="3107110" y="4788457"/>
                  </a:lnTo>
                  <a:lnTo>
                    <a:pt x="3117328" y="4743608"/>
                  </a:lnTo>
                  <a:lnTo>
                    <a:pt x="3123594" y="4697383"/>
                  </a:lnTo>
                  <a:lnTo>
                    <a:pt x="3125724" y="4649965"/>
                  </a:lnTo>
                  <a:lnTo>
                    <a:pt x="3125724" y="520953"/>
                  </a:lnTo>
                  <a:lnTo>
                    <a:pt x="3123594" y="473545"/>
                  </a:lnTo>
                  <a:lnTo>
                    <a:pt x="3117328" y="427327"/>
                  </a:lnTo>
                  <a:lnTo>
                    <a:pt x="3107110" y="382484"/>
                  </a:lnTo>
                  <a:lnTo>
                    <a:pt x="3093124" y="339200"/>
                  </a:lnTo>
                  <a:lnTo>
                    <a:pt x="3075554" y="297659"/>
                  </a:lnTo>
                  <a:lnTo>
                    <a:pt x="3054585" y="258045"/>
                  </a:lnTo>
                  <a:lnTo>
                    <a:pt x="3030399" y="220542"/>
                  </a:lnTo>
                  <a:lnTo>
                    <a:pt x="3003182" y="185334"/>
                  </a:lnTo>
                  <a:lnTo>
                    <a:pt x="2973117" y="152606"/>
                  </a:lnTo>
                  <a:lnTo>
                    <a:pt x="2940389" y="122541"/>
                  </a:lnTo>
                  <a:lnTo>
                    <a:pt x="2905181" y="95324"/>
                  </a:lnTo>
                  <a:lnTo>
                    <a:pt x="2867678" y="71138"/>
                  </a:lnTo>
                  <a:lnTo>
                    <a:pt x="2828064" y="50169"/>
                  </a:lnTo>
                  <a:lnTo>
                    <a:pt x="2786523" y="32599"/>
                  </a:lnTo>
                  <a:lnTo>
                    <a:pt x="2743239" y="18613"/>
                  </a:lnTo>
                  <a:lnTo>
                    <a:pt x="2698396" y="8395"/>
                  </a:lnTo>
                  <a:lnTo>
                    <a:pt x="2652178" y="2129"/>
                  </a:lnTo>
                  <a:lnTo>
                    <a:pt x="2604770"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8" name="object 18"/>
            <p:cNvSpPr/>
            <p:nvPr/>
          </p:nvSpPr>
          <p:spPr>
            <a:xfrm>
              <a:off x="82296" y="1303019"/>
              <a:ext cx="3126105" cy="5171440"/>
            </a:xfrm>
            <a:custGeom>
              <a:avLst/>
              <a:gdLst/>
              <a:ahLst/>
              <a:cxnLst/>
              <a:rect l="l" t="t" r="r" b="b"/>
              <a:pathLst>
                <a:path w="3126105" h="5171440">
                  <a:moveTo>
                    <a:pt x="0" y="520953"/>
                  </a:moveTo>
                  <a:lnTo>
                    <a:pt x="2129" y="473545"/>
                  </a:lnTo>
                  <a:lnTo>
                    <a:pt x="8393" y="427327"/>
                  </a:lnTo>
                  <a:lnTo>
                    <a:pt x="18609" y="382484"/>
                  </a:lnTo>
                  <a:lnTo>
                    <a:pt x="32593" y="339200"/>
                  </a:lnTo>
                  <a:lnTo>
                    <a:pt x="50160" y="297659"/>
                  </a:lnTo>
                  <a:lnTo>
                    <a:pt x="71127" y="258045"/>
                  </a:lnTo>
                  <a:lnTo>
                    <a:pt x="95311" y="220542"/>
                  </a:lnTo>
                  <a:lnTo>
                    <a:pt x="122525" y="185334"/>
                  </a:lnTo>
                  <a:lnTo>
                    <a:pt x="152588" y="152606"/>
                  </a:lnTo>
                  <a:lnTo>
                    <a:pt x="185315" y="122541"/>
                  </a:lnTo>
                  <a:lnTo>
                    <a:pt x="220523" y="95324"/>
                  </a:lnTo>
                  <a:lnTo>
                    <a:pt x="258026" y="71138"/>
                  </a:lnTo>
                  <a:lnTo>
                    <a:pt x="297641" y="50169"/>
                  </a:lnTo>
                  <a:lnTo>
                    <a:pt x="339185" y="32599"/>
                  </a:lnTo>
                  <a:lnTo>
                    <a:pt x="382474" y="18613"/>
                  </a:lnTo>
                  <a:lnTo>
                    <a:pt x="427323" y="8395"/>
                  </a:lnTo>
                  <a:lnTo>
                    <a:pt x="473548" y="2129"/>
                  </a:lnTo>
                  <a:lnTo>
                    <a:pt x="520966" y="0"/>
                  </a:lnTo>
                  <a:lnTo>
                    <a:pt x="2604770" y="0"/>
                  </a:lnTo>
                  <a:lnTo>
                    <a:pt x="2652178" y="2129"/>
                  </a:lnTo>
                  <a:lnTo>
                    <a:pt x="2698396" y="8395"/>
                  </a:lnTo>
                  <a:lnTo>
                    <a:pt x="2743239" y="18613"/>
                  </a:lnTo>
                  <a:lnTo>
                    <a:pt x="2786523" y="32599"/>
                  </a:lnTo>
                  <a:lnTo>
                    <a:pt x="2828064" y="50169"/>
                  </a:lnTo>
                  <a:lnTo>
                    <a:pt x="2867678" y="71138"/>
                  </a:lnTo>
                  <a:lnTo>
                    <a:pt x="2905181" y="95324"/>
                  </a:lnTo>
                  <a:lnTo>
                    <a:pt x="2940389" y="122541"/>
                  </a:lnTo>
                  <a:lnTo>
                    <a:pt x="2973117" y="152606"/>
                  </a:lnTo>
                  <a:lnTo>
                    <a:pt x="3003182" y="185334"/>
                  </a:lnTo>
                  <a:lnTo>
                    <a:pt x="3030399" y="220542"/>
                  </a:lnTo>
                  <a:lnTo>
                    <a:pt x="3054585" y="258045"/>
                  </a:lnTo>
                  <a:lnTo>
                    <a:pt x="3075554" y="297659"/>
                  </a:lnTo>
                  <a:lnTo>
                    <a:pt x="3093124" y="339200"/>
                  </a:lnTo>
                  <a:lnTo>
                    <a:pt x="3107110" y="382484"/>
                  </a:lnTo>
                  <a:lnTo>
                    <a:pt x="3117328" y="427327"/>
                  </a:lnTo>
                  <a:lnTo>
                    <a:pt x="3123594" y="473545"/>
                  </a:lnTo>
                  <a:lnTo>
                    <a:pt x="3125724" y="520953"/>
                  </a:lnTo>
                  <a:lnTo>
                    <a:pt x="3125724" y="4649965"/>
                  </a:lnTo>
                  <a:lnTo>
                    <a:pt x="3123594" y="4697383"/>
                  </a:lnTo>
                  <a:lnTo>
                    <a:pt x="3117328" y="4743608"/>
                  </a:lnTo>
                  <a:lnTo>
                    <a:pt x="3107110" y="4788457"/>
                  </a:lnTo>
                  <a:lnTo>
                    <a:pt x="3093124" y="4831746"/>
                  </a:lnTo>
                  <a:lnTo>
                    <a:pt x="3075554" y="4873290"/>
                  </a:lnTo>
                  <a:lnTo>
                    <a:pt x="3054585" y="4912905"/>
                  </a:lnTo>
                  <a:lnTo>
                    <a:pt x="3030399" y="4950408"/>
                  </a:lnTo>
                  <a:lnTo>
                    <a:pt x="3003182" y="4985616"/>
                  </a:lnTo>
                  <a:lnTo>
                    <a:pt x="2973117" y="5018343"/>
                  </a:lnTo>
                  <a:lnTo>
                    <a:pt x="2940389" y="5048406"/>
                  </a:lnTo>
                  <a:lnTo>
                    <a:pt x="2905181" y="5075620"/>
                  </a:lnTo>
                  <a:lnTo>
                    <a:pt x="2867678" y="5099804"/>
                  </a:lnTo>
                  <a:lnTo>
                    <a:pt x="2828064" y="5120771"/>
                  </a:lnTo>
                  <a:lnTo>
                    <a:pt x="2786523" y="5138338"/>
                  </a:lnTo>
                  <a:lnTo>
                    <a:pt x="2743239" y="5152322"/>
                  </a:lnTo>
                  <a:lnTo>
                    <a:pt x="2698396" y="5162538"/>
                  </a:lnTo>
                  <a:lnTo>
                    <a:pt x="2652178" y="5168802"/>
                  </a:lnTo>
                  <a:lnTo>
                    <a:pt x="2604770" y="5170932"/>
                  </a:lnTo>
                  <a:lnTo>
                    <a:pt x="520966" y="5170932"/>
                  </a:lnTo>
                  <a:lnTo>
                    <a:pt x="473548" y="5168802"/>
                  </a:lnTo>
                  <a:lnTo>
                    <a:pt x="427323" y="5162538"/>
                  </a:lnTo>
                  <a:lnTo>
                    <a:pt x="382474" y="5152322"/>
                  </a:lnTo>
                  <a:lnTo>
                    <a:pt x="339185" y="5138338"/>
                  </a:lnTo>
                  <a:lnTo>
                    <a:pt x="297641" y="5120771"/>
                  </a:lnTo>
                  <a:lnTo>
                    <a:pt x="258026" y="5099804"/>
                  </a:lnTo>
                  <a:lnTo>
                    <a:pt x="220523" y="5075620"/>
                  </a:lnTo>
                  <a:lnTo>
                    <a:pt x="185315" y="5048406"/>
                  </a:lnTo>
                  <a:lnTo>
                    <a:pt x="152588" y="5018343"/>
                  </a:lnTo>
                  <a:lnTo>
                    <a:pt x="122525" y="4985616"/>
                  </a:lnTo>
                  <a:lnTo>
                    <a:pt x="95311" y="4950408"/>
                  </a:lnTo>
                  <a:lnTo>
                    <a:pt x="71127" y="4912905"/>
                  </a:lnTo>
                  <a:lnTo>
                    <a:pt x="50160" y="4873290"/>
                  </a:lnTo>
                  <a:lnTo>
                    <a:pt x="32593" y="4831746"/>
                  </a:lnTo>
                  <a:lnTo>
                    <a:pt x="18609" y="4788457"/>
                  </a:lnTo>
                  <a:lnTo>
                    <a:pt x="8393" y="4743608"/>
                  </a:lnTo>
                  <a:lnTo>
                    <a:pt x="2129" y="4697383"/>
                  </a:lnTo>
                  <a:lnTo>
                    <a:pt x="0" y="4649965"/>
                  </a:lnTo>
                  <a:lnTo>
                    <a:pt x="0" y="520953"/>
                  </a:lnTo>
                  <a:close/>
                </a:path>
              </a:pathLst>
            </a:custGeom>
            <a:ln w="12700">
              <a:solidFill>
                <a:srgbClr val="689F9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9" name="object 19"/>
            <p:cNvPicPr/>
            <p:nvPr/>
          </p:nvPicPr>
          <p:blipFill>
            <a:blip r:embed="rId10" cstate="screen">
              <a:extLst>
                <a:ext uri="{28A0092B-C50C-407E-A947-70E740481C1C}">
                  <a14:useLocalDpi xmlns:a14="http://schemas.microsoft.com/office/drawing/2010/main"/>
                </a:ext>
              </a:extLst>
            </a:blip>
            <a:stretch>
              <a:fillRect/>
            </a:stretch>
          </p:blipFill>
          <p:spPr>
            <a:xfrm>
              <a:off x="387705" y="1399031"/>
              <a:ext cx="2312162" cy="277367"/>
            </a:xfrm>
            <a:prstGeom prst="rect">
              <a:avLst/>
            </a:prstGeom>
          </p:spPr>
        </p:pic>
        <p:pic>
          <p:nvPicPr>
            <p:cNvPr id="20" name="object 20"/>
            <p:cNvPicPr/>
            <p:nvPr/>
          </p:nvPicPr>
          <p:blipFill>
            <a:blip r:embed="rId11" cstate="screen">
              <a:extLst>
                <a:ext uri="{28A0092B-C50C-407E-A947-70E740481C1C}">
                  <a14:useLocalDpi xmlns:a14="http://schemas.microsoft.com/office/drawing/2010/main"/>
                </a:ext>
              </a:extLst>
            </a:blip>
            <a:stretch>
              <a:fillRect/>
            </a:stretch>
          </p:blipFill>
          <p:spPr>
            <a:xfrm>
              <a:off x="387705" y="1606295"/>
              <a:ext cx="2498725" cy="277367"/>
            </a:xfrm>
            <a:prstGeom prst="rect">
              <a:avLst/>
            </a:prstGeom>
          </p:spPr>
        </p:pic>
        <p:pic>
          <p:nvPicPr>
            <p:cNvPr id="21" name="object 21"/>
            <p:cNvPicPr/>
            <p:nvPr/>
          </p:nvPicPr>
          <p:blipFill>
            <a:blip r:embed="rId12" cstate="screen">
              <a:extLst>
                <a:ext uri="{28A0092B-C50C-407E-A947-70E740481C1C}">
                  <a14:useLocalDpi xmlns:a14="http://schemas.microsoft.com/office/drawing/2010/main"/>
                </a:ext>
              </a:extLst>
            </a:blip>
            <a:stretch>
              <a:fillRect/>
            </a:stretch>
          </p:blipFill>
          <p:spPr>
            <a:xfrm>
              <a:off x="2797428" y="1630679"/>
              <a:ext cx="148589" cy="243839"/>
            </a:xfrm>
            <a:prstGeom prst="rect">
              <a:avLst/>
            </a:prstGeom>
          </p:spPr>
        </p:pic>
        <p:pic>
          <p:nvPicPr>
            <p:cNvPr id="22" name="object 22"/>
            <p:cNvPicPr/>
            <p:nvPr/>
          </p:nvPicPr>
          <p:blipFill>
            <a:blip r:embed="rId13" cstate="print"/>
            <a:stretch>
              <a:fillRect/>
            </a:stretch>
          </p:blipFill>
          <p:spPr>
            <a:xfrm>
              <a:off x="96012" y="1961400"/>
              <a:ext cx="2702052" cy="755891"/>
            </a:xfrm>
            <a:prstGeom prst="rect">
              <a:avLst/>
            </a:prstGeom>
          </p:spPr>
        </p:pic>
        <p:pic>
          <p:nvPicPr>
            <p:cNvPr id="23" name="object 23"/>
            <p:cNvPicPr/>
            <p:nvPr/>
          </p:nvPicPr>
          <p:blipFill>
            <a:blip r:embed="rId14" cstate="print"/>
            <a:stretch>
              <a:fillRect/>
            </a:stretch>
          </p:blipFill>
          <p:spPr>
            <a:xfrm>
              <a:off x="112776" y="2020811"/>
              <a:ext cx="2566416" cy="688860"/>
            </a:xfrm>
            <a:prstGeom prst="rect">
              <a:avLst/>
            </a:prstGeom>
          </p:spPr>
        </p:pic>
        <p:sp>
          <p:nvSpPr>
            <p:cNvPr id="24" name="object 24"/>
            <p:cNvSpPr/>
            <p:nvPr/>
          </p:nvSpPr>
          <p:spPr>
            <a:xfrm>
              <a:off x="121919" y="1987295"/>
              <a:ext cx="2600325" cy="654050"/>
            </a:xfrm>
            <a:custGeom>
              <a:avLst/>
              <a:gdLst/>
              <a:ahLst/>
              <a:cxnLst/>
              <a:rect l="l" t="t" r="r" b="b"/>
              <a:pathLst>
                <a:path w="2600325" h="654050">
                  <a:moveTo>
                    <a:pt x="2490978" y="0"/>
                  </a:moveTo>
                  <a:lnTo>
                    <a:pt x="108966" y="0"/>
                  </a:lnTo>
                  <a:lnTo>
                    <a:pt x="66549" y="8560"/>
                  </a:lnTo>
                  <a:lnTo>
                    <a:pt x="31913" y="31908"/>
                  </a:lnTo>
                  <a:lnTo>
                    <a:pt x="8562" y="66544"/>
                  </a:lnTo>
                  <a:lnTo>
                    <a:pt x="0" y="108965"/>
                  </a:lnTo>
                  <a:lnTo>
                    <a:pt x="0" y="544829"/>
                  </a:lnTo>
                  <a:lnTo>
                    <a:pt x="8562" y="587251"/>
                  </a:lnTo>
                  <a:lnTo>
                    <a:pt x="31913" y="621887"/>
                  </a:lnTo>
                  <a:lnTo>
                    <a:pt x="66549" y="645235"/>
                  </a:lnTo>
                  <a:lnTo>
                    <a:pt x="108966" y="653795"/>
                  </a:lnTo>
                  <a:lnTo>
                    <a:pt x="2490978" y="653795"/>
                  </a:lnTo>
                  <a:lnTo>
                    <a:pt x="2533399" y="645235"/>
                  </a:lnTo>
                  <a:lnTo>
                    <a:pt x="2568035" y="621887"/>
                  </a:lnTo>
                  <a:lnTo>
                    <a:pt x="2591383" y="587251"/>
                  </a:lnTo>
                  <a:lnTo>
                    <a:pt x="2599944" y="544829"/>
                  </a:lnTo>
                  <a:lnTo>
                    <a:pt x="2599944" y="108965"/>
                  </a:lnTo>
                  <a:lnTo>
                    <a:pt x="2591383" y="66544"/>
                  </a:lnTo>
                  <a:lnTo>
                    <a:pt x="2568035" y="31908"/>
                  </a:lnTo>
                  <a:lnTo>
                    <a:pt x="2533399" y="8560"/>
                  </a:lnTo>
                  <a:lnTo>
                    <a:pt x="2490978"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5" name="object 25"/>
            <p:cNvPicPr/>
            <p:nvPr/>
          </p:nvPicPr>
          <p:blipFill>
            <a:blip r:embed="rId15" cstate="screen">
              <a:extLst>
                <a:ext uri="{28A0092B-C50C-407E-A947-70E740481C1C}">
                  <a14:useLocalDpi xmlns:a14="http://schemas.microsoft.com/office/drawing/2010/main"/>
                </a:ext>
              </a:extLst>
            </a:blip>
            <a:stretch>
              <a:fillRect/>
            </a:stretch>
          </p:blipFill>
          <p:spPr>
            <a:xfrm>
              <a:off x="245973" y="2089150"/>
              <a:ext cx="633984" cy="228600"/>
            </a:xfrm>
            <a:prstGeom prst="rect">
              <a:avLst/>
            </a:prstGeom>
          </p:spPr>
        </p:pic>
        <p:pic>
          <p:nvPicPr>
            <p:cNvPr id="26" name="object 26"/>
            <p:cNvPicPr/>
            <p:nvPr/>
          </p:nvPicPr>
          <p:blipFill>
            <a:blip r:embed="rId16" cstate="screen">
              <a:extLst>
                <a:ext uri="{28A0092B-C50C-407E-A947-70E740481C1C}">
                  <a14:useLocalDpi xmlns:a14="http://schemas.microsoft.com/office/drawing/2010/main"/>
                </a:ext>
              </a:extLst>
            </a:blip>
            <a:stretch>
              <a:fillRect/>
            </a:stretch>
          </p:blipFill>
          <p:spPr>
            <a:xfrm>
              <a:off x="800709" y="2089150"/>
              <a:ext cx="207263" cy="228600"/>
            </a:xfrm>
            <a:prstGeom prst="rect">
              <a:avLst/>
            </a:prstGeom>
          </p:spPr>
        </p:pic>
        <p:pic>
          <p:nvPicPr>
            <p:cNvPr id="27" name="object 27"/>
            <p:cNvPicPr/>
            <p:nvPr/>
          </p:nvPicPr>
          <p:blipFill>
            <a:blip r:embed="rId17" cstate="screen">
              <a:extLst>
                <a:ext uri="{28A0092B-C50C-407E-A947-70E740481C1C}">
                  <a14:useLocalDpi xmlns:a14="http://schemas.microsoft.com/office/drawing/2010/main"/>
                </a:ext>
              </a:extLst>
            </a:blip>
            <a:stretch>
              <a:fillRect/>
            </a:stretch>
          </p:blipFill>
          <p:spPr>
            <a:xfrm>
              <a:off x="945489" y="2089150"/>
              <a:ext cx="1628902" cy="228600"/>
            </a:xfrm>
            <a:prstGeom prst="rect">
              <a:avLst/>
            </a:prstGeom>
          </p:spPr>
        </p:pic>
        <p:pic>
          <p:nvPicPr>
            <p:cNvPr id="28" name="object 28"/>
            <p:cNvPicPr/>
            <p:nvPr/>
          </p:nvPicPr>
          <p:blipFill>
            <a:blip r:embed="rId18" cstate="screen">
              <a:extLst>
                <a:ext uri="{28A0092B-C50C-407E-A947-70E740481C1C}">
                  <a14:useLocalDpi xmlns:a14="http://schemas.microsoft.com/office/drawing/2010/main"/>
                </a:ext>
              </a:extLst>
            </a:blip>
            <a:stretch>
              <a:fillRect/>
            </a:stretch>
          </p:blipFill>
          <p:spPr>
            <a:xfrm>
              <a:off x="245973" y="2302509"/>
              <a:ext cx="2187702" cy="228600"/>
            </a:xfrm>
            <a:prstGeom prst="rect">
              <a:avLst/>
            </a:prstGeom>
          </p:spPr>
        </p:pic>
        <p:pic>
          <p:nvPicPr>
            <p:cNvPr id="29" name="object 29"/>
            <p:cNvPicPr/>
            <p:nvPr/>
          </p:nvPicPr>
          <p:blipFill>
            <a:blip r:embed="rId19" cstate="print"/>
            <a:stretch>
              <a:fillRect/>
            </a:stretch>
          </p:blipFill>
          <p:spPr>
            <a:xfrm>
              <a:off x="96012" y="5402579"/>
              <a:ext cx="2702052" cy="749833"/>
            </a:xfrm>
            <a:prstGeom prst="rect">
              <a:avLst/>
            </a:prstGeom>
          </p:spPr>
        </p:pic>
        <p:pic>
          <p:nvPicPr>
            <p:cNvPr id="30" name="object 30"/>
            <p:cNvPicPr/>
            <p:nvPr/>
          </p:nvPicPr>
          <p:blipFill>
            <a:blip r:embed="rId20" cstate="print"/>
            <a:stretch>
              <a:fillRect/>
            </a:stretch>
          </p:blipFill>
          <p:spPr>
            <a:xfrm>
              <a:off x="112776" y="5352287"/>
              <a:ext cx="2628900" cy="902195"/>
            </a:xfrm>
            <a:prstGeom prst="rect">
              <a:avLst/>
            </a:prstGeom>
          </p:spPr>
        </p:pic>
        <p:sp>
          <p:nvSpPr>
            <p:cNvPr id="31" name="object 31"/>
            <p:cNvSpPr/>
            <p:nvPr/>
          </p:nvSpPr>
          <p:spPr>
            <a:xfrm>
              <a:off x="121919" y="5428487"/>
              <a:ext cx="2600325" cy="647700"/>
            </a:xfrm>
            <a:custGeom>
              <a:avLst/>
              <a:gdLst/>
              <a:ahLst/>
              <a:cxnLst/>
              <a:rect l="l" t="t" r="r" b="b"/>
              <a:pathLst>
                <a:path w="2600325" h="647700">
                  <a:moveTo>
                    <a:pt x="2491994" y="0"/>
                  </a:moveTo>
                  <a:lnTo>
                    <a:pt x="107950" y="0"/>
                  </a:lnTo>
                  <a:lnTo>
                    <a:pt x="65933" y="8491"/>
                  </a:lnTo>
                  <a:lnTo>
                    <a:pt x="31619" y="31638"/>
                  </a:lnTo>
                  <a:lnTo>
                    <a:pt x="8483" y="65954"/>
                  </a:lnTo>
                  <a:lnTo>
                    <a:pt x="0" y="107950"/>
                  </a:lnTo>
                  <a:lnTo>
                    <a:pt x="0" y="539750"/>
                  </a:lnTo>
                  <a:lnTo>
                    <a:pt x="8483" y="581766"/>
                  </a:lnTo>
                  <a:lnTo>
                    <a:pt x="31619" y="616080"/>
                  </a:lnTo>
                  <a:lnTo>
                    <a:pt x="65933" y="639216"/>
                  </a:lnTo>
                  <a:lnTo>
                    <a:pt x="107950" y="647700"/>
                  </a:lnTo>
                  <a:lnTo>
                    <a:pt x="2491994" y="647700"/>
                  </a:lnTo>
                  <a:lnTo>
                    <a:pt x="2533989" y="639216"/>
                  </a:lnTo>
                  <a:lnTo>
                    <a:pt x="2568305" y="616080"/>
                  </a:lnTo>
                  <a:lnTo>
                    <a:pt x="2591452" y="581766"/>
                  </a:lnTo>
                  <a:lnTo>
                    <a:pt x="2599944" y="539750"/>
                  </a:lnTo>
                  <a:lnTo>
                    <a:pt x="2599944" y="107950"/>
                  </a:lnTo>
                  <a:lnTo>
                    <a:pt x="2591452" y="65954"/>
                  </a:lnTo>
                  <a:lnTo>
                    <a:pt x="2568305" y="31638"/>
                  </a:lnTo>
                  <a:lnTo>
                    <a:pt x="2533989" y="8491"/>
                  </a:lnTo>
                  <a:lnTo>
                    <a:pt x="2491994"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32" name="object 32"/>
            <p:cNvPicPr/>
            <p:nvPr/>
          </p:nvPicPr>
          <p:blipFill>
            <a:blip r:embed="rId21" cstate="screen">
              <a:extLst>
                <a:ext uri="{28A0092B-C50C-407E-A947-70E740481C1C}">
                  <a14:useLocalDpi xmlns:a14="http://schemas.microsoft.com/office/drawing/2010/main"/>
                </a:ext>
              </a:extLst>
            </a:blip>
            <a:stretch>
              <a:fillRect/>
            </a:stretch>
          </p:blipFill>
          <p:spPr>
            <a:xfrm>
              <a:off x="245668" y="5421477"/>
              <a:ext cx="593217" cy="228600"/>
            </a:xfrm>
            <a:prstGeom prst="rect">
              <a:avLst/>
            </a:prstGeom>
          </p:spPr>
        </p:pic>
        <p:pic>
          <p:nvPicPr>
            <p:cNvPr id="33" name="object 33"/>
            <p:cNvPicPr/>
            <p:nvPr/>
          </p:nvPicPr>
          <p:blipFill>
            <a:blip r:embed="rId16" cstate="screen">
              <a:extLst>
                <a:ext uri="{28A0092B-C50C-407E-A947-70E740481C1C}">
                  <a14:useLocalDpi xmlns:a14="http://schemas.microsoft.com/office/drawing/2010/main"/>
                </a:ext>
              </a:extLst>
            </a:blip>
            <a:stretch>
              <a:fillRect/>
            </a:stretch>
          </p:blipFill>
          <p:spPr>
            <a:xfrm>
              <a:off x="772972" y="5421477"/>
              <a:ext cx="207264" cy="228600"/>
            </a:xfrm>
            <a:prstGeom prst="rect">
              <a:avLst/>
            </a:prstGeom>
          </p:spPr>
        </p:pic>
        <p:pic>
          <p:nvPicPr>
            <p:cNvPr id="34" name="object 34"/>
            <p:cNvPicPr/>
            <p:nvPr/>
          </p:nvPicPr>
          <p:blipFill>
            <a:blip r:embed="rId22" cstate="screen">
              <a:extLst>
                <a:ext uri="{28A0092B-C50C-407E-A947-70E740481C1C}">
                  <a14:useLocalDpi xmlns:a14="http://schemas.microsoft.com/office/drawing/2010/main"/>
                </a:ext>
              </a:extLst>
            </a:blip>
            <a:stretch>
              <a:fillRect/>
            </a:stretch>
          </p:blipFill>
          <p:spPr>
            <a:xfrm>
              <a:off x="917752" y="5421477"/>
              <a:ext cx="1704848" cy="228600"/>
            </a:xfrm>
            <a:prstGeom prst="rect">
              <a:avLst/>
            </a:prstGeom>
          </p:spPr>
        </p:pic>
        <p:pic>
          <p:nvPicPr>
            <p:cNvPr id="35" name="object 35"/>
            <p:cNvPicPr/>
            <p:nvPr/>
          </p:nvPicPr>
          <p:blipFill>
            <a:blip r:embed="rId23" cstate="screen">
              <a:extLst>
                <a:ext uri="{28A0092B-C50C-407E-A947-70E740481C1C}">
                  <a14:useLocalDpi xmlns:a14="http://schemas.microsoft.com/office/drawing/2010/main"/>
                </a:ext>
              </a:extLst>
            </a:blip>
            <a:stretch>
              <a:fillRect/>
            </a:stretch>
          </p:blipFill>
          <p:spPr>
            <a:xfrm>
              <a:off x="245668" y="5634532"/>
              <a:ext cx="2318512" cy="228904"/>
            </a:xfrm>
            <a:prstGeom prst="rect">
              <a:avLst/>
            </a:prstGeom>
          </p:spPr>
        </p:pic>
        <p:pic>
          <p:nvPicPr>
            <p:cNvPr id="36" name="object 36"/>
            <p:cNvPicPr/>
            <p:nvPr/>
          </p:nvPicPr>
          <p:blipFill>
            <a:blip r:embed="rId24" cstate="screen">
              <a:extLst>
                <a:ext uri="{28A0092B-C50C-407E-A947-70E740481C1C}">
                  <a14:useLocalDpi xmlns:a14="http://schemas.microsoft.com/office/drawing/2010/main"/>
                </a:ext>
              </a:extLst>
            </a:blip>
            <a:stretch>
              <a:fillRect/>
            </a:stretch>
          </p:blipFill>
          <p:spPr>
            <a:xfrm>
              <a:off x="245668" y="5848502"/>
              <a:ext cx="965047" cy="228600"/>
            </a:xfrm>
            <a:prstGeom prst="rect">
              <a:avLst/>
            </a:prstGeom>
          </p:spPr>
        </p:pic>
        <p:pic>
          <p:nvPicPr>
            <p:cNvPr id="37" name="object 37"/>
            <p:cNvPicPr/>
            <p:nvPr/>
          </p:nvPicPr>
          <p:blipFill>
            <a:blip r:embed="rId25" cstate="print"/>
            <a:stretch>
              <a:fillRect/>
            </a:stretch>
          </p:blipFill>
          <p:spPr>
            <a:xfrm>
              <a:off x="96012" y="4489691"/>
              <a:ext cx="2702052" cy="797064"/>
            </a:xfrm>
            <a:prstGeom prst="rect">
              <a:avLst/>
            </a:prstGeom>
          </p:spPr>
        </p:pic>
        <p:pic>
          <p:nvPicPr>
            <p:cNvPr id="38" name="object 38"/>
            <p:cNvPicPr/>
            <p:nvPr/>
          </p:nvPicPr>
          <p:blipFill>
            <a:blip r:embed="rId26" cstate="print"/>
            <a:stretch>
              <a:fillRect/>
            </a:stretch>
          </p:blipFill>
          <p:spPr>
            <a:xfrm>
              <a:off x="114300" y="4463808"/>
              <a:ext cx="2697480" cy="902195"/>
            </a:xfrm>
            <a:prstGeom prst="rect">
              <a:avLst/>
            </a:prstGeom>
          </p:spPr>
        </p:pic>
        <p:sp>
          <p:nvSpPr>
            <p:cNvPr id="39" name="object 39"/>
            <p:cNvSpPr/>
            <p:nvPr/>
          </p:nvSpPr>
          <p:spPr>
            <a:xfrm>
              <a:off x="121919" y="4515612"/>
              <a:ext cx="2600325" cy="695325"/>
            </a:xfrm>
            <a:custGeom>
              <a:avLst/>
              <a:gdLst/>
              <a:ahLst/>
              <a:cxnLst/>
              <a:rect l="l" t="t" r="r" b="b"/>
              <a:pathLst>
                <a:path w="2600325" h="695325">
                  <a:moveTo>
                    <a:pt x="2484120" y="0"/>
                  </a:moveTo>
                  <a:lnTo>
                    <a:pt x="115823" y="0"/>
                  </a:lnTo>
                  <a:lnTo>
                    <a:pt x="70739" y="9096"/>
                  </a:lnTo>
                  <a:lnTo>
                    <a:pt x="33923" y="33908"/>
                  </a:lnTo>
                  <a:lnTo>
                    <a:pt x="9101" y="70723"/>
                  </a:lnTo>
                  <a:lnTo>
                    <a:pt x="0" y="115824"/>
                  </a:lnTo>
                  <a:lnTo>
                    <a:pt x="0" y="579119"/>
                  </a:lnTo>
                  <a:lnTo>
                    <a:pt x="9101" y="624220"/>
                  </a:lnTo>
                  <a:lnTo>
                    <a:pt x="33923" y="661034"/>
                  </a:lnTo>
                  <a:lnTo>
                    <a:pt x="70739" y="685847"/>
                  </a:lnTo>
                  <a:lnTo>
                    <a:pt x="115823" y="694944"/>
                  </a:lnTo>
                  <a:lnTo>
                    <a:pt x="2484120" y="694944"/>
                  </a:lnTo>
                  <a:lnTo>
                    <a:pt x="2529220" y="685847"/>
                  </a:lnTo>
                  <a:lnTo>
                    <a:pt x="2566035" y="661035"/>
                  </a:lnTo>
                  <a:lnTo>
                    <a:pt x="2590847" y="624220"/>
                  </a:lnTo>
                  <a:lnTo>
                    <a:pt x="2599944" y="579119"/>
                  </a:lnTo>
                  <a:lnTo>
                    <a:pt x="2599944" y="115824"/>
                  </a:lnTo>
                  <a:lnTo>
                    <a:pt x="2590847" y="70723"/>
                  </a:lnTo>
                  <a:lnTo>
                    <a:pt x="2566035" y="33908"/>
                  </a:lnTo>
                  <a:lnTo>
                    <a:pt x="2529220" y="9096"/>
                  </a:lnTo>
                  <a:lnTo>
                    <a:pt x="2484120"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0" name="object 40"/>
            <p:cNvPicPr/>
            <p:nvPr/>
          </p:nvPicPr>
          <p:blipFill>
            <a:blip r:embed="rId27" cstate="screen">
              <a:extLst>
                <a:ext uri="{28A0092B-C50C-407E-A947-70E740481C1C}">
                  <a14:useLocalDpi xmlns:a14="http://schemas.microsoft.com/office/drawing/2010/main"/>
                </a:ext>
              </a:extLst>
            </a:blip>
            <a:stretch>
              <a:fillRect/>
            </a:stretch>
          </p:blipFill>
          <p:spPr>
            <a:xfrm>
              <a:off x="248107" y="4531817"/>
              <a:ext cx="543153" cy="228904"/>
            </a:xfrm>
            <a:prstGeom prst="rect">
              <a:avLst/>
            </a:prstGeom>
          </p:spPr>
        </p:pic>
        <p:pic>
          <p:nvPicPr>
            <p:cNvPr id="41" name="object 41"/>
            <p:cNvPicPr/>
            <p:nvPr/>
          </p:nvPicPr>
          <p:blipFill>
            <a:blip r:embed="rId16" cstate="screen">
              <a:extLst>
                <a:ext uri="{28A0092B-C50C-407E-A947-70E740481C1C}">
                  <a14:useLocalDpi xmlns:a14="http://schemas.microsoft.com/office/drawing/2010/main"/>
                </a:ext>
              </a:extLst>
            </a:blip>
            <a:stretch>
              <a:fillRect/>
            </a:stretch>
          </p:blipFill>
          <p:spPr>
            <a:xfrm>
              <a:off x="740359" y="4531817"/>
              <a:ext cx="207264" cy="228904"/>
            </a:xfrm>
            <a:prstGeom prst="rect">
              <a:avLst/>
            </a:prstGeom>
          </p:spPr>
        </p:pic>
        <p:pic>
          <p:nvPicPr>
            <p:cNvPr id="42" name="object 42"/>
            <p:cNvPicPr/>
            <p:nvPr/>
          </p:nvPicPr>
          <p:blipFill>
            <a:blip r:embed="rId28" cstate="screen">
              <a:extLst>
                <a:ext uri="{28A0092B-C50C-407E-A947-70E740481C1C}">
                  <a14:useLocalDpi xmlns:a14="http://schemas.microsoft.com/office/drawing/2010/main"/>
                </a:ext>
              </a:extLst>
            </a:blip>
            <a:stretch>
              <a:fillRect/>
            </a:stretch>
          </p:blipFill>
          <p:spPr>
            <a:xfrm>
              <a:off x="885139" y="4531817"/>
              <a:ext cx="1815083" cy="228904"/>
            </a:xfrm>
            <a:prstGeom prst="rect">
              <a:avLst/>
            </a:prstGeom>
          </p:spPr>
        </p:pic>
        <p:pic>
          <p:nvPicPr>
            <p:cNvPr id="43" name="object 43"/>
            <p:cNvPicPr/>
            <p:nvPr/>
          </p:nvPicPr>
          <p:blipFill>
            <a:blip r:embed="rId29" cstate="screen">
              <a:extLst>
                <a:ext uri="{28A0092B-C50C-407E-A947-70E740481C1C}">
                  <a14:useLocalDpi xmlns:a14="http://schemas.microsoft.com/office/drawing/2010/main"/>
                </a:ext>
              </a:extLst>
            </a:blip>
            <a:stretch>
              <a:fillRect/>
            </a:stretch>
          </p:blipFill>
          <p:spPr>
            <a:xfrm>
              <a:off x="248107" y="4745735"/>
              <a:ext cx="2189607" cy="228600"/>
            </a:xfrm>
            <a:prstGeom prst="rect">
              <a:avLst/>
            </a:prstGeom>
          </p:spPr>
        </p:pic>
        <p:pic>
          <p:nvPicPr>
            <p:cNvPr id="44" name="object 44"/>
            <p:cNvPicPr/>
            <p:nvPr/>
          </p:nvPicPr>
          <p:blipFill>
            <a:blip r:embed="rId30" cstate="screen">
              <a:extLst>
                <a:ext uri="{28A0092B-C50C-407E-A947-70E740481C1C}">
                  <a14:useLocalDpi xmlns:a14="http://schemas.microsoft.com/office/drawing/2010/main"/>
                </a:ext>
              </a:extLst>
            </a:blip>
            <a:stretch>
              <a:fillRect/>
            </a:stretch>
          </p:blipFill>
          <p:spPr>
            <a:xfrm>
              <a:off x="248107" y="4959096"/>
              <a:ext cx="1129792" cy="228600"/>
            </a:xfrm>
            <a:prstGeom prst="rect">
              <a:avLst/>
            </a:prstGeom>
          </p:spPr>
        </p:pic>
        <p:pic>
          <p:nvPicPr>
            <p:cNvPr id="45" name="object 45"/>
            <p:cNvPicPr/>
            <p:nvPr/>
          </p:nvPicPr>
          <p:blipFill>
            <a:blip r:embed="rId13" cstate="print"/>
            <a:stretch>
              <a:fillRect/>
            </a:stretch>
          </p:blipFill>
          <p:spPr>
            <a:xfrm>
              <a:off x="96012" y="3654564"/>
              <a:ext cx="2702052" cy="755891"/>
            </a:xfrm>
            <a:prstGeom prst="rect">
              <a:avLst/>
            </a:prstGeom>
          </p:spPr>
        </p:pic>
        <p:pic>
          <p:nvPicPr>
            <p:cNvPr id="46" name="object 46"/>
            <p:cNvPicPr/>
            <p:nvPr/>
          </p:nvPicPr>
          <p:blipFill>
            <a:blip r:embed="rId31" cstate="print"/>
            <a:stretch>
              <a:fillRect/>
            </a:stretch>
          </p:blipFill>
          <p:spPr>
            <a:xfrm>
              <a:off x="112776" y="3607320"/>
              <a:ext cx="2337816" cy="902195"/>
            </a:xfrm>
            <a:prstGeom prst="rect">
              <a:avLst/>
            </a:prstGeom>
          </p:spPr>
        </p:pic>
        <p:sp>
          <p:nvSpPr>
            <p:cNvPr id="47" name="object 47"/>
            <p:cNvSpPr/>
            <p:nvPr/>
          </p:nvSpPr>
          <p:spPr>
            <a:xfrm>
              <a:off x="121919" y="3680459"/>
              <a:ext cx="2600325" cy="654050"/>
            </a:xfrm>
            <a:custGeom>
              <a:avLst/>
              <a:gdLst/>
              <a:ahLst/>
              <a:cxnLst/>
              <a:rect l="l" t="t" r="r" b="b"/>
              <a:pathLst>
                <a:path w="2600325" h="654050">
                  <a:moveTo>
                    <a:pt x="2490978" y="0"/>
                  </a:moveTo>
                  <a:lnTo>
                    <a:pt x="108966" y="0"/>
                  </a:lnTo>
                  <a:lnTo>
                    <a:pt x="66549" y="8560"/>
                  </a:lnTo>
                  <a:lnTo>
                    <a:pt x="31913" y="31908"/>
                  </a:lnTo>
                  <a:lnTo>
                    <a:pt x="8562" y="66544"/>
                  </a:lnTo>
                  <a:lnTo>
                    <a:pt x="0" y="108965"/>
                  </a:lnTo>
                  <a:lnTo>
                    <a:pt x="0" y="544829"/>
                  </a:lnTo>
                  <a:lnTo>
                    <a:pt x="8562" y="587251"/>
                  </a:lnTo>
                  <a:lnTo>
                    <a:pt x="31913" y="621887"/>
                  </a:lnTo>
                  <a:lnTo>
                    <a:pt x="66549" y="645235"/>
                  </a:lnTo>
                  <a:lnTo>
                    <a:pt x="108966" y="653795"/>
                  </a:lnTo>
                  <a:lnTo>
                    <a:pt x="2490978" y="653795"/>
                  </a:lnTo>
                  <a:lnTo>
                    <a:pt x="2533399" y="645235"/>
                  </a:lnTo>
                  <a:lnTo>
                    <a:pt x="2568035" y="621887"/>
                  </a:lnTo>
                  <a:lnTo>
                    <a:pt x="2591383" y="587251"/>
                  </a:lnTo>
                  <a:lnTo>
                    <a:pt x="2599944" y="544829"/>
                  </a:lnTo>
                  <a:lnTo>
                    <a:pt x="2599944" y="108965"/>
                  </a:lnTo>
                  <a:lnTo>
                    <a:pt x="2591383" y="66544"/>
                  </a:lnTo>
                  <a:lnTo>
                    <a:pt x="2568035" y="31908"/>
                  </a:lnTo>
                  <a:lnTo>
                    <a:pt x="2533399" y="8560"/>
                  </a:lnTo>
                  <a:lnTo>
                    <a:pt x="2490978"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8" name="object 48"/>
            <p:cNvPicPr/>
            <p:nvPr/>
          </p:nvPicPr>
          <p:blipFill>
            <a:blip r:embed="rId32" cstate="screen">
              <a:extLst>
                <a:ext uri="{28A0092B-C50C-407E-A947-70E740481C1C}">
                  <a14:useLocalDpi xmlns:a14="http://schemas.microsoft.com/office/drawing/2010/main"/>
                </a:ext>
              </a:extLst>
            </a:blip>
            <a:stretch>
              <a:fillRect/>
            </a:stretch>
          </p:blipFill>
          <p:spPr>
            <a:xfrm>
              <a:off x="245973" y="3675887"/>
              <a:ext cx="590296" cy="228600"/>
            </a:xfrm>
            <a:prstGeom prst="rect">
              <a:avLst/>
            </a:prstGeom>
          </p:spPr>
        </p:pic>
        <p:pic>
          <p:nvPicPr>
            <p:cNvPr id="49" name="object 49"/>
            <p:cNvPicPr/>
            <p:nvPr/>
          </p:nvPicPr>
          <p:blipFill>
            <a:blip r:embed="rId33" cstate="screen">
              <a:extLst>
                <a:ext uri="{28A0092B-C50C-407E-A947-70E740481C1C}">
                  <a14:useLocalDpi xmlns:a14="http://schemas.microsoft.com/office/drawing/2010/main"/>
                </a:ext>
              </a:extLst>
            </a:blip>
            <a:stretch>
              <a:fillRect/>
            </a:stretch>
          </p:blipFill>
          <p:spPr>
            <a:xfrm>
              <a:off x="751941" y="3675887"/>
              <a:ext cx="207263" cy="228600"/>
            </a:xfrm>
            <a:prstGeom prst="rect">
              <a:avLst/>
            </a:prstGeom>
          </p:spPr>
        </p:pic>
        <p:pic>
          <p:nvPicPr>
            <p:cNvPr id="50" name="object 50"/>
            <p:cNvPicPr/>
            <p:nvPr/>
          </p:nvPicPr>
          <p:blipFill>
            <a:blip r:embed="rId34" cstate="screen">
              <a:extLst>
                <a:ext uri="{28A0092B-C50C-407E-A947-70E740481C1C}">
                  <a14:useLocalDpi xmlns:a14="http://schemas.microsoft.com/office/drawing/2010/main"/>
                </a:ext>
              </a:extLst>
            </a:blip>
            <a:stretch>
              <a:fillRect/>
            </a:stretch>
          </p:blipFill>
          <p:spPr>
            <a:xfrm>
              <a:off x="896721" y="3675887"/>
              <a:ext cx="1444116" cy="228600"/>
            </a:xfrm>
            <a:prstGeom prst="rect">
              <a:avLst/>
            </a:prstGeom>
          </p:spPr>
        </p:pic>
        <p:pic>
          <p:nvPicPr>
            <p:cNvPr id="51" name="object 51"/>
            <p:cNvPicPr/>
            <p:nvPr/>
          </p:nvPicPr>
          <p:blipFill>
            <a:blip r:embed="rId35" cstate="screen">
              <a:extLst>
                <a:ext uri="{28A0092B-C50C-407E-A947-70E740481C1C}">
                  <a14:useLocalDpi xmlns:a14="http://schemas.microsoft.com/office/drawing/2010/main"/>
                </a:ext>
              </a:extLst>
            </a:blip>
            <a:stretch>
              <a:fillRect/>
            </a:stretch>
          </p:blipFill>
          <p:spPr>
            <a:xfrm>
              <a:off x="245973" y="3889247"/>
              <a:ext cx="1956816" cy="228600"/>
            </a:xfrm>
            <a:prstGeom prst="rect">
              <a:avLst/>
            </a:prstGeom>
          </p:spPr>
        </p:pic>
        <p:pic>
          <p:nvPicPr>
            <p:cNvPr id="52" name="object 52"/>
            <p:cNvPicPr/>
            <p:nvPr/>
          </p:nvPicPr>
          <p:blipFill>
            <a:blip r:embed="rId36" cstate="screen">
              <a:extLst>
                <a:ext uri="{28A0092B-C50C-407E-A947-70E740481C1C}">
                  <a14:useLocalDpi xmlns:a14="http://schemas.microsoft.com/office/drawing/2010/main"/>
                </a:ext>
              </a:extLst>
            </a:blip>
            <a:stretch>
              <a:fillRect/>
            </a:stretch>
          </p:blipFill>
          <p:spPr>
            <a:xfrm>
              <a:off x="245973" y="4102608"/>
              <a:ext cx="1405763" cy="228600"/>
            </a:xfrm>
            <a:prstGeom prst="rect">
              <a:avLst/>
            </a:prstGeom>
          </p:spPr>
        </p:pic>
        <p:pic>
          <p:nvPicPr>
            <p:cNvPr id="53" name="object 53"/>
            <p:cNvPicPr/>
            <p:nvPr/>
          </p:nvPicPr>
          <p:blipFill>
            <a:blip r:embed="rId13" cstate="print"/>
            <a:stretch>
              <a:fillRect/>
            </a:stretch>
          </p:blipFill>
          <p:spPr>
            <a:xfrm>
              <a:off x="96012" y="2779788"/>
              <a:ext cx="2702052" cy="755891"/>
            </a:xfrm>
            <a:prstGeom prst="rect">
              <a:avLst/>
            </a:prstGeom>
          </p:spPr>
        </p:pic>
        <p:pic>
          <p:nvPicPr>
            <p:cNvPr id="54" name="object 54"/>
            <p:cNvPicPr/>
            <p:nvPr/>
          </p:nvPicPr>
          <p:blipFill>
            <a:blip r:embed="rId37" cstate="print"/>
            <a:stretch>
              <a:fillRect/>
            </a:stretch>
          </p:blipFill>
          <p:spPr>
            <a:xfrm>
              <a:off x="112776" y="2732544"/>
              <a:ext cx="2662428" cy="902195"/>
            </a:xfrm>
            <a:prstGeom prst="rect">
              <a:avLst/>
            </a:prstGeom>
          </p:spPr>
        </p:pic>
        <p:sp>
          <p:nvSpPr>
            <p:cNvPr id="55" name="object 55"/>
            <p:cNvSpPr/>
            <p:nvPr/>
          </p:nvSpPr>
          <p:spPr>
            <a:xfrm>
              <a:off x="121919" y="2805683"/>
              <a:ext cx="2600325" cy="654050"/>
            </a:xfrm>
            <a:custGeom>
              <a:avLst/>
              <a:gdLst/>
              <a:ahLst/>
              <a:cxnLst/>
              <a:rect l="l" t="t" r="r" b="b"/>
              <a:pathLst>
                <a:path w="2600325" h="654050">
                  <a:moveTo>
                    <a:pt x="2490978" y="0"/>
                  </a:moveTo>
                  <a:lnTo>
                    <a:pt x="108966" y="0"/>
                  </a:lnTo>
                  <a:lnTo>
                    <a:pt x="66549" y="8560"/>
                  </a:lnTo>
                  <a:lnTo>
                    <a:pt x="31913" y="31908"/>
                  </a:lnTo>
                  <a:lnTo>
                    <a:pt x="8562" y="66544"/>
                  </a:lnTo>
                  <a:lnTo>
                    <a:pt x="0" y="108965"/>
                  </a:lnTo>
                  <a:lnTo>
                    <a:pt x="0" y="544829"/>
                  </a:lnTo>
                  <a:lnTo>
                    <a:pt x="8562" y="587251"/>
                  </a:lnTo>
                  <a:lnTo>
                    <a:pt x="31913" y="621887"/>
                  </a:lnTo>
                  <a:lnTo>
                    <a:pt x="66549" y="645235"/>
                  </a:lnTo>
                  <a:lnTo>
                    <a:pt x="108966" y="653795"/>
                  </a:lnTo>
                  <a:lnTo>
                    <a:pt x="2490978" y="653795"/>
                  </a:lnTo>
                  <a:lnTo>
                    <a:pt x="2533399" y="645235"/>
                  </a:lnTo>
                  <a:lnTo>
                    <a:pt x="2568035" y="621887"/>
                  </a:lnTo>
                  <a:lnTo>
                    <a:pt x="2591383" y="587251"/>
                  </a:lnTo>
                  <a:lnTo>
                    <a:pt x="2599944" y="544829"/>
                  </a:lnTo>
                  <a:lnTo>
                    <a:pt x="2599944" y="108965"/>
                  </a:lnTo>
                  <a:lnTo>
                    <a:pt x="2591383" y="66544"/>
                  </a:lnTo>
                  <a:lnTo>
                    <a:pt x="2568035" y="31908"/>
                  </a:lnTo>
                  <a:lnTo>
                    <a:pt x="2533399" y="8560"/>
                  </a:lnTo>
                  <a:lnTo>
                    <a:pt x="2490978"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56" name="object 56"/>
            <p:cNvPicPr/>
            <p:nvPr/>
          </p:nvPicPr>
          <p:blipFill>
            <a:blip r:embed="rId38" cstate="screen">
              <a:extLst>
                <a:ext uri="{28A0092B-C50C-407E-A947-70E740481C1C}">
                  <a14:useLocalDpi xmlns:a14="http://schemas.microsoft.com/office/drawing/2010/main"/>
                </a:ext>
              </a:extLst>
            </a:blip>
            <a:stretch>
              <a:fillRect/>
            </a:stretch>
          </p:blipFill>
          <p:spPr>
            <a:xfrm>
              <a:off x="245973" y="2800858"/>
              <a:ext cx="925068" cy="228600"/>
            </a:xfrm>
            <a:prstGeom prst="rect">
              <a:avLst/>
            </a:prstGeom>
          </p:spPr>
        </p:pic>
        <p:pic>
          <p:nvPicPr>
            <p:cNvPr id="57" name="object 57"/>
            <p:cNvPicPr/>
            <p:nvPr/>
          </p:nvPicPr>
          <p:blipFill>
            <a:blip r:embed="rId39" cstate="screen">
              <a:extLst>
                <a:ext uri="{28A0092B-C50C-407E-A947-70E740481C1C}">
                  <a14:useLocalDpi xmlns:a14="http://schemas.microsoft.com/office/drawing/2010/main"/>
                </a:ext>
              </a:extLst>
            </a:blip>
            <a:stretch>
              <a:fillRect/>
            </a:stretch>
          </p:blipFill>
          <p:spPr>
            <a:xfrm>
              <a:off x="1107033" y="2800858"/>
              <a:ext cx="1564030" cy="228600"/>
            </a:xfrm>
            <a:prstGeom prst="rect">
              <a:avLst/>
            </a:prstGeom>
          </p:spPr>
        </p:pic>
        <p:pic>
          <p:nvPicPr>
            <p:cNvPr id="58" name="object 58"/>
            <p:cNvPicPr/>
            <p:nvPr/>
          </p:nvPicPr>
          <p:blipFill>
            <a:blip r:embed="rId40" cstate="screen">
              <a:extLst>
                <a:ext uri="{28A0092B-C50C-407E-A947-70E740481C1C}">
                  <a14:useLocalDpi xmlns:a14="http://schemas.microsoft.com/office/drawing/2010/main"/>
                </a:ext>
              </a:extLst>
            </a:blip>
            <a:stretch>
              <a:fillRect/>
            </a:stretch>
          </p:blipFill>
          <p:spPr>
            <a:xfrm>
              <a:off x="245973" y="3014218"/>
              <a:ext cx="2370455" cy="228600"/>
            </a:xfrm>
            <a:prstGeom prst="rect">
              <a:avLst/>
            </a:prstGeom>
          </p:spPr>
        </p:pic>
        <p:pic>
          <p:nvPicPr>
            <p:cNvPr id="59" name="object 59"/>
            <p:cNvPicPr/>
            <p:nvPr/>
          </p:nvPicPr>
          <p:blipFill>
            <a:blip r:embed="rId41" cstate="screen">
              <a:extLst>
                <a:ext uri="{28A0092B-C50C-407E-A947-70E740481C1C}">
                  <a14:useLocalDpi xmlns:a14="http://schemas.microsoft.com/office/drawing/2010/main"/>
                </a:ext>
              </a:extLst>
            </a:blip>
            <a:stretch>
              <a:fillRect/>
            </a:stretch>
          </p:blipFill>
          <p:spPr>
            <a:xfrm>
              <a:off x="245973" y="3227577"/>
              <a:ext cx="729830" cy="228600"/>
            </a:xfrm>
            <a:prstGeom prst="rect">
              <a:avLst/>
            </a:prstGeom>
          </p:spPr>
        </p:pic>
        <p:pic>
          <p:nvPicPr>
            <p:cNvPr id="60" name="object 60"/>
            <p:cNvPicPr/>
            <p:nvPr/>
          </p:nvPicPr>
          <p:blipFill>
            <a:blip r:embed="rId42" cstate="print"/>
            <a:stretch>
              <a:fillRect/>
            </a:stretch>
          </p:blipFill>
          <p:spPr>
            <a:xfrm>
              <a:off x="2577084" y="2859023"/>
              <a:ext cx="499871" cy="573024"/>
            </a:xfrm>
            <a:prstGeom prst="rect">
              <a:avLst/>
            </a:prstGeom>
          </p:spPr>
        </p:pic>
        <p:pic>
          <p:nvPicPr>
            <p:cNvPr id="61" name="object 61"/>
            <p:cNvPicPr/>
            <p:nvPr/>
          </p:nvPicPr>
          <p:blipFill>
            <a:blip r:embed="rId43" cstate="print"/>
            <a:stretch>
              <a:fillRect/>
            </a:stretch>
          </p:blipFill>
          <p:spPr>
            <a:xfrm>
              <a:off x="2503931" y="3680459"/>
              <a:ext cx="623316" cy="571500"/>
            </a:xfrm>
            <a:prstGeom prst="rect">
              <a:avLst/>
            </a:prstGeom>
          </p:spPr>
        </p:pic>
        <p:pic>
          <p:nvPicPr>
            <p:cNvPr id="62" name="object 62"/>
            <p:cNvPicPr/>
            <p:nvPr/>
          </p:nvPicPr>
          <p:blipFill>
            <a:blip r:embed="rId44" cstate="print"/>
            <a:stretch>
              <a:fillRect/>
            </a:stretch>
          </p:blipFill>
          <p:spPr>
            <a:xfrm>
              <a:off x="2535935" y="4623816"/>
              <a:ext cx="623315" cy="586739"/>
            </a:xfrm>
            <a:prstGeom prst="rect">
              <a:avLst/>
            </a:prstGeom>
          </p:spPr>
        </p:pic>
        <p:pic>
          <p:nvPicPr>
            <p:cNvPr id="63" name="object 63"/>
            <p:cNvPicPr/>
            <p:nvPr/>
          </p:nvPicPr>
          <p:blipFill>
            <a:blip r:embed="rId45" cstate="print"/>
            <a:stretch>
              <a:fillRect/>
            </a:stretch>
          </p:blipFill>
          <p:spPr>
            <a:xfrm>
              <a:off x="2516123" y="5458967"/>
              <a:ext cx="621792" cy="586740"/>
            </a:xfrm>
            <a:prstGeom prst="rect">
              <a:avLst/>
            </a:prstGeom>
          </p:spPr>
        </p:pic>
      </p:grpSp>
      <p:grpSp>
        <p:nvGrpSpPr>
          <p:cNvPr id="64" name="object 64"/>
          <p:cNvGrpSpPr/>
          <p:nvPr/>
        </p:nvGrpSpPr>
        <p:grpSpPr>
          <a:xfrm>
            <a:off x="3745738" y="1283208"/>
            <a:ext cx="4423410" cy="786765"/>
            <a:chOff x="3745738" y="1283208"/>
            <a:chExt cx="4423410" cy="786765"/>
          </a:xfrm>
        </p:grpSpPr>
        <p:pic>
          <p:nvPicPr>
            <p:cNvPr id="65" name="object 65"/>
            <p:cNvPicPr/>
            <p:nvPr/>
          </p:nvPicPr>
          <p:blipFill>
            <a:blip r:embed="rId46" cstate="screen">
              <a:extLst>
                <a:ext uri="{28A0092B-C50C-407E-A947-70E740481C1C}">
                  <a14:useLocalDpi xmlns:a14="http://schemas.microsoft.com/office/drawing/2010/main"/>
                </a:ext>
              </a:extLst>
            </a:blip>
            <a:stretch>
              <a:fillRect/>
            </a:stretch>
          </p:blipFill>
          <p:spPr>
            <a:xfrm>
              <a:off x="3745738" y="1283208"/>
              <a:ext cx="4422902" cy="292608"/>
            </a:xfrm>
            <a:prstGeom prst="rect">
              <a:avLst/>
            </a:prstGeom>
          </p:spPr>
        </p:pic>
        <p:pic>
          <p:nvPicPr>
            <p:cNvPr id="66" name="object 66"/>
            <p:cNvPicPr/>
            <p:nvPr/>
          </p:nvPicPr>
          <p:blipFill>
            <a:blip r:embed="rId47" cstate="screen">
              <a:extLst>
                <a:ext uri="{28A0092B-C50C-407E-A947-70E740481C1C}">
                  <a14:useLocalDpi xmlns:a14="http://schemas.microsoft.com/office/drawing/2010/main"/>
                </a:ext>
              </a:extLst>
            </a:blip>
            <a:stretch>
              <a:fillRect/>
            </a:stretch>
          </p:blipFill>
          <p:spPr>
            <a:xfrm>
              <a:off x="3782314" y="1530096"/>
              <a:ext cx="4350766" cy="292608"/>
            </a:xfrm>
            <a:prstGeom prst="rect">
              <a:avLst/>
            </a:prstGeom>
          </p:spPr>
        </p:pic>
        <p:pic>
          <p:nvPicPr>
            <p:cNvPr id="67" name="object 67"/>
            <p:cNvPicPr/>
            <p:nvPr/>
          </p:nvPicPr>
          <p:blipFill>
            <a:blip r:embed="rId48" cstate="screen">
              <a:extLst>
                <a:ext uri="{28A0092B-C50C-407E-A947-70E740481C1C}">
                  <a14:useLocalDpi xmlns:a14="http://schemas.microsoft.com/office/drawing/2010/main"/>
                </a:ext>
              </a:extLst>
            </a:blip>
            <a:stretch>
              <a:fillRect/>
            </a:stretch>
          </p:blipFill>
          <p:spPr>
            <a:xfrm>
              <a:off x="5317236" y="1776984"/>
              <a:ext cx="1218438" cy="292608"/>
            </a:xfrm>
            <a:prstGeom prst="rect">
              <a:avLst/>
            </a:prstGeom>
          </p:spPr>
        </p:pic>
      </p:grpSp>
      <p:grpSp>
        <p:nvGrpSpPr>
          <p:cNvPr id="68" name="object 68"/>
          <p:cNvGrpSpPr/>
          <p:nvPr/>
        </p:nvGrpSpPr>
        <p:grpSpPr>
          <a:xfrm>
            <a:off x="8546592" y="1214627"/>
            <a:ext cx="3599815" cy="4227830"/>
            <a:chOff x="8546592" y="1214627"/>
            <a:chExt cx="3599815" cy="4227830"/>
          </a:xfrm>
        </p:grpSpPr>
        <p:pic>
          <p:nvPicPr>
            <p:cNvPr id="69" name="object 69"/>
            <p:cNvPicPr/>
            <p:nvPr/>
          </p:nvPicPr>
          <p:blipFill>
            <a:blip r:embed="rId49" cstate="print"/>
            <a:stretch>
              <a:fillRect/>
            </a:stretch>
          </p:blipFill>
          <p:spPr>
            <a:xfrm>
              <a:off x="8546592" y="1214627"/>
              <a:ext cx="3599688" cy="4227576"/>
            </a:xfrm>
            <a:prstGeom prst="rect">
              <a:avLst/>
            </a:prstGeom>
          </p:spPr>
        </p:pic>
        <p:pic>
          <p:nvPicPr>
            <p:cNvPr id="70" name="object 70"/>
            <p:cNvPicPr/>
            <p:nvPr/>
          </p:nvPicPr>
          <p:blipFill>
            <a:blip r:embed="rId50" cstate="print"/>
            <a:stretch>
              <a:fillRect/>
            </a:stretch>
          </p:blipFill>
          <p:spPr>
            <a:xfrm>
              <a:off x="8602980" y="1293875"/>
              <a:ext cx="3511296" cy="3980688"/>
            </a:xfrm>
            <a:prstGeom prst="rect">
              <a:avLst/>
            </a:prstGeom>
          </p:spPr>
        </p:pic>
        <p:sp>
          <p:nvSpPr>
            <p:cNvPr id="71" name="object 71"/>
            <p:cNvSpPr/>
            <p:nvPr/>
          </p:nvSpPr>
          <p:spPr>
            <a:xfrm>
              <a:off x="8572500" y="1240535"/>
              <a:ext cx="3497579" cy="4125595"/>
            </a:xfrm>
            <a:custGeom>
              <a:avLst/>
              <a:gdLst/>
              <a:ahLst/>
              <a:cxnLst/>
              <a:rect l="l" t="t" r="r" b="b"/>
              <a:pathLst>
                <a:path w="3497579" h="4125595">
                  <a:moveTo>
                    <a:pt x="3144393" y="0"/>
                  </a:moveTo>
                  <a:lnTo>
                    <a:pt x="353186" y="0"/>
                  </a:lnTo>
                  <a:lnTo>
                    <a:pt x="305259" y="3223"/>
                  </a:lnTo>
                  <a:lnTo>
                    <a:pt x="259291" y="12615"/>
                  </a:lnTo>
                  <a:lnTo>
                    <a:pt x="215705" y="27753"/>
                  </a:lnTo>
                  <a:lnTo>
                    <a:pt x="174921" y="48217"/>
                  </a:lnTo>
                  <a:lnTo>
                    <a:pt x="137359" y="73587"/>
                  </a:lnTo>
                  <a:lnTo>
                    <a:pt x="103441" y="103441"/>
                  </a:lnTo>
                  <a:lnTo>
                    <a:pt x="73587" y="137359"/>
                  </a:lnTo>
                  <a:lnTo>
                    <a:pt x="48217" y="174921"/>
                  </a:lnTo>
                  <a:lnTo>
                    <a:pt x="27753" y="215705"/>
                  </a:lnTo>
                  <a:lnTo>
                    <a:pt x="12615" y="259291"/>
                  </a:lnTo>
                  <a:lnTo>
                    <a:pt x="3223" y="305259"/>
                  </a:lnTo>
                  <a:lnTo>
                    <a:pt x="0" y="353187"/>
                  </a:lnTo>
                  <a:lnTo>
                    <a:pt x="0" y="3772280"/>
                  </a:lnTo>
                  <a:lnTo>
                    <a:pt x="3223" y="3820208"/>
                  </a:lnTo>
                  <a:lnTo>
                    <a:pt x="12615" y="3866176"/>
                  </a:lnTo>
                  <a:lnTo>
                    <a:pt x="27753" y="3909762"/>
                  </a:lnTo>
                  <a:lnTo>
                    <a:pt x="48217" y="3950546"/>
                  </a:lnTo>
                  <a:lnTo>
                    <a:pt x="73587" y="3988108"/>
                  </a:lnTo>
                  <a:lnTo>
                    <a:pt x="103441" y="4022026"/>
                  </a:lnTo>
                  <a:lnTo>
                    <a:pt x="137359" y="4051880"/>
                  </a:lnTo>
                  <a:lnTo>
                    <a:pt x="174921" y="4077250"/>
                  </a:lnTo>
                  <a:lnTo>
                    <a:pt x="215705" y="4097714"/>
                  </a:lnTo>
                  <a:lnTo>
                    <a:pt x="259291" y="4112852"/>
                  </a:lnTo>
                  <a:lnTo>
                    <a:pt x="305259" y="4122244"/>
                  </a:lnTo>
                  <a:lnTo>
                    <a:pt x="353186" y="4125467"/>
                  </a:lnTo>
                  <a:lnTo>
                    <a:pt x="3144393" y="4125467"/>
                  </a:lnTo>
                  <a:lnTo>
                    <a:pt x="3192320" y="4122244"/>
                  </a:lnTo>
                  <a:lnTo>
                    <a:pt x="3238288" y="4112852"/>
                  </a:lnTo>
                  <a:lnTo>
                    <a:pt x="3281874" y="4097714"/>
                  </a:lnTo>
                  <a:lnTo>
                    <a:pt x="3322658" y="4077250"/>
                  </a:lnTo>
                  <a:lnTo>
                    <a:pt x="3360220" y="4051880"/>
                  </a:lnTo>
                  <a:lnTo>
                    <a:pt x="3394138" y="4022026"/>
                  </a:lnTo>
                  <a:lnTo>
                    <a:pt x="3423992" y="3988108"/>
                  </a:lnTo>
                  <a:lnTo>
                    <a:pt x="3449362" y="3950546"/>
                  </a:lnTo>
                  <a:lnTo>
                    <a:pt x="3469826" y="3909762"/>
                  </a:lnTo>
                  <a:lnTo>
                    <a:pt x="3484964" y="3866176"/>
                  </a:lnTo>
                  <a:lnTo>
                    <a:pt x="3494356" y="3820208"/>
                  </a:lnTo>
                  <a:lnTo>
                    <a:pt x="3497579" y="3772280"/>
                  </a:lnTo>
                  <a:lnTo>
                    <a:pt x="3497579" y="353187"/>
                  </a:lnTo>
                  <a:lnTo>
                    <a:pt x="3494356" y="305259"/>
                  </a:lnTo>
                  <a:lnTo>
                    <a:pt x="3484964" y="259291"/>
                  </a:lnTo>
                  <a:lnTo>
                    <a:pt x="3469826" y="215705"/>
                  </a:lnTo>
                  <a:lnTo>
                    <a:pt x="3449362" y="174921"/>
                  </a:lnTo>
                  <a:lnTo>
                    <a:pt x="3423992" y="137359"/>
                  </a:lnTo>
                  <a:lnTo>
                    <a:pt x="3394138" y="103441"/>
                  </a:lnTo>
                  <a:lnTo>
                    <a:pt x="3360220" y="73587"/>
                  </a:lnTo>
                  <a:lnTo>
                    <a:pt x="3322658" y="48217"/>
                  </a:lnTo>
                  <a:lnTo>
                    <a:pt x="3281874" y="27753"/>
                  </a:lnTo>
                  <a:lnTo>
                    <a:pt x="3238288" y="12615"/>
                  </a:lnTo>
                  <a:lnTo>
                    <a:pt x="3192320" y="3223"/>
                  </a:lnTo>
                  <a:lnTo>
                    <a:pt x="3144393"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72" name="object 72"/>
            <p:cNvPicPr/>
            <p:nvPr/>
          </p:nvPicPr>
          <p:blipFill>
            <a:blip r:embed="rId51" cstate="screen">
              <a:extLst>
                <a:ext uri="{28A0092B-C50C-407E-A947-70E740481C1C}">
                  <a14:useLocalDpi xmlns:a14="http://schemas.microsoft.com/office/drawing/2010/main"/>
                </a:ext>
              </a:extLst>
            </a:blip>
            <a:stretch>
              <a:fillRect/>
            </a:stretch>
          </p:blipFill>
          <p:spPr>
            <a:xfrm>
              <a:off x="8767826" y="1376171"/>
              <a:ext cx="1272412" cy="292608"/>
            </a:xfrm>
            <a:prstGeom prst="rect">
              <a:avLst/>
            </a:prstGeom>
          </p:spPr>
        </p:pic>
        <p:pic>
          <p:nvPicPr>
            <p:cNvPr id="73" name="object 73"/>
            <p:cNvPicPr/>
            <p:nvPr/>
          </p:nvPicPr>
          <p:blipFill>
            <a:blip r:embed="rId52" cstate="screen">
              <a:extLst>
                <a:ext uri="{28A0092B-C50C-407E-A947-70E740481C1C}">
                  <a14:useLocalDpi xmlns:a14="http://schemas.microsoft.com/office/drawing/2010/main"/>
                </a:ext>
              </a:extLst>
            </a:blip>
            <a:stretch>
              <a:fillRect/>
            </a:stretch>
          </p:blipFill>
          <p:spPr>
            <a:xfrm>
              <a:off x="9924542" y="1376171"/>
              <a:ext cx="103631" cy="292608"/>
            </a:xfrm>
            <a:prstGeom prst="rect">
              <a:avLst/>
            </a:prstGeom>
          </p:spPr>
        </p:pic>
        <p:pic>
          <p:nvPicPr>
            <p:cNvPr id="74" name="object 74"/>
            <p:cNvPicPr/>
            <p:nvPr/>
          </p:nvPicPr>
          <p:blipFill>
            <a:blip r:embed="rId53" cstate="screen">
              <a:extLst>
                <a:ext uri="{28A0092B-C50C-407E-A947-70E740481C1C}">
                  <a14:useLocalDpi xmlns:a14="http://schemas.microsoft.com/office/drawing/2010/main"/>
                </a:ext>
              </a:extLst>
            </a:blip>
            <a:stretch>
              <a:fillRect/>
            </a:stretch>
          </p:blipFill>
          <p:spPr>
            <a:xfrm>
              <a:off x="9054338" y="1651965"/>
              <a:ext cx="1951354" cy="260908"/>
            </a:xfrm>
            <a:prstGeom prst="rect">
              <a:avLst/>
            </a:prstGeom>
          </p:spPr>
        </p:pic>
        <p:pic>
          <p:nvPicPr>
            <p:cNvPr id="75" name="object 75"/>
            <p:cNvPicPr/>
            <p:nvPr/>
          </p:nvPicPr>
          <p:blipFill>
            <a:blip r:embed="rId54" cstate="screen">
              <a:extLst>
                <a:ext uri="{28A0092B-C50C-407E-A947-70E740481C1C}">
                  <a14:useLocalDpi xmlns:a14="http://schemas.microsoft.com/office/drawing/2010/main"/>
                </a:ext>
              </a:extLst>
            </a:blip>
            <a:stretch>
              <a:fillRect/>
            </a:stretch>
          </p:blipFill>
          <p:spPr>
            <a:xfrm>
              <a:off x="9054338" y="1896109"/>
              <a:ext cx="1484756" cy="260603"/>
            </a:xfrm>
            <a:prstGeom prst="rect">
              <a:avLst/>
            </a:prstGeom>
          </p:spPr>
        </p:pic>
        <p:pic>
          <p:nvPicPr>
            <p:cNvPr id="76" name="object 76"/>
            <p:cNvPicPr/>
            <p:nvPr/>
          </p:nvPicPr>
          <p:blipFill>
            <a:blip r:embed="rId55" cstate="screen">
              <a:extLst>
                <a:ext uri="{28A0092B-C50C-407E-A947-70E740481C1C}">
                  <a14:useLocalDpi xmlns:a14="http://schemas.microsoft.com/office/drawing/2010/main"/>
                </a:ext>
              </a:extLst>
            </a:blip>
            <a:stretch>
              <a:fillRect/>
            </a:stretch>
          </p:blipFill>
          <p:spPr>
            <a:xfrm>
              <a:off x="9054338" y="2139950"/>
              <a:ext cx="2899536" cy="260603"/>
            </a:xfrm>
            <a:prstGeom prst="rect">
              <a:avLst/>
            </a:prstGeom>
          </p:spPr>
        </p:pic>
        <p:pic>
          <p:nvPicPr>
            <p:cNvPr id="77" name="object 77"/>
            <p:cNvPicPr/>
            <p:nvPr/>
          </p:nvPicPr>
          <p:blipFill>
            <a:blip r:embed="rId56" cstate="screen">
              <a:extLst>
                <a:ext uri="{28A0092B-C50C-407E-A947-70E740481C1C}">
                  <a14:useLocalDpi xmlns:a14="http://schemas.microsoft.com/office/drawing/2010/main"/>
                </a:ext>
              </a:extLst>
            </a:blip>
            <a:stretch>
              <a:fillRect/>
            </a:stretch>
          </p:blipFill>
          <p:spPr>
            <a:xfrm>
              <a:off x="9511538" y="2383789"/>
              <a:ext cx="1854834" cy="260603"/>
            </a:xfrm>
            <a:prstGeom prst="rect">
              <a:avLst/>
            </a:prstGeom>
          </p:spPr>
        </p:pic>
        <p:pic>
          <p:nvPicPr>
            <p:cNvPr id="78" name="object 78"/>
            <p:cNvPicPr/>
            <p:nvPr/>
          </p:nvPicPr>
          <p:blipFill>
            <a:blip r:embed="rId57" cstate="screen">
              <a:extLst>
                <a:ext uri="{28A0092B-C50C-407E-A947-70E740481C1C}">
                  <a14:useLocalDpi xmlns:a14="http://schemas.microsoft.com/office/drawing/2010/main"/>
                </a:ext>
              </a:extLst>
            </a:blip>
            <a:stretch>
              <a:fillRect/>
            </a:stretch>
          </p:blipFill>
          <p:spPr>
            <a:xfrm>
              <a:off x="9511538" y="2627630"/>
              <a:ext cx="2089277" cy="260603"/>
            </a:xfrm>
            <a:prstGeom prst="rect">
              <a:avLst/>
            </a:prstGeom>
          </p:spPr>
        </p:pic>
        <p:pic>
          <p:nvPicPr>
            <p:cNvPr id="79" name="object 79"/>
            <p:cNvPicPr/>
            <p:nvPr/>
          </p:nvPicPr>
          <p:blipFill>
            <a:blip r:embed="rId58" cstate="screen">
              <a:extLst>
                <a:ext uri="{28A0092B-C50C-407E-A947-70E740481C1C}">
                  <a14:useLocalDpi xmlns:a14="http://schemas.microsoft.com/office/drawing/2010/main"/>
                </a:ext>
              </a:extLst>
            </a:blip>
            <a:stretch>
              <a:fillRect/>
            </a:stretch>
          </p:blipFill>
          <p:spPr>
            <a:xfrm>
              <a:off x="9511538" y="2871470"/>
              <a:ext cx="1567179" cy="260603"/>
            </a:xfrm>
            <a:prstGeom prst="rect">
              <a:avLst/>
            </a:prstGeom>
          </p:spPr>
        </p:pic>
        <p:pic>
          <p:nvPicPr>
            <p:cNvPr id="80" name="object 80"/>
            <p:cNvPicPr/>
            <p:nvPr/>
          </p:nvPicPr>
          <p:blipFill>
            <a:blip r:embed="rId59" cstate="screen">
              <a:extLst>
                <a:ext uri="{28A0092B-C50C-407E-A947-70E740481C1C}">
                  <a14:useLocalDpi xmlns:a14="http://schemas.microsoft.com/office/drawing/2010/main"/>
                </a:ext>
              </a:extLst>
            </a:blip>
            <a:stretch>
              <a:fillRect/>
            </a:stretch>
          </p:blipFill>
          <p:spPr>
            <a:xfrm>
              <a:off x="9054338" y="3115005"/>
              <a:ext cx="2674366" cy="260908"/>
            </a:xfrm>
            <a:prstGeom prst="rect">
              <a:avLst/>
            </a:prstGeom>
          </p:spPr>
        </p:pic>
        <p:pic>
          <p:nvPicPr>
            <p:cNvPr id="81" name="object 81"/>
            <p:cNvPicPr/>
            <p:nvPr/>
          </p:nvPicPr>
          <p:blipFill>
            <a:blip r:embed="rId60" cstate="screen">
              <a:extLst>
                <a:ext uri="{28A0092B-C50C-407E-A947-70E740481C1C}">
                  <a14:useLocalDpi xmlns:a14="http://schemas.microsoft.com/office/drawing/2010/main"/>
                </a:ext>
              </a:extLst>
            </a:blip>
            <a:stretch>
              <a:fillRect/>
            </a:stretch>
          </p:blipFill>
          <p:spPr>
            <a:xfrm>
              <a:off x="9054338" y="3359530"/>
              <a:ext cx="2553461" cy="260603"/>
            </a:xfrm>
            <a:prstGeom prst="rect">
              <a:avLst/>
            </a:prstGeom>
          </p:spPr>
        </p:pic>
        <p:pic>
          <p:nvPicPr>
            <p:cNvPr id="82" name="object 82"/>
            <p:cNvPicPr/>
            <p:nvPr/>
          </p:nvPicPr>
          <p:blipFill>
            <a:blip r:embed="rId61" cstate="screen">
              <a:extLst>
                <a:ext uri="{28A0092B-C50C-407E-A947-70E740481C1C}">
                  <a14:useLocalDpi xmlns:a14="http://schemas.microsoft.com/office/drawing/2010/main"/>
                </a:ext>
              </a:extLst>
            </a:blip>
            <a:stretch>
              <a:fillRect/>
            </a:stretch>
          </p:blipFill>
          <p:spPr>
            <a:xfrm>
              <a:off x="9054338" y="3603370"/>
              <a:ext cx="2943479" cy="260603"/>
            </a:xfrm>
            <a:prstGeom prst="rect">
              <a:avLst/>
            </a:prstGeom>
          </p:spPr>
        </p:pic>
        <p:pic>
          <p:nvPicPr>
            <p:cNvPr id="83" name="object 83"/>
            <p:cNvPicPr/>
            <p:nvPr/>
          </p:nvPicPr>
          <p:blipFill>
            <a:blip r:embed="rId62" cstate="screen">
              <a:extLst>
                <a:ext uri="{28A0092B-C50C-407E-A947-70E740481C1C}">
                  <a14:useLocalDpi xmlns:a14="http://schemas.microsoft.com/office/drawing/2010/main"/>
                </a:ext>
              </a:extLst>
            </a:blip>
            <a:stretch>
              <a:fillRect/>
            </a:stretch>
          </p:blipFill>
          <p:spPr>
            <a:xfrm>
              <a:off x="9054338" y="3847210"/>
              <a:ext cx="2582926" cy="504444"/>
            </a:xfrm>
            <a:prstGeom prst="rect">
              <a:avLst/>
            </a:prstGeom>
          </p:spPr>
        </p:pic>
        <p:pic>
          <p:nvPicPr>
            <p:cNvPr id="84" name="object 84"/>
            <p:cNvPicPr/>
            <p:nvPr/>
          </p:nvPicPr>
          <p:blipFill>
            <a:blip r:embed="rId63" cstate="screen">
              <a:extLst>
                <a:ext uri="{28A0092B-C50C-407E-A947-70E740481C1C}">
                  <a14:useLocalDpi xmlns:a14="http://schemas.microsoft.com/office/drawing/2010/main"/>
                </a:ext>
              </a:extLst>
            </a:blip>
            <a:stretch>
              <a:fillRect/>
            </a:stretch>
          </p:blipFill>
          <p:spPr>
            <a:xfrm>
              <a:off x="9054338" y="4334840"/>
              <a:ext cx="720090" cy="260908"/>
            </a:xfrm>
            <a:prstGeom prst="rect">
              <a:avLst/>
            </a:prstGeom>
          </p:spPr>
        </p:pic>
      </p:grpSp>
      <p:sp>
        <p:nvSpPr>
          <p:cNvPr id="85" name="object 85"/>
          <p:cNvSpPr txBox="1"/>
          <p:nvPr/>
        </p:nvSpPr>
        <p:spPr>
          <a:xfrm>
            <a:off x="8755126" y="1636267"/>
            <a:ext cx="575945" cy="3195955"/>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0" marR="0" lvl="0" indent="0" defTabSz="914400" eaLnBrk="1" fontAlgn="auto" latinLnBrk="0" hangingPunct="1">
              <a:lnSpc>
                <a:spcPct val="100000"/>
              </a:lnSpc>
              <a:spcBef>
                <a:spcPts val="145"/>
              </a:spcBef>
              <a:spcAft>
                <a:spcPts val="0"/>
              </a:spcAft>
              <a:buClrTx/>
              <a:buSzTx/>
              <a:buFontTx/>
              <a:buNone/>
              <a:tabLst/>
              <a:defRPr/>
            </a:pP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0" marR="5080" lvl="0" indent="0" algn="r" defTabSz="914400" eaLnBrk="1" fontAlgn="auto" latinLnBrk="0" hangingPunct="1">
              <a:lnSpc>
                <a:spcPct val="100000"/>
              </a:lnSpc>
              <a:spcBef>
                <a:spcPts val="0"/>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0" marR="5080" lvl="0" indent="0" algn="r" defTabSz="914400" eaLnBrk="1" fontAlgn="auto" latinLnBrk="0" hangingPunct="1">
              <a:lnSpc>
                <a:spcPct val="100000"/>
              </a:lnSpc>
              <a:spcBef>
                <a:spcPts val="0"/>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0" marR="5080" lvl="0" indent="0" algn="r" defTabSz="914400" eaLnBrk="1" fontAlgn="auto" latinLnBrk="0" hangingPunct="1">
              <a:lnSpc>
                <a:spcPct val="100000"/>
              </a:lnSpc>
              <a:spcBef>
                <a:spcPts val="0"/>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5"/>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0" marR="0" lvl="0" indent="0" defTabSz="914400" eaLnBrk="1" fontAlgn="auto" latinLnBrk="0" hangingPunct="1">
              <a:lnSpc>
                <a:spcPct val="100000"/>
              </a:lnSpc>
              <a:spcBef>
                <a:spcPts val="285"/>
              </a:spcBef>
              <a:spcAft>
                <a:spcPts val="0"/>
              </a:spcAft>
              <a:buClrTx/>
              <a:buSzTx/>
              <a:buFontTx/>
              <a:buNone/>
              <a:tabLst/>
              <a:defRPr/>
            </a:pP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0" marR="0" lvl="0" indent="0" defTabSz="914400" eaLnBrk="1" fontAlgn="auto" latinLnBrk="0" hangingPunct="1">
              <a:lnSpc>
                <a:spcPct val="100000"/>
              </a:lnSpc>
              <a:spcBef>
                <a:spcPts val="145"/>
              </a:spcBef>
              <a:spcAft>
                <a:spcPts val="0"/>
              </a:spcAft>
              <a:buClrTx/>
              <a:buSzTx/>
              <a:buFontTx/>
              <a:buNone/>
              <a:tabLst/>
              <a:defRPr/>
            </a:pP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5"/>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p:txBody>
      </p:sp>
      <p:grpSp>
        <p:nvGrpSpPr>
          <p:cNvPr id="86" name="object 86"/>
          <p:cNvGrpSpPr/>
          <p:nvPr/>
        </p:nvGrpSpPr>
        <p:grpSpPr>
          <a:xfrm>
            <a:off x="8546592" y="4578984"/>
            <a:ext cx="3618229" cy="2230755"/>
            <a:chOff x="8546592" y="4578984"/>
            <a:chExt cx="3618229" cy="2230755"/>
          </a:xfrm>
        </p:grpSpPr>
        <p:pic>
          <p:nvPicPr>
            <p:cNvPr id="87" name="object 87"/>
            <p:cNvPicPr/>
            <p:nvPr/>
          </p:nvPicPr>
          <p:blipFill>
            <a:blip r:embed="rId64" cstate="screen">
              <a:extLst>
                <a:ext uri="{28A0092B-C50C-407E-A947-70E740481C1C}">
                  <a14:useLocalDpi xmlns:a14="http://schemas.microsoft.com/office/drawing/2010/main"/>
                </a:ext>
              </a:extLst>
            </a:blip>
            <a:stretch>
              <a:fillRect/>
            </a:stretch>
          </p:blipFill>
          <p:spPr>
            <a:xfrm>
              <a:off x="9054338" y="4578984"/>
              <a:ext cx="2484374" cy="260604"/>
            </a:xfrm>
            <a:prstGeom prst="rect">
              <a:avLst/>
            </a:prstGeom>
          </p:spPr>
        </p:pic>
        <p:pic>
          <p:nvPicPr>
            <p:cNvPr id="88" name="object 88"/>
            <p:cNvPicPr/>
            <p:nvPr/>
          </p:nvPicPr>
          <p:blipFill>
            <a:blip r:embed="rId65" cstate="screen">
              <a:extLst>
                <a:ext uri="{28A0092B-C50C-407E-A947-70E740481C1C}">
                  <a14:useLocalDpi xmlns:a14="http://schemas.microsoft.com/office/drawing/2010/main"/>
                </a:ext>
              </a:extLst>
            </a:blip>
            <a:stretch>
              <a:fillRect/>
            </a:stretch>
          </p:blipFill>
          <p:spPr>
            <a:xfrm>
              <a:off x="9054338" y="4822824"/>
              <a:ext cx="1360297" cy="260604"/>
            </a:xfrm>
            <a:prstGeom prst="rect">
              <a:avLst/>
            </a:prstGeom>
          </p:spPr>
        </p:pic>
        <p:pic>
          <p:nvPicPr>
            <p:cNvPr id="89" name="object 89"/>
            <p:cNvPicPr/>
            <p:nvPr/>
          </p:nvPicPr>
          <p:blipFill>
            <a:blip r:embed="rId66" cstate="print"/>
            <a:stretch>
              <a:fillRect/>
            </a:stretch>
          </p:blipFill>
          <p:spPr>
            <a:xfrm>
              <a:off x="8546592" y="5455935"/>
              <a:ext cx="3617976" cy="1353312"/>
            </a:xfrm>
            <a:prstGeom prst="rect">
              <a:avLst/>
            </a:prstGeom>
          </p:spPr>
        </p:pic>
        <p:pic>
          <p:nvPicPr>
            <p:cNvPr id="90" name="object 90"/>
            <p:cNvPicPr/>
            <p:nvPr/>
          </p:nvPicPr>
          <p:blipFill>
            <a:blip r:embed="rId67" cstate="print"/>
            <a:stretch>
              <a:fillRect/>
            </a:stretch>
          </p:blipFill>
          <p:spPr>
            <a:xfrm>
              <a:off x="8560308" y="5494035"/>
              <a:ext cx="3015996" cy="1298448"/>
            </a:xfrm>
            <a:prstGeom prst="rect">
              <a:avLst/>
            </a:prstGeom>
          </p:spPr>
        </p:pic>
        <p:sp>
          <p:nvSpPr>
            <p:cNvPr id="91" name="object 91"/>
            <p:cNvSpPr/>
            <p:nvPr/>
          </p:nvSpPr>
          <p:spPr>
            <a:xfrm>
              <a:off x="8572500" y="5481827"/>
              <a:ext cx="3515995" cy="1251585"/>
            </a:xfrm>
            <a:custGeom>
              <a:avLst/>
              <a:gdLst/>
              <a:ahLst/>
              <a:cxnLst/>
              <a:rect l="l" t="t" r="r" b="b"/>
              <a:pathLst>
                <a:path w="3515995" h="1251584">
                  <a:moveTo>
                    <a:pt x="3307333" y="0"/>
                  </a:moveTo>
                  <a:lnTo>
                    <a:pt x="208533" y="0"/>
                  </a:lnTo>
                  <a:lnTo>
                    <a:pt x="160713" y="5506"/>
                  </a:lnTo>
                  <a:lnTo>
                    <a:pt x="116817" y="21192"/>
                  </a:lnTo>
                  <a:lnTo>
                    <a:pt x="78098" y="45806"/>
                  </a:lnTo>
                  <a:lnTo>
                    <a:pt x="45806" y="78098"/>
                  </a:lnTo>
                  <a:lnTo>
                    <a:pt x="21192" y="116817"/>
                  </a:lnTo>
                  <a:lnTo>
                    <a:pt x="5506" y="160713"/>
                  </a:lnTo>
                  <a:lnTo>
                    <a:pt x="0" y="208534"/>
                  </a:lnTo>
                  <a:lnTo>
                    <a:pt x="0" y="1042670"/>
                  </a:lnTo>
                  <a:lnTo>
                    <a:pt x="5506" y="1090482"/>
                  </a:lnTo>
                  <a:lnTo>
                    <a:pt x="21192" y="1134375"/>
                  </a:lnTo>
                  <a:lnTo>
                    <a:pt x="45806" y="1173094"/>
                  </a:lnTo>
                  <a:lnTo>
                    <a:pt x="78098" y="1205389"/>
                  </a:lnTo>
                  <a:lnTo>
                    <a:pt x="116817" y="1230007"/>
                  </a:lnTo>
                  <a:lnTo>
                    <a:pt x="160713" y="1245696"/>
                  </a:lnTo>
                  <a:lnTo>
                    <a:pt x="208533" y="1251204"/>
                  </a:lnTo>
                  <a:lnTo>
                    <a:pt x="3307333" y="1251204"/>
                  </a:lnTo>
                  <a:lnTo>
                    <a:pt x="3355154" y="1245696"/>
                  </a:lnTo>
                  <a:lnTo>
                    <a:pt x="3399050" y="1230007"/>
                  </a:lnTo>
                  <a:lnTo>
                    <a:pt x="3437769" y="1205389"/>
                  </a:lnTo>
                  <a:lnTo>
                    <a:pt x="3470061" y="1173094"/>
                  </a:lnTo>
                  <a:lnTo>
                    <a:pt x="3494675" y="1134375"/>
                  </a:lnTo>
                  <a:lnTo>
                    <a:pt x="3510361" y="1090482"/>
                  </a:lnTo>
                  <a:lnTo>
                    <a:pt x="3515868" y="1042670"/>
                  </a:lnTo>
                  <a:lnTo>
                    <a:pt x="3515868" y="208534"/>
                  </a:lnTo>
                  <a:lnTo>
                    <a:pt x="3510361" y="160713"/>
                  </a:lnTo>
                  <a:lnTo>
                    <a:pt x="3494675" y="116817"/>
                  </a:lnTo>
                  <a:lnTo>
                    <a:pt x="3470061" y="78098"/>
                  </a:lnTo>
                  <a:lnTo>
                    <a:pt x="3437769" y="45806"/>
                  </a:lnTo>
                  <a:lnTo>
                    <a:pt x="3399050" y="21192"/>
                  </a:lnTo>
                  <a:lnTo>
                    <a:pt x="3355154" y="5506"/>
                  </a:lnTo>
                  <a:lnTo>
                    <a:pt x="3307333"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92" name="object 92"/>
            <p:cNvPicPr/>
            <p:nvPr/>
          </p:nvPicPr>
          <p:blipFill>
            <a:blip r:embed="rId68" cstate="screen">
              <a:extLst>
                <a:ext uri="{28A0092B-C50C-407E-A947-70E740481C1C}">
                  <a14:useLocalDpi xmlns:a14="http://schemas.microsoft.com/office/drawing/2010/main"/>
                </a:ext>
              </a:extLst>
            </a:blip>
            <a:stretch>
              <a:fillRect/>
            </a:stretch>
          </p:blipFill>
          <p:spPr>
            <a:xfrm>
              <a:off x="8725535" y="5576315"/>
              <a:ext cx="1867027" cy="292607"/>
            </a:xfrm>
            <a:prstGeom prst="rect">
              <a:avLst/>
            </a:prstGeom>
          </p:spPr>
        </p:pic>
        <p:pic>
          <p:nvPicPr>
            <p:cNvPr id="93" name="object 93"/>
            <p:cNvPicPr/>
            <p:nvPr/>
          </p:nvPicPr>
          <p:blipFill>
            <a:blip r:embed="rId69" cstate="screen">
              <a:extLst>
                <a:ext uri="{28A0092B-C50C-407E-A947-70E740481C1C}">
                  <a14:useLocalDpi xmlns:a14="http://schemas.microsoft.com/office/drawing/2010/main"/>
                </a:ext>
              </a:extLst>
            </a:blip>
            <a:stretch>
              <a:fillRect/>
            </a:stretch>
          </p:blipFill>
          <p:spPr>
            <a:xfrm>
              <a:off x="9012047" y="5852159"/>
              <a:ext cx="2268220" cy="260604"/>
            </a:xfrm>
            <a:prstGeom prst="rect">
              <a:avLst/>
            </a:prstGeom>
          </p:spPr>
        </p:pic>
        <p:pic>
          <p:nvPicPr>
            <p:cNvPr id="94" name="object 94"/>
            <p:cNvPicPr/>
            <p:nvPr/>
          </p:nvPicPr>
          <p:blipFill>
            <a:blip r:embed="rId70" cstate="screen">
              <a:extLst>
                <a:ext uri="{28A0092B-C50C-407E-A947-70E740481C1C}">
                  <a14:useLocalDpi xmlns:a14="http://schemas.microsoft.com/office/drawing/2010/main"/>
                </a:ext>
              </a:extLst>
            </a:blip>
            <a:stretch>
              <a:fillRect/>
            </a:stretch>
          </p:blipFill>
          <p:spPr>
            <a:xfrm>
              <a:off x="9012047" y="6095999"/>
              <a:ext cx="1193622" cy="260908"/>
            </a:xfrm>
            <a:prstGeom prst="rect">
              <a:avLst/>
            </a:prstGeom>
          </p:spPr>
        </p:pic>
      </p:grpSp>
      <p:sp>
        <p:nvSpPr>
          <p:cNvPr id="95" name="object 95"/>
          <p:cNvSpPr txBox="1"/>
          <p:nvPr/>
        </p:nvSpPr>
        <p:spPr>
          <a:xfrm>
            <a:off x="8712834" y="5836411"/>
            <a:ext cx="118745" cy="75692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Wingdings"/>
                <a:ea typeface="+mn-ea"/>
                <a:cs typeface="Wingdings"/>
              </a:rPr>
              <a:t></a:t>
            </a:r>
            <a:endParaRPr kumimoji="0" sz="1600" b="0" i="0" u="none" strike="noStrike" kern="0" cap="none" spc="0" normalizeH="0" baseline="0" noProof="0" dirty="0">
              <a:ln>
                <a:noFill/>
              </a:ln>
              <a:solidFill>
                <a:sysClr val="windowText" lastClr="000000"/>
              </a:solidFill>
              <a:effectLst/>
              <a:uLnTx/>
              <a:uFillTx/>
              <a:latin typeface="Wingdings"/>
              <a:ea typeface="+mn-ea"/>
              <a:cs typeface="Wingdings"/>
            </a:endParaRPr>
          </a:p>
        </p:txBody>
      </p:sp>
      <p:pic>
        <p:nvPicPr>
          <p:cNvPr id="96" name="object 96"/>
          <p:cNvPicPr/>
          <p:nvPr/>
        </p:nvPicPr>
        <p:blipFill>
          <a:blip r:embed="rId71" cstate="print"/>
          <a:stretch>
            <a:fillRect/>
          </a:stretch>
        </p:blipFill>
        <p:spPr>
          <a:xfrm>
            <a:off x="2564892" y="2052827"/>
            <a:ext cx="499871" cy="556260"/>
          </a:xfrm>
          <a:prstGeom prst="rect">
            <a:avLst/>
          </a:prstGeom>
        </p:spPr>
      </p:pic>
      <p:grpSp>
        <p:nvGrpSpPr>
          <p:cNvPr id="97" name="object 97"/>
          <p:cNvGrpSpPr/>
          <p:nvPr/>
        </p:nvGrpSpPr>
        <p:grpSpPr>
          <a:xfrm>
            <a:off x="3208020" y="2052827"/>
            <a:ext cx="8249284" cy="4548505"/>
            <a:chOff x="3208020" y="2052827"/>
            <a:chExt cx="8249284" cy="4548505"/>
          </a:xfrm>
        </p:grpSpPr>
        <p:pic>
          <p:nvPicPr>
            <p:cNvPr id="98" name="object 98"/>
            <p:cNvPicPr/>
            <p:nvPr/>
          </p:nvPicPr>
          <p:blipFill>
            <a:blip r:embed="rId72" cstate="screen">
              <a:extLst>
                <a:ext uri="{28A0092B-C50C-407E-A947-70E740481C1C}">
                  <a14:useLocalDpi xmlns:a14="http://schemas.microsoft.com/office/drawing/2010/main"/>
                </a:ext>
              </a:extLst>
            </a:blip>
            <a:stretch>
              <a:fillRect/>
            </a:stretch>
          </p:blipFill>
          <p:spPr>
            <a:xfrm>
              <a:off x="9012047" y="6340144"/>
              <a:ext cx="2445004" cy="260603"/>
            </a:xfrm>
            <a:prstGeom prst="rect">
              <a:avLst/>
            </a:prstGeom>
          </p:spPr>
        </p:pic>
        <p:pic>
          <p:nvPicPr>
            <p:cNvPr id="99" name="object 99"/>
            <p:cNvPicPr/>
            <p:nvPr/>
          </p:nvPicPr>
          <p:blipFill>
            <a:blip r:embed="rId73" cstate="print"/>
            <a:stretch>
              <a:fillRect/>
            </a:stretch>
          </p:blipFill>
          <p:spPr>
            <a:xfrm>
              <a:off x="3208020" y="2052827"/>
              <a:ext cx="5469635" cy="3624072"/>
            </a:xfrm>
            <a:prstGeom prst="rect">
              <a:avLst/>
            </a:prstGeom>
          </p:spPr>
        </p:pic>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298450" y="1385061"/>
            <a:ext cx="4577080" cy="5128895"/>
            <a:chOff x="298450" y="1385061"/>
            <a:chExt cx="4577080" cy="5128895"/>
          </a:xfrm>
        </p:grpSpPr>
        <p:sp>
          <p:nvSpPr>
            <p:cNvPr id="3" name="object 3"/>
            <p:cNvSpPr/>
            <p:nvPr/>
          </p:nvSpPr>
          <p:spPr>
            <a:xfrm>
              <a:off x="304800" y="1391411"/>
              <a:ext cx="4564380" cy="5116195"/>
            </a:xfrm>
            <a:custGeom>
              <a:avLst/>
              <a:gdLst/>
              <a:ahLst/>
              <a:cxnLst/>
              <a:rect l="l" t="t" r="r" b="b"/>
              <a:pathLst>
                <a:path w="4564380" h="5116195">
                  <a:moveTo>
                    <a:pt x="3803650" y="0"/>
                  </a:moveTo>
                  <a:lnTo>
                    <a:pt x="760742" y="0"/>
                  </a:lnTo>
                  <a:lnTo>
                    <a:pt x="712632" y="1496"/>
                  </a:lnTo>
                  <a:lnTo>
                    <a:pt x="665317" y="5927"/>
                  </a:lnTo>
                  <a:lnTo>
                    <a:pt x="618887" y="13203"/>
                  </a:lnTo>
                  <a:lnTo>
                    <a:pt x="573429" y="23234"/>
                  </a:lnTo>
                  <a:lnTo>
                    <a:pt x="529034" y="35932"/>
                  </a:lnTo>
                  <a:lnTo>
                    <a:pt x="485791" y="51208"/>
                  </a:lnTo>
                  <a:lnTo>
                    <a:pt x="443788" y="68972"/>
                  </a:lnTo>
                  <a:lnTo>
                    <a:pt x="403116" y="89136"/>
                  </a:lnTo>
                  <a:lnTo>
                    <a:pt x="363862" y="111609"/>
                  </a:lnTo>
                  <a:lnTo>
                    <a:pt x="326116" y="136303"/>
                  </a:lnTo>
                  <a:lnTo>
                    <a:pt x="289967" y="163130"/>
                  </a:lnTo>
                  <a:lnTo>
                    <a:pt x="255505" y="191999"/>
                  </a:lnTo>
                  <a:lnTo>
                    <a:pt x="222818" y="222821"/>
                  </a:lnTo>
                  <a:lnTo>
                    <a:pt x="191995" y="255508"/>
                  </a:lnTo>
                  <a:lnTo>
                    <a:pt x="163127" y="289970"/>
                  </a:lnTo>
                  <a:lnTo>
                    <a:pt x="136301" y="326118"/>
                  </a:lnTo>
                  <a:lnTo>
                    <a:pt x="111607" y="363864"/>
                  </a:lnTo>
                  <a:lnTo>
                    <a:pt x="89133" y="403117"/>
                  </a:lnTo>
                  <a:lnTo>
                    <a:pt x="68970" y="443789"/>
                  </a:lnTo>
                  <a:lnTo>
                    <a:pt x="51207" y="485790"/>
                  </a:lnTo>
                  <a:lnTo>
                    <a:pt x="35931" y="529032"/>
                  </a:lnTo>
                  <a:lnTo>
                    <a:pt x="23234" y="573426"/>
                  </a:lnTo>
                  <a:lnTo>
                    <a:pt x="13202" y="618881"/>
                  </a:lnTo>
                  <a:lnTo>
                    <a:pt x="5927" y="665310"/>
                  </a:lnTo>
                  <a:lnTo>
                    <a:pt x="1496" y="712622"/>
                  </a:lnTo>
                  <a:lnTo>
                    <a:pt x="0" y="760729"/>
                  </a:lnTo>
                  <a:lnTo>
                    <a:pt x="0" y="4355325"/>
                  </a:lnTo>
                  <a:lnTo>
                    <a:pt x="1496" y="4403435"/>
                  </a:lnTo>
                  <a:lnTo>
                    <a:pt x="5927" y="4450750"/>
                  </a:lnTo>
                  <a:lnTo>
                    <a:pt x="13202" y="4497180"/>
                  </a:lnTo>
                  <a:lnTo>
                    <a:pt x="23234" y="4542638"/>
                  </a:lnTo>
                  <a:lnTo>
                    <a:pt x="35931" y="4587033"/>
                  </a:lnTo>
                  <a:lnTo>
                    <a:pt x="51207" y="4630276"/>
                  </a:lnTo>
                  <a:lnTo>
                    <a:pt x="68970" y="4672279"/>
                  </a:lnTo>
                  <a:lnTo>
                    <a:pt x="89133" y="4712951"/>
                  </a:lnTo>
                  <a:lnTo>
                    <a:pt x="111607" y="4752205"/>
                  </a:lnTo>
                  <a:lnTo>
                    <a:pt x="136301" y="4789951"/>
                  </a:lnTo>
                  <a:lnTo>
                    <a:pt x="163127" y="4826100"/>
                  </a:lnTo>
                  <a:lnTo>
                    <a:pt x="191995" y="4860562"/>
                  </a:lnTo>
                  <a:lnTo>
                    <a:pt x="222818" y="4893249"/>
                  </a:lnTo>
                  <a:lnTo>
                    <a:pt x="255505" y="4924072"/>
                  </a:lnTo>
                  <a:lnTo>
                    <a:pt x="289967" y="4952940"/>
                  </a:lnTo>
                  <a:lnTo>
                    <a:pt x="326116" y="4979766"/>
                  </a:lnTo>
                  <a:lnTo>
                    <a:pt x="363862" y="5004460"/>
                  </a:lnTo>
                  <a:lnTo>
                    <a:pt x="403116" y="5026934"/>
                  </a:lnTo>
                  <a:lnTo>
                    <a:pt x="443788" y="5047097"/>
                  </a:lnTo>
                  <a:lnTo>
                    <a:pt x="485791" y="5064860"/>
                  </a:lnTo>
                  <a:lnTo>
                    <a:pt x="529034" y="5080136"/>
                  </a:lnTo>
                  <a:lnTo>
                    <a:pt x="573429" y="5092833"/>
                  </a:lnTo>
                  <a:lnTo>
                    <a:pt x="618887" y="5102865"/>
                  </a:lnTo>
                  <a:lnTo>
                    <a:pt x="665317" y="5110140"/>
                  </a:lnTo>
                  <a:lnTo>
                    <a:pt x="712632" y="5114571"/>
                  </a:lnTo>
                  <a:lnTo>
                    <a:pt x="760742" y="5116068"/>
                  </a:lnTo>
                  <a:lnTo>
                    <a:pt x="3803650" y="5116068"/>
                  </a:lnTo>
                  <a:lnTo>
                    <a:pt x="3851757" y="5114571"/>
                  </a:lnTo>
                  <a:lnTo>
                    <a:pt x="3899069" y="5110140"/>
                  </a:lnTo>
                  <a:lnTo>
                    <a:pt x="3945498" y="5102865"/>
                  </a:lnTo>
                  <a:lnTo>
                    <a:pt x="3990953" y="5092833"/>
                  </a:lnTo>
                  <a:lnTo>
                    <a:pt x="4035347" y="5080136"/>
                  </a:lnTo>
                  <a:lnTo>
                    <a:pt x="4078589" y="5064860"/>
                  </a:lnTo>
                  <a:lnTo>
                    <a:pt x="4120590" y="5047097"/>
                  </a:lnTo>
                  <a:lnTo>
                    <a:pt x="4161262" y="5026934"/>
                  </a:lnTo>
                  <a:lnTo>
                    <a:pt x="4200515" y="5004460"/>
                  </a:lnTo>
                  <a:lnTo>
                    <a:pt x="4238261" y="4979766"/>
                  </a:lnTo>
                  <a:lnTo>
                    <a:pt x="4274409" y="4952940"/>
                  </a:lnTo>
                  <a:lnTo>
                    <a:pt x="4308871" y="4924072"/>
                  </a:lnTo>
                  <a:lnTo>
                    <a:pt x="4341558" y="4893249"/>
                  </a:lnTo>
                  <a:lnTo>
                    <a:pt x="4372380" y="4860562"/>
                  </a:lnTo>
                  <a:lnTo>
                    <a:pt x="4401249" y="4826100"/>
                  </a:lnTo>
                  <a:lnTo>
                    <a:pt x="4428076" y="4789951"/>
                  </a:lnTo>
                  <a:lnTo>
                    <a:pt x="4452770" y="4752205"/>
                  </a:lnTo>
                  <a:lnTo>
                    <a:pt x="4475243" y="4712951"/>
                  </a:lnTo>
                  <a:lnTo>
                    <a:pt x="4495407" y="4672279"/>
                  </a:lnTo>
                  <a:lnTo>
                    <a:pt x="4513171" y="4630276"/>
                  </a:lnTo>
                  <a:lnTo>
                    <a:pt x="4528447" y="4587033"/>
                  </a:lnTo>
                  <a:lnTo>
                    <a:pt x="4541145" y="4542638"/>
                  </a:lnTo>
                  <a:lnTo>
                    <a:pt x="4551176" y="4497180"/>
                  </a:lnTo>
                  <a:lnTo>
                    <a:pt x="4558452" y="4450750"/>
                  </a:lnTo>
                  <a:lnTo>
                    <a:pt x="4562883" y="4403435"/>
                  </a:lnTo>
                  <a:lnTo>
                    <a:pt x="4564380" y="4355325"/>
                  </a:lnTo>
                  <a:lnTo>
                    <a:pt x="4564380" y="760729"/>
                  </a:lnTo>
                  <a:lnTo>
                    <a:pt x="4562883" y="712622"/>
                  </a:lnTo>
                  <a:lnTo>
                    <a:pt x="4558452" y="665310"/>
                  </a:lnTo>
                  <a:lnTo>
                    <a:pt x="4551176" y="618881"/>
                  </a:lnTo>
                  <a:lnTo>
                    <a:pt x="4541145" y="573426"/>
                  </a:lnTo>
                  <a:lnTo>
                    <a:pt x="4528447" y="529032"/>
                  </a:lnTo>
                  <a:lnTo>
                    <a:pt x="4513171" y="485790"/>
                  </a:lnTo>
                  <a:lnTo>
                    <a:pt x="4495407" y="443789"/>
                  </a:lnTo>
                  <a:lnTo>
                    <a:pt x="4475243" y="403117"/>
                  </a:lnTo>
                  <a:lnTo>
                    <a:pt x="4452770" y="363864"/>
                  </a:lnTo>
                  <a:lnTo>
                    <a:pt x="4428076" y="326118"/>
                  </a:lnTo>
                  <a:lnTo>
                    <a:pt x="4401249" y="289970"/>
                  </a:lnTo>
                  <a:lnTo>
                    <a:pt x="4372380" y="255508"/>
                  </a:lnTo>
                  <a:lnTo>
                    <a:pt x="4341558" y="222821"/>
                  </a:lnTo>
                  <a:lnTo>
                    <a:pt x="4308871" y="191999"/>
                  </a:lnTo>
                  <a:lnTo>
                    <a:pt x="4274409" y="163130"/>
                  </a:lnTo>
                  <a:lnTo>
                    <a:pt x="4238261" y="136303"/>
                  </a:lnTo>
                  <a:lnTo>
                    <a:pt x="4200515" y="111609"/>
                  </a:lnTo>
                  <a:lnTo>
                    <a:pt x="4161262" y="89136"/>
                  </a:lnTo>
                  <a:lnTo>
                    <a:pt x="4120590" y="68972"/>
                  </a:lnTo>
                  <a:lnTo>
                    <a:pt x="4078589" y="51208"/>
                  </a:lnTo>
                  <a:lnTo>
                    <a:pt x="4035347" y="35932"/>
                  </a:lnTo>
                  <a:lnTo>
                    <a:pt x="3990953" y="23234"/>
                  </a:lnTo>
                  <a:lnTo>
                    <a:pt x="3945498" y="13203"/>
                  </a:lnTo>
                  <a:lnTo>
                    <a:pt x="3899069" y="5927"/>
                  </a:lnTo>
                  <a:lnTo>
                    <a:pt x="3851757" y="1496"/>
                  </a:lnTo>
                  <a:lnTo>
                    <a:pt x="3803650" y="0"/>
                  </a:lnTo>
                  <a:close/>
                </a:path>
              </a:pathLst>
            </a:custGeom>
            <a:solidFill>
              <a:srgbClr val="8FD9C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4" name="object 4"/>
            <p:cNvSpPr/>
            <p:nvPr/>
          </p:nvSpPr>
          <p:spPr>
            <a:xfrm>
              <a:off x="304800" y="1391411"/>
              <a:ext cx="4564380" cy="5116195"/>
            </a:xfrm>
            <a:custGeom>
              <a:avLst/>
              <a:gdLst/>
              <a:ahLst/>
              <a:cxnLst/>
              <a:rect l="l" t="t" r="r" b="b"/>
              <a:pathLst>
                <a:path w="4564380" h="5116195">
                  <a:moveTo>
                    <a:pt x="0" y="760729"/>
                  </a:moveTo>
                  <a:lnTo>
                    <a:pt x="1496" y="712622"/>
                  </a:lnTo>
                  <a:lnTo>
                    <a:pt x="5927" y="665310"/>
                  </a:lnTo>
                  <a:lnTo>
                    <a:pt x="13202" y="618881"/>
                  </a:lnTo>
                  <a:lnTo>
                    <a:pt x="23234" y="573426"/>
                  </a:lnTo>
                  <a:lnTo>
                    <a:pt x="35931" y="529032"/>
                  </a:lnTo>
                  <a:lnTo>
                    <a:pt x="51207" y="485790"/>
                  </a:lnTo>
                  <a:lnTo>
                    <a:pt x="68970" y="443789"/>
                  </a:lnTo>
                  <a:lnTo>
                    <a:pt x="89133" y="403117"/>
                  </a:lnTo>
                  <a:lnTo>
                    <a:pt x="111607" y="363864"/>
                  </a:lnTo>
                  <a:lnTo>
                    <a:pt x="136301" y="326118"/>
                  </a:lnTo>
                  <a:lnTo>
                    <a:pt x="163127" y="289970"/>
                  </a:lnTo>
                  <a:lnTo>
                    <a:pt x="191995" y="255508"/>
                  </a:lnTo>
                  <a:lnTo>
                    <a:pt x="222818" y="222821"/>
                  </a:lnTo>
                  <a:lnTo>
                    <a:pt x="255505" y="191999"/>
                  </a:lnTo>
                  <a:lnTo>
                    <a:pt x="289967" y="163130"/>
                  </a:lnTo>
                  <a:lnTo>
                    <a:pt x="326116" y="136303"/>
                  </a:lnTo>
                  <a:lnTo>
                    <a:pt x="363862" y="111609"/>
                  </a:lnTo>
                  <a:lnTo>
                    <a:pt x="403116" y="89136"/>
                  </a:lnTo>
                  <a:lnTo>
                    <a:pt x="443788" y="68972"/>
                  </a:lnTo>
                  <a:lnTo>
                    <a:pt x="485791" y="51208"/>
                  </a:lnTo>
                  <a:lnTo>
                    <a:pt x="529034" y="35932"/>
                  </a:lnTo>
                  <a:lnTo>
                    <a:pt x="573429" y="23234"/>
                  </a:lnTo>
                  <a:lnTo>
                    <a:pt x="618887" y="13203"/>
                  </a:lnTo>
                  <a:lnTo>
                    <a:pt x="665317" y="5927"/>
                  </a:lnTo>
                  <a:lnTo>
                    <a:pt x="712632" y="1496"/>
                  </a:lnTo>
                  <a:lnTo>
                    <a:pt x="760742" y="0"/>
                  </a:lnTo>
                  <a:lnTo>
                    <a:pt x="3803650" y="0"/>
                  </a:lnTo>
                  <a:lnTo>
                    <a:pt x="3851757" y="1496"/>
                  </a:lnTo>
                  <a:lnTo>
                    <a:pt x="3899069" y="5927"/>
                  </a:lnTo>
                  <a:lnTo>
                    <a:pt x="3945498" y="13203"/>
                  </a:lnTo>
                  <a:lnTo>
                    <a:pt x="3990953" y="23234"/>
                  </a:lnTo>
                  <a:lnTo>
                    <a:pt x="4035347" y="35932"/>
                  </a:lnTo>
                  <a:lnTo>
                    <a:pt x="4078589" y="51208"/>
                  </a:lnTo>
                  <a:lnTo>
                    <a:pt x="4120590" y="68972"/>
                  </a:lnTo>
                  <a:lnTo>
                    <a:pt x="4161262" y="89136"/>
                  </a:lnTo>
                  <a:lnTo>
                    <a:pt x="4200515" y="111609"/>
                  </a:lnTo>
                  <a:lnTo>
                    <a:pt x="4238261" y="136303"/>
                  </a:lnTo>
                  <a:lnTo>
                    <a:pt x="4274409" y="163130"/>
                  </a:lnTo>
                  <a:lnTo>
                    <a:pt x="4308871" y="191999"/>
                  </a:lnTo>
                  <a:lnTo>
                    <a:pt x="4341558" y="222821"/>
                  </a:lnTo>
                  <a:lnTo>
                    <a:pt x="4372380" y="255508"/>
                  </a:lnTo>
                  <a:lnTo>
                    <a:pt x="4401249" y="289970"/>
                  </a:lnTo>
                  <a:lnTo>
                    <a:pt x="4428076" y="326118"/>
                  </a:lnTo>
                  <a:lnTo>
                    <a:pt x="4452770" y="363864"/>
                  </a:lnTo>
                  <a:lnTo>
                    <a:pt x="4475243" y="403117"/>
                  </a:lnTo>
                  <a:lnTo>
                    <a:pt x="4495407" y="443789"/>
                  </a:lnTo>
                  <a:lnTo>
                    <a:pt x="4513171" y="485790"/>
                  </a:lnTo>
                  <a:lnTo>
                    <a:pt x="4528447" y="529032"/>
                  </a:lnTo>
                  <a:lnTo>
                    <a:pt x="4541145" y="573426"/>
                  </a:lnTo>
                  <a:lnTo>
                    <a:pt x="4551176" y="618881"/>
                  </a:lnTo>
                  <a:lnTo>
                    <a:pt x="4558452" y="665310"/>
                  </a:lnTo>
                  <a:lnTo>
                    <a:pt x="4562883" y="712622"/>
                  </a:lnTo>
                  <a:lnTo>
                    <a:pt x="4564380" y="760729"/>
                  </a:lnTo>
                  <a:lnTo>
                    <a:pt x="4564380" y="4355325"/>
                  </a:lnTo>
                  <a:lnTo>
                    <a:pt x="4562883" y="4403435"/>
                  </a:lnTo>
                  <a:lnTo>
                    <a:pt x="4558452" y="4450750"/>
                  </a:lnTo>
                  <a:lnTo>
                    <a:pt x="4551176" y="4497180"/>
                  </a:lnTo>
                  <a:lnTo>
                    <a:pt x="4541145" y="4542638"/>
                  </a:lnTo>
                  <a:lnTo>
                    <a:pt x="4528447" y="4587033"/>
                  </a:lnTo>
                  <a:lnTo>
                    <a:pt x="4513171" y="4630276"/>
                  </a:lnTo>
                  <a:lnTo>
                    <a:pt x="4495407" y="4672279"/>
                  </a:lnTo>
                  <a:lnTo>
                    <a:pt x="4475243" y="4712951"/>
                  </a:lnTo>
                  <a:lnTo>
                    <a:pt x="4452770" y="4752205"/>
                  </a:lnTo>
                  <a:lnTo>
                    <a:pt x="4428076" y="4789951"/>
                  </a:lnTo>
                  <a:lnTo>
                    <a:pt x="4401249" y="4826100"/>
                  </a:lnTo>
                  <a:lnTo>
                    <a:pt x="4372380" y="4860562"/>
                  </a:lnTo>
                  <a:lnTo>
                    <a:pt x="4341558" y="4893249"/>
                  </a:lnTo>
                  <a:lnTo>
                    <a:pt x="4308871" y="4924072"/>
                  </a:lnTo>
                  <a:lnTo>
                    <a:pt x="4274409" y="4952940"/>
                  </a:lnTo>
                  <a:lnTo>
                    <a:pt x="4238261" y="4979766"/>
                  </a:lnTo>
                  <a:lnTo>
                    <a:pt x="4200515" y="5004460"/>
                  </a:lnTo>
                  <a:lnTo>
                    <a:pt x="4161262" y="5026934"/>
                  </a:lnTo>
                  <a:lnTo>
                    <a:pt x="4120590" y="5047097"/>
                  </a:lnTo>
                  <a:lnTo>
                    <a:pt x="4078589" y="5064860"/>
                  </a:lnTo>
                  <a:lnTo>
                    <a:pt x="4035347" y="5080136"/>
                  </a:lnTo>
                  <a:lnTo>
                    <a:pt x="3990953" y="5092833"/>
                  </a:lnTo>
                  <a:lnTo>
                    <a:pt x="3945498" y="5102865"/>
                  </a:lnTo>
                  <a:lnTo>
                    <a:pt x="3899069" y="5110140"/>
                  </a:lnTo>
                  <a:lnTo>
                    <a:pt x="3851757" y="5114571"/>
                  </a:lnTo>
                  <a:lnTo>
                    <a:pt x="3803650" y="5116068"/>
                  </a:lnTo>
                  <a:lnTo>
                    <a:pt x="760742" y="5116068"/>
                  </a:lnTo>
                  <a:lnTo>
                    <a:pt x="712632" y="5114571"/>
                  </a:lnTo>
                  <a:lnTo>
                    <a:pt x="665317" y="5110140"/>
                  </a:lnTo>
                  <a:lnTo>
                    <a:pt x="618887" y="5102865"/>
                  </a:lnTo>
                  <a:lnTo>
                    <a:pt x="573429" y="5092833"/>
                  </a:lnTo>
                  <a:lnTo>
                    <a:pt x="529034" y="5080136"/>
                  </a:lnTo>
                  <a:lnTo>
                    <a:pt x="485791" y="5064860"/>
                  </a:lnTo>
                  <a:lnTo>
                    <a:pt x="443788" y="5047097"/>
                  </a:lnTo>
                  <a:lnTo>
                    <a:pt x="403116" y="5026934"/>
                  </a:lnTo>
                  <a:lnTo>
                    <a:pt x="363862" y="5004460"/>
                  </a:lnTo>
                  <a:lnTo>
                    <a:pt x="326116" y="4979766"/>
                  </a:lnTo>
                  <a:lnTo>
                    <a:pt x="289967" y="4952940"/>
                  </a:lnTo>
                  <a:lnTo>
                    <a:pt x="255505" y="4924072"/>
                  </a:lnTo>
                  <a:lnTo>
                    <a:pt x="222818" y="4893249"/>
                  </a:lnTo>
                  <a:lnTo>
                    <a:pt x="191995" y="4860562"/>
                  </a:lnTo>
                  <a:lnTo>
                    <a:pt x="163127" y="4826100"/>
                  </a:lnTo>
                  <a:lnTo>
                    <a:pt x="136301" y="4789951"/>
                  </a:lnTo>
                  <a:lnTo>
                    <a:pt x="111607" y="4752205"/>
                  </a:lnTo>
                  <a:lnTo>
                    <a:pt x="89133" y="4712951"/>
                  </a:lnTo>
                  <a:lnTo>
                    <a:pt x="68970" y="4672279"/>
                  </a:lnTo>
                  <a:lnTo>
                    <a:pt x="51207" y="4630276"/>
                  </a:lnTo>
                  <a:lnTo>
                    <a:pt x="35931" y="4587033"/>
                  </a:lnTo>
                  <a:lnTo>
                    <a:pt x="23234" y="4542638"/>
                  </a:lnTo>
                  <a:lnTo>
                    <a:pt x="13202" y="4497180"/>
                  </a:lnTo>
                  <a:lnTo>
                    <a:pt x="5927" y="4450750"/>
                  </a:lnTo>
                  <a:lnTo>
                    <a:pt x="1496" y="4403435"/>
                  </a:lnTo>
                  <a:lnTo>
                    <a:pt x="0" y="4355325"/>
                  </a:lnTo>
                  <a:lnTo>
                    <a:pt x="0" y="760729"/>
                  </a:lnTo>
                  <a:close/>
                </a:path>
              </a:pathLst>
            </a:custGeom>
            <a:ln w="12700">
              <a:solidFill>
                <a:srgbClr val="689F9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5" name="object 5"/>
            <p:cNvPicPr/>
            <p:nvPr/>
          </p:nvPicPr>
          <p:blipFill>
            <a:blip r:embed="rId2" cstate="screen">
              <a:extLst>
                <a:ext uri="{28A0092B-C50C-407E-A947-70E740481C1C}">
                  <a14:useLocalDpi xmlns:a14="http://schemas.microsoft.com/office/drawing/2010/main"/>
                </a:ext>
              </a:extLst>
            </a:blip>
            <a:stretch>
              <a:fillRect/>
            </a:stretch>
          </p:blipFill>
          <p:spPr>
            <a:xfrm>
              <a:off x="619048" y="2701797"/>
              <a:ext cx="274319" cy="292608"/>
            </a:xfrm>
            <a:prstGeom prst="rect">
              <a:avLst/>
            </a:prstGeom>
          </p:spPr>
        </p:pic>
        <p:pic>
          <p:nvPicPr>
            <p:cNvPr id="6" name="object 6"/>
            <p:cNvPicPr/>
            <p:nvPr/>
          </p:nvPicPr>
          <p:blipFill>
            <a:blip r:embed="rId3" cstate="screen">
              <a:extLst>
                <a:ext uri="{28A0092B-C50C-407E-A947-70E740481C1C}">
                  <a14:useLocalDpi xmlns:a14="http://schemas.microsoft.com/office/drawing/2010/main"/>
                </a:ext>
              </a:extLst>
            </a:blip>
            <a:stretch>
              <a:fillRect/>
            </a:stretch>
          </p:blipFill>
          <p:spPr>
            <a:xfrm>
              <a:off x="962253" y="2701797"/>
              <a:ext cx="3233166" cy="292608"/>
            </a:xfrm>
            <a:prstGeom prst="rect">
              <a:avLst/>
            </a:prstGeom>
          </p:spPr>
        </p:pic>
        <p:pic>
          <p:nvPicPr>
            <p:cNvPr id="7" name="object 7"/>
            <p:cNvPicPr/>
            <p:nvPr/>
          </p:nvPicPr>
          <p:blipFill>
            <a:blip r:embed="rId4" cstate="screen">
              <a:extLst>
                <a:ext uri="{28A0092B-C50C-407E-A947-70E740481C1C}">
                  <a14:useLocalDpi xmlns:a14="http://schemas.microsoft.com/office/drawing/2010/main"/>
                </a:ext>
              </a:extLst>
            </a:blip>
            <a:stretch>
              <a:fillRect/>
            </a:stretch>
          </p:blipFill>
          <p:spPr>
            <a:xfrm>
              <a:off x="962253" y="2976117"/>
              <a:ext cx="660107" cy="292608"/>
            </a:xfrm>
            <a:prstGeom prst="rect">
              <a:avLst/>
            </a:prstGeom>
          </p:spPr>
        </p:pic>
        <p:pic>
          <p:nvPicPr>
            <p:cNvPr id="8" name="object 8"/>
            <p:cNvPicPr/>
            <p:nvPr/>
          </p:nvPicPr>
          <p:blipFill>
            <a:blip r:embed="rId5" cstate="screen">
              <a:extLst>
                <a:ext uri="{28A0092B-C50C-407E-A947-70E740481C1C}">
                  <a14:useLocalDpi xmlns:a14="http://schemas.microsoft.com/office/drawing/2010/main"/>
                </a:ext>
              </a:extLst>
            </a:blip>
            <a:stretch>
              <a:fillRect/>
            </a:stretch>
          </p:blipFill>
          <p:spPr>
            <a:xfrm>
              <a:off x="1539875" y="2976117"/>
              <a:ext cx="1599564" cy="292608"/>
            </a:xfrm>
            <a:prstGeom prst="rect">
              <a:avLst/>
            </a:prstGeom>
          </p:spPr>
        </p:pic>
        <p:pic>
          <p:nvPicPr>
            <p:cNvPr id="9" name="object 9"/>
            <p:cNvPicPr/>
            <p:nvPr/>
          </p:nvPicPr>
          <p:blipFill>
            <a:blip r:embed="rId6" cstate="screen">
              <a:extLst>
                <a:ext uri="{28A0092B-C50C-407E-A947-70E740481C1C}">
                  <a14:useLocalDpi xmlns:a14="http://schemas.microsoft.com/office/drawing/2010/main"/>
                </a:ext>
              </a:extLst>
            </a:blip>
            <a:stretch>
              <a:fillRect/>
            </a:stretch>
          </p:blipFill>
          <p:spPr>
            <a:xfrm>
              <a:off x="3039491" y="2976117"/>
              <a:ext cx="782675" cy="292608"/>
            </a:xfrm>
            <a:prstGeom prst="rect">
              <a:avLst/>
            </a:prstGeom>
          </p:spPr>
        </p:pic>
        <p:pic>
          <p:nvPicPr>
            <p:cNvPr id="10" name="object 10"/>
            <p:cNvPicPr/>
            <p:nvPr/>
          </p:nvPicPr>
          <p:blipFill>
            <a:blip r:embed="rId7" cstate="screen">
              <a:extLst>
                <a:ext uri="{28A0092B-C50C-407E-A947-70E740481C1C}">
                  <a14:useLocalDpi xmlns:a14="http://schemas.microsoft.com/office/drawing/2010/main"/>
                </a:ext>
              </a:extLst>
            </a:blip>
            <a:stretch>
              <a:fillRect/>
            </a:stretch>
          </p:blipFill>
          <p:spPr>
            <a:xfrm>
              <a:off x="3769740" y="2976117"/>
              <a:ext cx="579627" cy="292608"/>
            </a:xfrm>
            <a:prstGeom prst="rect">
              <a:avLst/>
            </a:prstGeom>
          </p:spPr>
        </p:pic>
        <p:pic>
          <p:nvPicPr>
            <p:cNvPr id="11" name="object 11"/>
            <p:cNvPicPr/>
            <p:nvPr/>
          </p:nvPicPr>
          <p:blipFill>
            <a:blip r:embed="rId8" cstate="screen">
              <a:extLst>
                <a:ext uri="{28A0092B-C50C-407E-A947-70E740481C1C}">
                  <a14:useLocalDpi xmlns:a14="http://schemas.microsoft.com/office/drawing/2010/main"/>
                </a:ext>
              </a:extLst>
            </a:blip>
            <a:stretch>
              <a:fillRect/>
            </a:stretch>
          </p:blipFill>
          <p:spPr>
            <a:xfrm>
              <a:off x="962253" y="3250133"/>
              <a:ext cx="3519170" cy="292912"/>
            </a:xfrm>
            <a:prstGeom prst="rect">
              <a:avLst/>
            </a:prstGeom>
          </p:spPr>
        </p:pic>
        <p:pic>
          <p:nvPicPr>
            <p:cNvPr id="12" name="object 12"/>
            <p:cNvPicPr/>
            <p:nvPr/>
          </p:nvPicPr>
          <p:blipFill>
            <a:blip r:embed="rId9" cstate="screen">
              <a:extLst>
                <a:ext uri="{28A0092B-C50C-407E-A947-70E740481C1C}">
                  <a14:useLocalDpi xmlns:a14="http://schemas.microsoft.com/office/drawing/2010/main"/>
                </a:ext>
              </a:extLst>
            </a:blip>
            <a:stretch>
              <a:fillRect/>
            </a:stretch>
          </p:blipFill>
          <p:spPr>
            <a:xfrm>
              <a:off x="4380865" y="3250133"/>
              <a:ext cx="103632" cy="292912"/>
            </a:xfrm>
            <a:prstGeom prst="rect">
              <a:avLst/>
            </a:prstGeom>
          </p:spPr>
        </p:pic>
        <p:pic>
          <p:nvPicPr>
            <p:cNvPr id="13" name="object 13"/>
            <p:cNvPicPr/>
            <p:nvPr/>
          </p:nvPicPr>
          <p:blipFill>
            <a:blip r:embed="rId10" cstate="screen">
              <a:extLst>
                <a:ext uri="{28A0092B-C50C-407E-A947-70E740481C1C}">
                  <a14:useLocalDpi xmlns:a14="http://schemas.microsoft.com/office/drawing/2010/main"/>
                </a:ext>
              </a:extLst>
            </a:blip>
            <a:stretch>
              <a:fillRect/>
            </a:stretch>
          </p:blipFill>
          <p:spPr>
            <a:xfrm>
              <a:off x="619048" y="3525011"/>
              <a:ext cx="274319" cy="292607"/>
            </a:xfrm>
            <a:prstGeom prst="rect">
              <a:avLst/>
            </a:prstGeom>
          </p:spPr>
        </p:pic>
        <p:pic>
          <p:nvPicPr>
            <p:cNvPr id="14" name="object 14"/>
            <p:cNvPicPr/>
            <p:nvPr/>
          </p:nvPicPr>
          <p:blipFill>
            <a:blip r:embed="rId11" cstate="screen">
              <a:extLst>
                <a:ext uri="{28A0092B-C50C-407E-A947-70E740481C1C}">
                  <a14:useLocalDpi xmlns:a14="http://schemas.microsoft.com/office/drawing/2010/main"/>
                </a:ext>
              </a:extLst>
            </a:blip>
            <a:stretch>
              <a:fillRect/>
            </a:stretch>
          </p:blipFill>
          <p:spPr>
            <a:xfrm>
              <a:off x="962253" y="3525011"/>
              <a:ext cx="1119314" cy="292607"/>
            </a:xfrm>
            <a:prstGeom prst="rect">
              <a:avLst/>
            </a:prstGeom>
          </p:spPr>
        </p:pic>
        <p:pic>
          <p:nvPicPr>
            <p:cNvPr id="15" name="object 15"/>
            <p:cNvPicPr/>
            <p:nvPr/>
          </p:nvPicPr>
          <p:blipFill>
            <a:blip r:embed="rId12" cstate="screen">
              <a:extLst>
                <a:ext uri="{28A0092B-C50C-407E-A947-70E740481C1C}">
                  <a14:useLocalDpi xmlns:a14="http://schemas.microsoft.com/office/drawing/2010/main"/>
                </a:ext>
              </a:extLst>
            </a:blip>
            <a:stretch>
              <a:fillRect/>
            </a:stretch>
          </p:blipFill>
          <p:spPr>
            <a:xfrm>
              <a:off x="2001647" y="3525011"/>
              <a:ext cx="2170049" cy="292607"/>
            </a:xfrm>
            <a:prstGeom prst="rect">
              <a:avLst/>
            </a:prstGeom>
          </p:spPr>
        </p:pic>
        <p:pic>
          <p:nvPicPr>
            <p:cNvPr id="16" name="object 16"/>
            <p:cNvPicPr/>
            <p:nvPr/>
          </p:nvPicPr>
          <p:blipFill>
            <a:blip r:embed="rId13" cstate="screen">
              <a:extLst>
                <a:ext uri="{28A0092B-C50C-407E-A947-70E740481C1C}">
                  <a14:useLocalDpi xmlns:a14="http://schemas.microsoft.com/office/drawing/2010/main"/>
                </a:ext>
              </a:extLst>
            </a:blip>
            <a:stretch>
              <a:fillRect/>
            </a:stretch>
          </p:blipFill>
          <p:spPr>
            <a:xfrm>
              <a:off x="962253" y="3799332"/>
              <a:ext cx="3055493" cy="292607"/>
            </a:xfrm>
            <a:prstGeom prst="rect">
              <a:avLst/>
            </a:prstGeom>
          </p:spPr>
        </p:pic>
        <p:pic>
          <p:nvPicPr>
            <p:cNvPr id="17" name="object 17"/>
            <p:cNvPicPr/>
            <p:nvPr/>
          </p:nvPicPr>
          <p:blipFill>
            <a:blip r:embed="rId14" cstate="screen">
              <a:extLst>
                <a:ext uri="{28A0092B-C50C-407E-A947-70E740481C1C}">
                  <a14:useLocalDpi xmlns:a14="http://schemas.microsoft.com/office/drawing/2010/main"/>
                </a:ext>
              </a:extLst>
            </a:blip>
            <a:stretch>
              <a:fillRect/>
            </a:stretch>
          </p:blipFill>
          <p:spPr>
            <a:xfrm>
              <a:off x="962253" y="4073651"/>
              <a:ext cx="1084630" cy="292607"/>
            </a:xfrm>
            <a:prstGeom prst="rect">
              <a:avLst/>
            </a:prstGeom>
          </p:spPr>
        </p:pic>
        <p:pic>
          <p:nvPicPr>
            <p:cNvPr id="18" name="object 18"/>
            <p:cNvPicPr/>
            <p:nvPr/>
          </p:nvPicPr>
          <p:blipFill>
            <a:blip r:embed="rId15" cstate="screen">
              <a:extLst>
                <a:ext uri="{28A0092B-C50C-407E-A947-70E740481C1C}">
                  <a14:useLocalDpi xmlns:a14="http://schemas.microsoft.com/office/drawing/2010/main"/>
                </a:ext>
              </a:extLst>
            </a:blip>
            <a:stretch>
              <a:fillRect/>
            </a:stretch>
          </p:blipFill>
          <p:spPr>
            <a:xfrm>
              <a:off x="619048" y="4347972"/>
              <a:ext cx="274319" cy="292607"/>
            </a:xfrm>
            <a:prstGeom prst="rect">
              <a:avLst/>
            </a:prstGeom>
          </p:spPr>
        </p:pic>
        <p:pic>
          <p:nvPicPr>
            <p:cNvPr id="19" name="object 19"/>
            <p:cNvPicPr/>
            <p:nvPr/>
          </p:nvPicPr>
          <p:blipFill>
            <a:blip r:embed="rId16" cstate="screen">
              <a:extLst>
                <a:ext uri="{28A0092B-C50C-407E-A947-70E740481C1C}">
                  <a14:useLocalDpi xmlns:a14="http://schemas.microsoft.com/office/drawing/2010/main"/>
                </a:ext>
              </a:extLst>
            </a:blip>
            <a:stretch>
              <a:fillRect/>
            </a:stretch>
          </p:blipFill>
          <p:spPr>
            <a:xfrm>
              <a:off x="962253" y="4347972"/>
              <a:ext cx="1216152" cy="292607"/>
            </a:xfrm>
            <a:prstGeom prst="rect">
              <a:avLst/>
            </a:prstGeom>
          </p:spPr>
        </p:pic>
        <p:pic>
          <p:nvPicPr>
            <p:cNvPr id="20" name="object 20"/>
            <p:cNvPicPr/>
            <p:nvPr/>
          </p:nvPicPr>
          <p:blipFill>
            <a:blip r:embed="rId17" cstate="screen">
              <a:extLst>
                <a:ext uri="{28A0092B-C50C-407E-A947-70E740481C1C}">
                  <a14:useLocalDpi xmlns:a14="http://schemas.microsoft.com/office/drawing/2010/main"/>
                </a:ext>
              </a:extLst>
            </a:blip>
            <a:stretch>
              <a:fillRect/>
            </a:stretch>
          </p:blipFill>
          <p:spPr>
            <a:xfrm>
              <a:off x="2091563" y="4347972"/>
              <a:ext cx="2276348" cy="292607"/>
            </a:xfrm>
            <a:prstGeom prst="rect">
              <a:avLst/>
            </a:prstGeom>
          </p:spPr>
        </p:pic>
        <p:pic>
          <p:nvPicPr>
            <p:cNvPr id="21" name="object 21"/>
            <p:cNvPicPr/>
            <p:nvPr/>
          </p:nvPicPr>
          <p:blipFill>
            <a:blip r:embed="rId18" cstate="screen">
              <a:extLst>
                <a:ext uri="{28A0092B-C50C-407E-A947-70E740481C1C}">
                  <a14:useLocalDpi xmlns:a14="http://schemas.microsoft.com/office/drawing/2010/main"/>
                </a:ext>
              </a:extLst>
            </a:blip>
            <a:stretch>
              <a:fillRect/>
            </a:stretch>
          </p:blipFill>
          <p:spPr>
            <a:xfrm>
              <a:off x="4280280" y="4347972"/>
              <a:ext cx="180594" cy="292607"/>
            </a:xfrm>
            <a:prstGeom prst="rect">
              <a:avLst/>
            </a:prstGeom>
          </p:spPr>
        </p:pic>
        <p:pic>
          <p:nvPicPr>
            <p:cNvPr id="22" name="object 22"/>
            <p:cNvPicPr/>
            <p:nvPr/>
          </p:nvPicPr>
          <p:blipFill>
            <a:blip r:embed="rId19" cstate="screen">
              <a:extLst>
                <a:ext uri="{28A0092B-C50C-407E-A947-70E740481C1C}">
                  <a14:useLocalDpi xmlns:a14="http://schemas.microsoft.com/office/drawing/2010/main"/>
                </a:ext>
              </a:extLst>
            </a:blip>
            <a:stretch>
              <a:fillRect/>
            </a:stretch>
          </p:blipFill>
          <p:spPr>
            <a:xfrm>
              <a:off x="962253" y="4621987"/>
              <a:ext cx="2832100" cy="292912"/>
            </a:xfrm>
            <a:prstGeom prst="rect">
              <a:avLst/>
            </a:prstGeom>
          </p:spPr>
        </p:pic>
        <p:pic>
          <p:nvPicPr>
            <p:cNvPr id="23" name="object 23"/>
            <p:cNvPicPr/>
            <p:nvPr/>
          </p:nvPicPr>
          <p:blipFill>
            <a:blip r:embed="rId20" cstate="screen">
              <a:extLst>
                <a:ext uri="{28A0092B-C50C-407E-A947-70E740481C1C}">
                  <a14:useLocalDpi xmlns:a14="http://schemas.microsoft.com/office/drawing/2010/main"/>
                </a:ext>
              </a:extLst>
            </a:blip>
            <a:stretch>
              <a:fillRect/>
            </a:stretch>
          </p:blipFill>
          <p:spPr>
            <a:xfrm>
              <a:off x="962253" y="4896865"/>
              <a:ext cx="1094689" cy="292607"/>
            </a:xfrm>
            <a:prstGeom prst="rect">
              <a:avLst/>
            </a:prstGeom>
          </p:spPr>
        </p:pic>
        <p:pic>
          <p:nvPicPr>
            <p:cNvPr id="24" name="object 24"/>
            <p:cNvPicPr/>
            <p:nvPr/>
          </p:nvPicPr>
          <p:blipFill>
            <a:blip r:embed="rId21" cstate="screen">
              <a:extLst>
                <a:ext uri="{28A0092B-C50C-407E-A947-70E740481C1C}">
                  <a14:useLocalDpi xmlns:a14="http://schemas.microsoft.com/office/drawing/2010/main"/>
                </a:ext>
              </a:extLst>
            </a:blip>
            <a:stretch>
              <a:fillRect/>
            </a:stretch>
          </p:blipFill>
          <p:spPr>
            <a:xfrm>
              <a:off x="619048" y="5171185"/>
              <a:ext cx="292607" cy="292607"/>
            </a:xfrm>
            <a:prstGeom prst="rect">
              <a:avLst/>
            </a:prstGeom>
          </p:spPr>
        </p:pic>
        <p:pic>
          <p:nvPicPr>
            <p:cNvPr id="25" name="object 25"/>
            <p:cNvPicPr/>
            <p:nvPr/>
          </p:nvPicPr>
          <p:blipFill>
            <a:blip r:embed="rId22" cstate="screen">
              <a:extLst>
                <a:ext uri="{28A0092B-C50C-407E-A947-70E740481C1C}">
                  <a14:useLocalDpi xmlns:a14="http://schemas.microsoft.com/office/drawing/2010/main"/>
                </a:ext>
              </a:extLst>
            </a:blip>
            <a:stretch>
              <a:fillRect/>
            </a:stretch>
          </p:blipFill>
          <p:spPr>
            <a:xfrm>
              <a:off x="962253" y="5171185"/>
              <a:ext cx="1317497" cy="292607"/>
            </a:xfrm>
            <a:prstGeom prst="rect">
              <a:avLst/>
            </a:prstGeom>
          </p:spPr>
        </p:pic>
        <p:pic>
          <p:nvPicPr>
            <p:cNvPr id="26" name="object 26"/>
            <p:cNvPicPr/>
            <p:nvPr/>
          </p:nvPicPr>
          <p:blipFill>
            <a:blip r:embed="rId23" cstate="screen">
              <a:extLst>
                <a:ext uri="{28A0092B-C50C-407E-A947-70E740481C1C}">
                  <a14:useLocalDpi xmlns:a14="http://schemas.microsoft.com/office/drawing/2010/main"/>
                </a:ext>
              </a:extLst>
            </a:blip>
            <a:stretch>
              <a:fillRect/>
            </a:stretch>
          </p:blipFill>
          <p:spPr>
            <a:xfrm>
              <a:off x="2178430" y="5171185"/>
              <a:ext cx="2348992" cy="292607"/>
            </a:xfrm>
            <a:prstGeom prst="rect">
              <a:avLst/>
            </a:prstGeom>
          </p:spPr>
        </p:pic>
        <p:pic>
          <p:nvPicPr>
            <p:cNvPr id="27" name="object 27"/>
            <p:cNvPicPr/>
            <p:nvPr/>
          </p:nvPicPr>
          <p:blipFill>
            <a:blip r:embed="rId24" cstate="screen">
              <a:extLst>
                <a:ext uri="{28A0092B-C50C-407E-A947-70E740481C1C}">
                  <a14:useLocalDpi xmlns:a14="http://schemas.microsoft.com/office/drawing/2010/main"/>
                </a:ext>
              </a:extLst>
            </a:blip>
            <a:stretch>
              <a:fillRect/>
            </a:stretch>
          </p:blipFill>
          <p:spPr>
            <a:xfrm>
              <a:off x="962253" y="5445556"/>
              <a:ext cx="948842" cy="292608"/>
            </a:xfrm>
            <a:prstGeom prst="rect">
              <a:avLst/>
            </a:prstGeom>
          </p:spPr>
        </p:pic>
        <p:pic>
          <p:nvPicPr>
            <p:cNvPr id="28" name="object 28"/>
            <p:cNvPicPr/>
            <p:nvPr/>
          </p:nvPicPr>
          <p:blipFill>
            <a:blip r:embed="rId25" cstate="screen">
              <a:extLst>
                <a:ext uri="{28A0092B-C50C-407E-A947-70E740481C1C}">
                  <a14:useLocalDpi xmlns:a14="http://schemas.microsoft.com/office/drawing/2010/main"/>
                </a:ext>
              </a:extLst>
            </a:blip>
            <a:stretch>
              <a:fillRect/>
            </a:stretch>
          </p:blipFill>
          <p:spPr>
            <a:xfrm>
              <a:off x="570890" y="1982088"/>
              <a:ext cx="2848229" cy="326136"/>
            </a:xfrm>
            <a:prstGeom prst="rect">
              <a:avLst/>
            </a:prstGeom>
          </p:spPr>
        </p:pic>
      </p:grpSp>
      <p:grpSp>
        <p:nvGrpSpPr>
          <p:cNvPr id="29" name="object 29"/>
          <p:cNvGrpSpPr/>
          <p:nvPr/>
        </p:nvGrpSpPr>
        <p:grpSpPr>
          <a:xfrm>
            <a:off x="1" y="0"/>
            <a:ext cx="12192000" cy="1213485"/>
            <a:chOff x="1" y="0"/>
            <a:chExt cx="12192000" cy="1213485"/>
          </a:xfrm>
        </p:grpSpPr>
        <p:sp>
          <p:nvSpPr>
            <p:cNvPr id="30" name="object 30"/>
            <p:cNvSpPr/>
            <p:nvPr/>
          </p:nvSpPr>
          <p:spPr>
            <a:xfrm>
              <a:off x="1" y="0"/>
              <a:ext cx="12192000" cy="1213485"/>
            </a:xfrm>
            <a:custGeom>
              <a:avLst/>
              <a:gdLst/>
              <a:ahLst/>
              <a:cxnLst/>
              <a:rect l="l" t="t" r="r" b="b"/>
              <a:pathLst>
                <a:path w="12192000" h="1213485">
                  <a:moveTo>
                    <a:pt x="12191998" y="0"/>
                  </a:moveTo>
                  <a:lnTo>
                    <a:pt x="0" y="0"/>
                  </a:lnTo>
                  <a:lnTo>
                    <a:pt x="0" y="978535"/>
                  </a:lnTo>
                  <a:lnTo>
                    <a:pt x="6095998" y="1213103"/>
                  </a:lnTo>
                  <a:lnTo>
                    <a:pt x="12191996" y="978535"/>
                  </a:lnTo>
                  <a:lnTo>
                    <a:pt x="12191998"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31" name="object 31"/>
            <p:cNvPicPr/>
            <p:nvPr/>
          </p:nvPicPr>
          <p:blipFill>
            <a:blip r:embed="rId26" cstate="screen">
              <a:extLst>
                <a:ext uri="{28A0092B-C50C-407E-A947-70E740481C1C}">
                  <a14:useLocalDpi xmlns:a14="http://schemas.microsoft.com/office/drawing/2010/main"/>
                </a:ext>
              </a:extLst>
            </a:blip>
            <a:stretch>
              <a:fillRect/>
            </a:stretch>
          </p:blipFill>
          <p:spPr>
            <a:xfrm>
              <a:off x="4450969" y="200913"/>
              <a:ext cx="3277870" cy="650747"/>
            </a:xfrm>
            <a:prstGeom prst="rect">
              <a:avLst/>
            </a:prstGeom>
          </p:spPr>
        </p:pic>
      </p:grpSp>
      <p:sp>
        <p:nvSpPr>
          <p:cNvPr id="32" name="object 32"/>
          <p:cNvSpPr txBox="1"/>
          <p:nvPr/>
        </p:nvSpPr>
        <p:spPr>
          <a:xfrm>
            <a:off x="7482078" y="279653"/>
            <a:ext cx="274320" cy="51371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3200" b="1" i="0" u="none" strike="noStrike" kern="0" cap="none" spc="-50" normalizeH="0" baseline="0" noProof="0" dirty="0">
                <a:ln>
                  <a:noFill/>
                </a:ln>
                <a:solidFill>
                  <a:srgbClr val="012B1F"/>
                </a:solidFill>
                <a:effectLst/>
                <a:uLnTx/>
                <a:uFillTx/>
                <a:latin typeface="Arial"/>
                <a:ea typeface="+mn-ea"/>
                <a:cs typeface="Arial"/>
              </a:rPr>
              <a:t>?</a:t>
            </a:r>
            <a:endParaRPr kumimoji="0" sz="32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33" name="object 33"/>
          <p:cNvGrpSpPr/>
          <p:nvPr/>
        </p:nvGrpSpPr>
        <p:grpSpPr>
          <a:xfrm>
            <a:off x="9948386" y="196037"/>
            <a:ext cx="2022475" cy="344170"/>
            <a:chOff x="9948386" y="196037"/>
            <a:chExt cx="2022475" cy="344170"/>
          </a:xfrm>
        </p:grpSpPr>
        <p:sp>
          <p:nvSpPr>
            <p:cNvPr id="34" name="object 34"/>
            <p:cNvSpPr/>
            <p:nvPr/>
          </p:nvSpPr>
          <p:spPr>
            <a:xfrm>
              <a:off x="10287369" y="199417"/>
              <a:ext cx="33020" cy="141605"/>
            </a:xfrm>
            <a:custGeom>
              <a:avLst/>
              <a:gdLst/>
              <a:ahLst/>
              <a:cxnLst/>
              <a:rect l="l" t="t" r="r" b="b"/>
              <a:pathLst>
                <a:path w="33020" h="141604">
                  <a:moveTo>
                    <a:pt x="32690" y="0"/>
                  </a:moveTo>
                  <a:lnTo>
                    <a:pt x="0" y="0"/>
                  </a:lnTo>
                  <a:lnTo>
                    <a:pt x="0" y="141543"/>
                  </a:lnTo>
                  <a:lnTo>
                    <a:pt x="32690" y="141543"/>
                  </a:lnTo>
                  <a:lnTo>
                    <a:pt x="32690"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35" name="object 35"/>
            <p:cNvPicPr/>
            <p:nvPr/>
          </p:nvPicPr>
          <p:blipFill>
            <a:blip r:embed="rId27" cstate="screen">
              <a:extLst>
                <a:ext uri="{28A0092B-C50C-407E-A947-70E740481C1C}">
                  <a14:useLocalDpi xmlns:a14="http://schemas.microsoft.com/office/drawing/2010/main"/>
                </a:ext>
              </a:extLst>
            </a:blip>
            <a:stretch>
              <a:fillRect/>
            </a:stretch>
          </p:blipFill>
          <p:spPr>
            <a:xfrm>
              <a:off x="10351315" y="199417"/>
              <a:ext cx="137493" cy="141543"/>
            </a:xfrm>
            <a:prstGeom prst="rect">
              <a:avLst/>
            </a:prstGeom>
          </p:spPr>
        </p:pic>
        <p:sp>
          <p:nvSpPr>
            <p:cNvPr id="36" name="object 36"/>
            <p:cNvSpPr/>
            <p:nvPr/>
          </p:nvSpPr>
          <p:spPr>
            <a:xfrm>
              <a:off x="10519575" y="196036"/>
              <a:ext cx="837565" cy="148590"/>
            </a:xfrm>
            <a:custGeom>
              <a:avLst/>
              <a:gdLst/>
              <a:ahLst/>
              <a:cxnLst/>
              <a:rect l="l" t="t" r="r" b="b"/>
              <a:pathLst>
                <a:path w="837565" h="148590">
                  <a:moveTo>
                    <a:pt x="78384" y="3340"/>
                  </a:moveTo>
                  <a:lnTo>
                    <a:pt x="0" y="3340"/>
                  </a:lnTo>
                  <a:lnTo>
                    <a:pt x="0" y="31343"/>
                  </a:lnTo>
                  <a:lnTo>
                    <a:pt x="0" y="58077"/>
                  </a:lnTo>
                  <a:lnTo>
                    <a:pt x="0" y="86080"/>
                  </a:lnTo>
                  <a:lnTo>
                    <a:pt x="0" y="144640"/>
                  </a:lnTo>
                  <a:lnTo>
                    <a:pt x="32753" y="144640"/>
                  </a:lnTo>
                  <a:lnTo>
                    <a:pt x="32753" y="86080"/>
                  </a:lnTo>
                  <a:lnTo>
                    <a:pt x="75057" y="86080"/>
                  </a:lnTo>
                  <a:lnTo>
                    <a:pt x="75057" y="58077"/>
                  </a:lnTo>
                  <a:lnTo>
                    <a:pt x="32753" y="58077"/>
                  </a:lnTo>
                  <a:lnTo>
                    <a:pt x="32753" y="31343"/>
                  </a:lnTo>
                  <a:lnTo>
                    <a:pt x="78384" y="31343"/>
                  </a:lnTo>
                  <a:lnTo>
                    <a:pt x="78384" y="3340"/>
                  </a:lnTo>
                  <a:close/>
                </a:path>
                <a:path w="837565" h="148590">
                  <a:moveTo>
                    <a:pt x="212547" y="144932"/>
                  </a:moveTo>
                  <a:lnTo>
                    <a:pt x="170726" y="88900"/>
                  </a:lnTo>
                  <a:lnTo>
                    <a:pt x="169278" y="86969"/>
                  </a:lnTo>
                  <a:lnTo>
                    <a:pt x="176974" y="85026"/>
                  </a:lnTo>
                  <a:lnTo>
                    <a:pt x="184150" y="80683"/>
                  </a:lnTo>
                  <a:lnTo>
                    <a:pt x="188963" y="75844"/>
                  </a:lnTo>
                  <a:lnTo>
                    <a:pt x="194564" y="68948"/>
                  </a:lnTo>
                  <a:lnTo>
                    <a:pt x="195160" y="67640"/>
                  </a:lnTo>
                  <a:lnTo>
                    <a:pt x="197942" y="61595"/>
                  </a:lnTo>
                  <a:lnTo>
                    <a:pt x="199605" y="54241"/>
                  </a:lnTo>
                  <a:lnTo>
                    <a:pt x="200050" y="47345"/>
                  </a:lnTo>
                  <a:lnTo>
                    <a:pt x="198907" y="36461"/>
                  </a:lnTo>
                  <a:lnTo>
                    <a:pt x="173837" y="7073"/>
                  </a:lnTo>
                  <a:lnTo>
                    <a:pt x="166839" y="5207"/>
                  </a:lnTo>
                  <a:lnTo>
                    <a:pt x="166839" y="39624"/>
                  </a:lnTo>
                  <a:lnTo>
                    <a:pt x="166839" y="54597"/>
                  </a:lnTo>
                  <a:lnTo>
                    <a:pt x="163957" y="58940"/>
                  </a:lnTo>
                  <a:lnTo>
                    <a:pt x="161594" y="61366"/>
                  </a:lnTo>
                  <a:lnTo>
                    <a:pt x="156273" y="67157"/>
                  </a:lnTo>
                  <a:lnTo>
                    <a:pt x="148132" y="67640"/>
                  </a:lnTo>
                  <a:lnTo>
                    <a:pt x="134670" y="67640"/>
                  </a:lnTo>
                  <a:lnTo>
                    <a:pt x="134670" y="28511"/>
                  </a:lnTo>
                  <a:lnTo>
                    <a:pt x="146659" y="28511"/>
                  </a:lnTo>
                  <a:lnTo>
                    <a:pt x="154863" y="28994"/>
                  </a:lnTo>
                  <a:lnTo>
                    <a:pt x="160108" y="33337"/>
                  </a:lnTo>
                  <a:lnTo>
                    <a:pt x="163004" y="35280"/>
                  </a:lnTo>
                  <a:lnTo>
                    <a:pt x="166839" y="39624"/>
                  </a:lnTo>
                  <a:lnTo>
                    <a:pt x="166839" y="5207"/>
                  </a:lnTo>
                  <a:lnTo>
                    <a:pt x="163855" y="4394"/>
                  </a:lnTo>
                  <a:lnTo>
                    <a:pt x="151460" y="3390"/>
                  </a:lnTo>
                  <a:lnTo>
                    <a:pt x="102425" y="3390"/>
                  </a:lnTo>
                  <a:lnTo>
                    <a:pt x="102425" y="144932"/>
                  </a:lnTo>
                  <a:lnTo>
                    <a:pt x="134670" y="144932"/>
                  </a:lnTo>
                  <a:lnTo>
                    <a:pt x="134670" y="88900"/>
                  </a:lnTo>
                  <a:lnTo>
                    <a:pt x="172618" y="144932"/>
                  </a:lnTo>
                  <a:lnTo>
                    <a:pt x="212547" y="144932"/>
                  </a:lnTo>
                  <a:close/>
                </a:path>
                <a:path w="837565" h="148590">
                  <a:moveTo>
                    <a:pt x="360172" y="144932"/>
                  </a:moveTo>
                  <a:lnTo>
                    <a:pt x="349707" y="118364"/>
                  </a:lnTo>
                  <a:lnTo>
                    <a:pt x="339801" y="93243"/>
                  </a:lnTo>
                  <a:lnTo>
                    <a:pt x="320967" y="45415"/>
                  </a:lnTo>
                  <a:lnTo>
                    <a:pt x="306768" y="9385"/>
                  </a:lnTo>
                  <a:lnTo>
                    <a:pt x="306768" y="93243"/>
                  </a:lnTo>
                  <a:lnTo>
                    <a:pt x="272161" y="93243"/>
                  </a:lnTo>
                  <a:lnTo>
                    <a:pt x="289471" y="45415"/>
                  </a:lnTo>
                  <a:lnTo>
                    <a:pt x="306768" y="93243"/>
                  </a:lnTo>
                  <a:lnTo>
                    <a:pt x="306768" y="9385"/>
                  </a:lnTo>
                  <a:lnTo>
                    <a:pt x="304406" y="3390"/>
                  </a:lnTo>
                  <a:lnTo>
                    <a:pt x="274599" y="3390"/>
                  </a:lnTo>
                  <a:lnTo>
                    <a:pt x="217805" y="144932"/>
                  </a:lnTo>
                  <a:lnTo>
                    <a:pt x="251523" y="144932"/>
                  </a:lnTo>
                  <a:lnTo>
                    <a:pt x="262547" y="118364"/>
                  </a:lnTo>
                  <a:lnTo>
                    <a:pt x="315937" y="118364"/>
                  </a:lnTo>
                  <a:lnTo>
                    <a:pt x="326517" y="144932"/>
                  </a:lnTo>
                  <a:lnTo>
                    <a:pt x="360172" y="144932"/>
                  </a:lnTo>
                  <a:close/>
                </a:path>
                <a:path w="837565" h="148590">
                  <a:moveTo>
                    <a:pt x="468820" y="98552"/>
                  </a:moveTo>
                  <a:lnTo>
                    <a:pt x="445287" y="63779"/>
                  </a:lnTo>
                  <a:lnTo>
                    <a:pt x="428434" y="57492"/>
                  </a:lnTo>
                  <a:lnTo>
                    <a:pt x="419265" y="53632"/>
                  </a:lnTo>
                  <a:lnTo>
                    <a:pt x="414007" y="52666"/>
                  </a:lnTo>
                  <a:lnTo>
                    <a:pt x="408686" y="47345"/>
                  </a:lnTo>
                  <a:lnTo>
                    <a:pt x="407733" y="44932"/>
                  </a:lnTo>
                  <a:lnTo>
                    <a:pt x="407733" y="37693"/>
                  </a:lnTo>
                  <a:lnTo>
                    <a:pt x="409206" y="34798"/>
                  </a:lnTo>
                  <a:lnTo>
                    <a:pt x="411124" y="32372"/>
                  </a:lnTo>
                  <a:lnTo>
                    <a:pt x="414972" y="28511"/>
                  </a:lnTo>
                  <a:lnTo>
                    <a:pt x="420738" y="27546"/>
                  </a:lnTo>
                  <a:lnTo>
                    <a:pt x="425043" y="27546"/>
                  </a:lnTo>
                  <a:lnTo>
                    <a:pt x="428853" y="27838"/>
                  </a:lnTo>
                  <a:lnTo>
                    <a:pt x="434301" y="29171"/>
                  </a:lnTo>
                  <a:lnTo>
                    <a:pt x="441020" y="32232"/>
                  </a:lnTo>
                  <a:lnTo>
                    <a:pt x="448627" y="37693"/>
                  </a:lnTo>
                  <a:lnTo>
                    <a:pt x="463054" y="14020"/>
                  </a:lnTo>
                  <a:lnTo>
                    <a:pt x="451040" y="6731"/>
                  </a:lnTo>
                  <a:lnTo>
                    <a:pt x="439788" y="2476"/>
                  </a:lnTo>
                  <a:lnTo>
                    <a:pt x="429704" y="495"/>
                  </a:lnTo>
                  <a:lnTo>
                    <a:pt x="421195" y="0"/>
                  </a:lnTo>
                  <a:lnTo>
                    <a:pt x="411746" y="622"/>
                  </a:lnTo>
                  <a:lnTo>
                    <a:pt x="377088" y="27546"/>
                  </a:lnTo>
                  <a:lnTo>
                    <a:pt x="374078" y="44932"/>
                  </a:lnTo>
                  <a:lnTo>
                    <a:pt x="374421" y="50546"/>
                  </a:lnTo>
                  <a:lnTo>
                    <a:pt x="402475" y="80683"/>
                  </a:lnTo>
                  <a:lnTo>
                    <a:pt x="417855" y="86474"/>
                  </a:lnTo>
                  <a:lnTo>
                    <a:pt x="426516" y="89382"/>
                  </a:lnTo>
                  <a:lnTo>
                    <a:pt x="433247" y="95173"/>
                  </a:lnTo>
                  <a:lnTo>
                    <a:pt x="435165" y="98069"/>
                  </a:lnTo>
                  <a:lnTo>
                    <a:pt x="435165" y="108216"/>
                  </a:lnTo>
                  <a:lnTo>
                    <a:pt x="433247" y="112077"/>
                  </a:lnTo>
                  <a:lnTo>
                    <a:pt x="425551" y="118364"/>
                  </a:lnTo>
                  <a:lnTo>
                    <a:pt x="419785" y="119329"/>
                  </a:lnTo>
                  <a:lnTo>
                    <a:pt x="409206" y="119329"/>
                  </a:lnTo>
                  <a:lnTo>
                    <a:pt x="384657" y="103378"/>
                  </a:lnTo>
                  <a:lnTo>
                    <a:pt x="367855" y="126568"/>
                  </a:lnTo>
                  <a:lnTo>
                    <a:pt x="401916" y="146799"/>
                  </a:lnTo>
                  <a:lnTo>
                    <a:pt x="416382" y="148310"/>
                  </a:lnTo>
                  <a:lnTo>
                    <a:pt x="424738" y="147878"/>
                  </a:lnTo>
                  <a:lnTo>
                    <a:pt x="461327" y="127088"/>
                  </a:lnTo>
                  <a:lnTo>
                    <a:pt x="467880" y="109093"/>
                  </a:lnTo>
                  <a:lnTo>
                    <a:pt x="468820" y="98552"/>
                  </a:lnTo>
                  <a:close/>
                </a:path>
                <a:path w="837565" h="148590">
                  <a:moveTo>
                    <a:pt x="572211" y="3340"/>
                  </a:moveTo>
                  <a:lnTo>
                    <a:pt x="478434" y="3340"/>
                  </a:lnTo>
                  <a:lnTo>
                    <a:pt x="478434" y="31343"/>
                  </a:lnTo>
                  <a:lnTo>
                    <a:pt x="509193" y="31343"/>
                  </a:lnTo>
                  <a:lnTo>
                    <a:pt x="509193" y="144640"/>
                  </a:lnTo>
                  <a:lnTo>
                    <a:pt x="541896" y="144640"/>
                  </a:lnTo>
                  <a:lnTo>
                    <a:pt x="541896" y="31343"/>
                  </a:lnTo>
                  <a:lnTo>
                    <a:pt x="572211" y="31343"/>
                  </a:lnTo>
                  <a:lnTo>
                    <a:pt x="572211" y="3340"/>
                  </a:lnTo>
                  <a:close/>
                </a:path>
                <a:path w="837565" h="148590">
                  <a:moveTo>
                    <a:pt x="699643" y="144932"/>
                  </a:moveTo>
                  <a:lnTo>
                    <a:pt x="657809" y="88900"/>
                  </a:lnTo>
                  <a:lnTo>
                    <a:pt x="656374" y="86969"/>
                  </a:lnTo>
                  <a:lnTo>
                    <a:pt x="664514" y="85026"/>
                  </a:lnTo>
                  <a:lnTo>
                    <a:pt x="671245" y="80683"/>
                  </a:lnTo>
                  <a:lnTo>
                    <a:pt x="687146" y="47345"/>
                  </a:lnTo>
                  <a:lnTo>
                    <a:pt x="686066" y="36461"/>
                  </a:lnTo>
                  <a:lnTo>
                    <a:pt x="661200" y="7073"/>
                  </a:lnTo>
                  <a:lnTo>
                    <a:pt x="654443" y="5270"/>
                  </a:lnTo>
                  <a:lnTo>
                    <a:pt x="654443" y="39624"/>
                  </a:lnTo>
                  <a:lnTo>
                    <a:pt x="654443" y="54597"/>
                  </a:lnTo>
                  <a:lnTo>
                    <a:pt x="651052" y="58940"/>
                  </a:lnTo>
                  <a:lnTo>
                    <a:pt x="649135" y="61366"/>
                  </a:lnTo>
                  <a:lnTo>
                    <a:pt x="643356" y="67157"/>
                  </a:lnTo>
                  <a:lnTo>
                    <a:pt x="635152" y="67640"/>
                  </a:lnTo>
                  <a:lnTo>
                    <a:pt x="622211" y="67640"/>
                  </a:lnTo>
                  <a:lnTo>
                    <a:pt x="622211" y="28511"/>
                  </a:lnTo>
                  <a:lnTo>
                    <a:pt x="633742" y="28511"/>
                  </a:lnTo>
                  <a:lnTo>
                    <a:pt x="642404" y="28994"/>
                  </a:lnTo>
                  <a:lnTo>
                    <a:pt x="647712" y="33337"/>
                  </a:lnTo>
                  <a:lnTo>
                    <a:pt x="650608" y="35280"/>
                  </a:lnTo>
                  <a:lnTo>
                    <a:pt x="654443" y="39624"/>
                  </a:lnTo>
                  <a:lnTo>
                    <a:pt x="654443" y="5270"/>
                  </a:lnTo>
                  <a:lnTo>
                    <a:pt x="651205" y="4394"/>
                  </a:lnTo>
                  <a:lnTo>
                    <a:pt x="639000" y="3390"/>
                  </a:lnTo>
                  <a:lnTo>
                    <a:pt x="589521" y="3390"/>
                  </a:lnTo>
                  <a:lnTo>
                    <a:pt x="589521" y="144932"/>
                  </a:lnTo>
                  <a:lnTo>
                    <a:pt x="622211" y="144932"/>
                  </a:lnTo>
                  <a:lnTo>
                    <a:pt x="622211" y="88900"/>
                  </a:lnTo>
                  <a:lnTo>
                    <a:pt x="660222" y="144932"/>
                  </a:lnTo>
                  <a:lnTo>
                    <a:pt x="699643" y="144932"/>
                  </a:lnTo>
                  <a:close/>
                </a:path>
                <a:path w="837565" h="148590">
                  <a:moveTo>
                    <a:pt x="837133" y="3390"/>
                  </a:moveTo>
                  <a:lnTo>
                    <a:pt x="804443" y="3390"/>
                  </a:lnTo>
                  <a:lnTo>
                    <a:pt x="804443" y="92278"/>
                  </a:lnTo>
                  <a:lnTo>
                    <a:pt x="803922" y="102895"/>
                  </a:lnTo>
                  <a:lnTo>
                    <a:pt x="791425" y="116433"/>
                  </a:lnTo>
                  <a:lnTo>
                    <a:pt x="783742" y="117398"/>
                  </a:lnTo>
                  <a:lnTo>
                    <a:pt x="771232" y="117398"/>
                  </a:lnTo>
                  <a:lnTo>
                    <a:pt x="763549" y="116433"/>
                  </a:lnTo>
                  <a:lnTo>
                    <a:pt x="757783" y="110147"/>
                  </a:lnTo>
                  <a:lnTo>
                    <a:pt x="750595" y="102895"/>
                  </a:lnTo>
                  <a:lnTo>
                    <a:pt x="750595" y="3390"/>
                  </a:lnTo>
                  <a:lnTo>
                    <a:pt x="717905" y="3390"/>
                  </a:lnTo>
                  <a:lnTo>
                    <a:pt x="717905" y="86969"/>
                  </a:lnTo>
                  <a:lnTo>
                    <a:pt x="718350" y="97650"/>
                  </a:lnTo>
                  <a:lnTo>
                    <a:pt x="743966" y="140360"/>
                  </a:lnTo>
                  <a:lnTo>
                    <a:pt x="777519" y="148310"/>
                  </a:lnTo>
                  <a:lnTo>
                    <a:pt x="788733" y="147713"/>
                  </a:lnTo>
                  <a:lnTo>
                    <a:pt x="829614" y="120650"/>
                  </a:lnTo>
                  <a:lnTo>
                    <a:pt x="837133" y="86969"/>
                  </a:lnTo>
                  <a:lnTo>
                    <a:pt x="837133" y="339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37" name="object 37"/>
            <p:cNvPicPr/>
            <p:nvPr/>
          </p:nvPicPr>
          <p:blipFill>
            <a:blip r:embed="rId28" cstate="screen">
              <a:extLst>
                <a:ext uri="{28A0092B-C50C-407E-A947-70E740481C1C}">
                  <a14:useLocalDpi xmlns:a14="http://schemas.microsoft.com/office/drawing/2010/main"/>
                </a:ext>
              </a:extLst>
            </a:blip>
            <a:stretch>
              <a:fillRect/>
            </a:stretch>
          </p:blipFill>
          <p:spPr>
            <a:xfrm>
              <a:off x="11380751" y="196037"/>
              <a:ext cx="351008" cy="148305"/>
            </a:xfrm>
            <a:prstGeom prst="rect">
              <a:avLst/>
            </a:prstGeom>
          </p:spPr>
        </p:pic>
        <p:pic>
          <p:nvPicPr>
            <p:cNvPr id="38" name="object 38"/>
            <p:cNvPicPr/>
            <p:nvPr/>
          </p:nvPicPr>
          <p:blipFill>
            <a:blip r:embed="rId29" cstate="screen">
              <a:extLst>
                <a:ext uri="{28A0092B-C50C-407E-A947-70E740481C1C}">
                  <a14:useLocalDpi xmlns:a14="http://schemas.microsoft.com/office/drawing/2010/main"/>
                </a:ext>
              </a:extLst>
            </a:blip>
            <a:stretch>
              <a:fillRect/>
            </a:stretch>
          </p:blipFill>
          <p:spPr>
            <a:xfrm>
              <a:off x="11762527" y="199374"/>
              <a:ext cx="208194" cy="141587"/>
            </a:xfrm>
            <a:prstGeom prst="rect">
              <a:avLst/>
            </a:prstGeom>
          </p:spPr>
        </p:pic>
        <p:pic>
          <p:nvPicPr>
            <p:cNvPr id="39" name="object 39"/>
            <p:cNvPicPr/>
            <p:nvPr/>
          </p:nvPicPr>
          <p:blipFill>
            <a:blip r:embed="rId30" cstate="screen">
              <a:extLst>
                <a:ext uri="{28A0092B-C50C-407E-A947-70E740481C1C}">
                  <a14:useLocalDpi xmlns:a14="http://schemas.microsoft.com/office/drawing/2010/main"/>
                </a:ext>
              </a:extLst>
            </a:blip>
            <a:stretch>
              <a:fillRect/>
            </a:stretch>
          </p:blipFill>
          <p:spPr>
            <a:xfrm>
              <a:off x="10286889" y="398445"/>
              <a:ext cx="405819" cy="141537"/>
            </a:xfrm>
            <a:prstGeom prst="rect">
              <a:avLst/>
            </a:prstGeom>
          </p:spPr>
        </p:pic>
        <p:pic>
          <p:nvPicPr>
            <p:cNvPr id="40" name="object 40"/>
            <p:cNvPicPr/>
            <p:nvPr/>
          </p:nvPicPr>
          <p:blipFill>
            <a:blip r:embed="rId31" cstate="screen">
              <a:extLst>
                <a:ext uri="{28A0092B-C50C-407E-A947-70E740481C1C}">
                  <a14:useLocalDpi xmlns:a14="http://schemas.microsoft.com/office/drawing/2010/main"/>
                </a:ext>
              </a:extLst>
            </a:blip>
            <a:stretch>
              <a:fillRect/>
            </a:stretch>
          </p:blipFill>
          <p:spPr>
            <a:xfrm>
              <a:off x="10723476" y="398445"/>
              <a:ext cx="124993" cy="141537"/>
            </a:xfrm>
            <a:prstGeom prst="rect">
              <a:avLst/>
            </a:prstGeom>
          </p:spPr>
        </p:pic>
        <p:sp>
          <p:nvSpPr>
            <p:cNvPr id="41" name="object 41"/>
            <p:cNvSpPr/>
            <p:nvPr/>
          </p:nvSpPr>
          <p:spPr>
            <a:xfrm>
              <a:off x="10089751" y="199417"/>
              <a:ext cx="141605" cy="340995"/>
            </a:xfrm>
            <a:custGeom>
              <a:avLst/>
              <a:gdLst/>
              <a:ahLst/>
              <a:cxnLst/>
              <a:rect l="l" t="t" r="r" b="b"/>
              <a:pathLst>
                <a:path w="141604" h="340995">
                  <a:moveTo>
                    <a:pt x="141358" y="0"/>
                  </a:moveTo>
                  <a:lnTo>
                    <a:pt x="0" y="0"/>
                  </a:lnTo>
                  <a:lnTo>
                    <a:pt x="10922" y="2204"/>
                  </a:lnTo>
                  <a:lnTo>
                    <a:pt x="19954" y="8213"/>
                  </a:lnTo>
                  <a:lnTo>
                    <a:pt x="26100" y="17120"/>
                  </a:lnTo>
                  <a:lnTo>
                    <a:pt x="28370" y="28017"/>
                  </a:lnTo>
                  <a:lnTo>
                    <a:pt x="28370" y="340565"/>
                  </a:lnTo>
                  <a:lnTo>
                    <a:pt x="141358" y="340565"/>
                  </a:lnTo>
                  <a:lnTo>
                    <a:pt x="141358" y="284047"/>
                  </a:lnTo>
                  <a:lnTo>
                    <a:pt x="56253" y="170044"/>
                  </a:lnTo>
                  <a:lnTo>
                    <a:pt x="141358" y="56518"/>
                  </a:lnTo>
                  <a:lnTo>
                    <a:pt x="141358"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42" name="object 42"/>
            <p:cNvSpPr/>
            <p:nvPr/>
          </p:nvSpPr>
          <p:spPr>
            <a:xfrm>
              <a:off x="9948386" y="199417"/>
              <a:ext cx="141605" cy="340995"/>
            </a:xfrm>
            <a:custGeom>
              <a:avLst/>
              <a:gdLst/>
              <a:ahLst/>
              <a:cxnLst/>
              <a:rect l="l" t="t" r="r" b="b"/>
              <a:pathLst>
                <a:path w="141604" h="340995">
                  <a:moveTo>
                    <a:pt x="141364" y="0"/>
                  </a:moveTo>
                  <a:lnTo>
                    <a:pt x="0" y="0"/>
                  </a:lnTo>
                  <a:lnTo>
                    <a:pt x="0" y="284047"/>
                  </a:lnTo>
                  <a:lnTo>
                    <a:pt x="4395" y="306124"/>
                  </a:lnTo>
                  <a:lnTo>
                    <a:pt x="16409" y="324080"/>
                  </a:lnTo>
                  <a:lnTo>
                    <a:pt x="34283" y="336149"/>
                  </a:lnTo>
                  <a:lnTo>
                    <a:pt x="56260" y="340565"/>
                  </a:lnTo>
                  <a:lnTo>
                    <a:pt x="78310" y="336149"/>
                  </a:lnTo>
                  <a:lnTo>
                    <a:pt x="96347" y="324080"/>
                  </a:lnTo>
                  <a:lnTo>
                    <a:pt x="108524" y="306124"/>
                  </a:lnTo>
                  <a:lnTo>
                    <a:pt x="112994" y="284047"/>
                  </a:lnTo>
                  <a:lnTo>
                    <a:pt x="112994" y="24154"/>
                  </a:lnTo>
                  <a:lnTo>
                    <a:pt x="113955" y="20290"/>
                  </a:lnTo>
                  <a:lnTo>
                    <a:pt x="115398" y="16909"/>
                  </a:lnTo>
                  <a:lnTo>
                    <a:pt x="115398" y="16426"/>
                  </a:lnTo>
                  <a:lnTo>
                    <a:pt x="116359" y="14495"/>
                  </a:lnTo>
                  <a:lnTo>
                    <a:pt x="120739" y="8562"/>
                  </a:lnTo>
                  <a:lnTo>
                    <a:pt x="126518" y="3987"/>
                  </a:lnTo>
                  <a:lnTo>
                    <a:pt x="133469" y="1042"/>
                  </a:lnTo>
                  <a:lnTo>
                    <a:pt x="141364"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43" name="object 43"/>
          <p:cNvGrpSpPr/>
          <p:nvPr/>
        </p:nvGrpSpPr>
        <p:grpSpPr>
          <a:xfrm>
            <a:off x="5195315" y="1659635"/>
            <a:ext cx="1226820" cy="4432300"/>
            <a:chOff x="5195315" y="1659635"/>
            <a:chExt cx="1226820" cy="4432300"/>
          </a:xfrm>
        </p:grpSpPr>
        <p:sp>
          <p:nvSpPr>
            <p:cNvPr id="44" name="object 44"/>
            <p:cNvSpPr/>
            <p:nvPr/>
          </p:nvSpPr>
          <p:spPr>
            <a:xfrm>
              <a:off x="5195315" y="1659635"/>
              <a:ext cx="1226820" cy="4432300"/>
            </a:xfrm>
            <a:custGeom>
              <a:avLst/>
              <a:gdLst/>
              <a:ahLst/>
              <a:cxnLst/>
              <a:rect l="l" t="t" r="r" b="b"/>
              <a:pathLst>
                <a:path w="1226820" h="4432300">
                  <a:moveTo>
                    <a:pt x="1022350" y="0"/>
                  </a:moveTo>
                  <a:lnTo>
                    <a:pt x="204470" y="0"/>
                  </a:lnTo>
                  <a:lnTo>
                    <a:pt x="157594" y="5401"/>
                  </a:lnTo>
                  <a:lnTo>
                    <a:pt x="114559" y="20786"/>
                  </a:lnTo>
                  <a:lnTo>
                    <a:pt x="76593" y="44926"/>
                  </a:lnTo>
                  <a:lnTo>
                    <a:pt x="44926" y="76593"/>
                  </a:lnTo>
                  <a:lnTo>
                    <a:pt x="20786" y="114559"/>
                  </a:lnTo>
                  <a:lnTo>
                    <a:pt x="5401" y="157594"/>
                  </a:lnTo>
                  <a:lnTo>
                    <a:pt x="0" y="204469"/>
                  </a:lnTo>
                  <a:lnTo>
                    <a:pt x="0" y="4227309"/>
                  </a:lnTo>
                  <a:lnTo>
                    <a:pt x="5401" y="4274197"/>
                  </a:lnTo>
                  <a:lnTo>
                    <a:pt x="20786" y="4317239"/>
                  </a:lnTo>
                  <a:lnTo>
                    <a:pt x="44926" y="4355206"/>
                  </a:lnTo>
                  <a:lnTo>
                    <a:pt x="76593" y="4386872"/>
                  </a:lnTo>
                  <a:lnTo>
                    <a:pt x="114559" y="4411009"/>
                  </a:lnTo>
                  <a:lnTo>
                    <a:pt x="157594" y="4426391"/>
                  </a:lnTo>
                  <a:lnTo>
                    <a:pt x="204470" y="4431792"/>
                  </a:lnTo>
                  <a:lnTo>
                    <a:pt x="1022350" y="4431792"/>
                  </a:lnTo>
                  <a:lnTo>
                    <a:pt x="1069225" y="4426391"/>
                  </a:lnTo>
                  <a:lnTo>
                    <a:pt x="1112260" y="4411009"/>
                  </a:lnTo>
                  <a:lnTo>
                    <a:pt x="1150226" y="4386872"/>
                  </a:lnTo>
                  <a:lnTo>
                    <a:pt x="1181893" y="4355206"/>
                  </a:lnTo>
                  <a:lnTo>
                    <a:pt x="1206033" y="4317239"/>
                  </a:lnTo>
                  <a:lnTo>
                    <a:pt x="1221418" y="4274197"/>
                  </a:lnTo>
                  <a:lnTo>
                    <a:pt x="1226820" y="4227309"/>
                  </a:lnTo>
                  <a:lnTo>
                    <a:pt x="1226820" y="204469"/>
                  </a:lnTo>
                  <a:lnTo>
                    <a:pt x="1221418" y="157594"/>
                  </a:lnTo>
                  <a:lnTo>
                    <a:pt x="1206033" y="114559"/>
                  </a:lnTo>
                  <a:lnTo>
                    <a:pt x="1181893" y="76593"/>
                  </a:lnTo>
                  <a:lnTo>
                    <a:pt x="1150226" y="44926"/>
                  </a:lnTo>
                  <a:lnTo>
                    <a:pt x="1112260" y="20786"/>
                  </a:lnTo>
                  <a:lnTo>
                    <a:pt x="1069225" y="5401"/>
                  </a:lnTo>
                  <a:lnTo>
                    <a:pt x="1022350" y="0"/>
                  </a:lnTo>
                  <a:close/>
                </a:path>
              </a:pathLst>
            </a:custGeom>
            <a:solidFill>
              <a:srgbClr val="09211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5" name="object 45"/>
            <p:cNvPicPr/>
            <p:nvPr/>
          </p:nvPicPr>
          <p:blipFill>
            <a:blip r:embed="rId32" cstate="screen">
              <a:extLst>
                <a:ext uri="{28A0092B-C50C-407E-A947-70E740481C1C}">
                  <a14:useLocalDpi xmlns:a14="http://schemas.microsoft.com/office/drawing/2010/main"/>
                </a:ext>
              </a:extLst>
            </a:blip>
            <a:stretch>
              <a:fillRect/>
            </a:stretch>
          </p:blipFill>
          <p:spPr>
            <a:xfrm>
              <a:off x="5488812" y="3450970"/>
              <a:ext cx="817880" cy="292607"/>
            </a:xfrm>
            <a:prstGeom prst="rect">
              <a:avLst/>
            </a:prstGeom>
          </p:spPr>
        </p:pic>
        <p:pic>
          <p:nvPicPr>
            <p:cNvPr id="46" name="object 46"/>
            <p:cNvPicPr/>
            <p:nvPr/>
          </p:nvPicPr>
          <p:blipFill>
            <a:blip r:embed="rId33" cstate="screen">
              <a:extLst>
                <a:ext uri="{28A0092B-C50C-407E-A947-70E740481C1C}">
                  <a14:useLocalDpi xmlns:a14="http://schemas.microsoft.com/office/drawing/2010/main"/>
                </a:ext>
              </a:extLst>
            </a:blip>
            <a:stretch>
              <a:fillRect/>
            </a:stretch>
          </p:blipFill>
          <p:spPr>
            <a:xfrm>
              <a:off x="5372988" y="3725290"/>
              <a:ext cx="1022603" cy="292607"/>
            </a:xfrm>
            <a:prstGeom prst="rect">
              <a:avLst/>
            </a:prstGeom>
          </p:spPr>
        </p:pic>
        <p:pic>
          <p:nvPicPr>
            <p:cNvPr id="47" name="object 47"/>
            <p:cNvPicPr/>
            <p:nvPr/>
          </p:nvPicPr>
          <p:blipFill>
            <a:blip r:embed="rId34" cstate="screen">
              <a:extLst>
                <a:ext uri="{28A0092B-C50C-407E-A947-70E740481C1C}">
                  <a14:useLocalDpi xmlns:a14="http://schemas.microsoft.com/office/drawing/2010/main"/>
                </a:ext>
              </a:extLst>
            </a:blip>
            <a:stretch>
              <a:fillRect/>
            </a:stretch>
          </p:blipFill>
          <p:spPr>
            <a:xfrm>
              <a:off x="5398896" y="3999306"/>
              <a:ext cx="920686" cy="292912"/>
            </a:xfrm>
            <a:prstGeom prst="rect">
              <a:avLst/>
            </a:prstGeom>
          </p:spPr>
        </p:pic>
      </p:grpSp>
      <p:grpSp>
        <p:nvGrpSpPr>
          <p:cNvPr id="48" name="object 48"/>
          <p:cNvGrpSpPr/>
          <p:nvPr/>
        </p:nvGrpSpPr>
        <p:grpSpPr>
          <a:xfrm>
            <a:off x="6495288" y="1638222"/>
            <a:ext cx="5459095" cy="1411605"/>
            <a:chOff x="6495288" y="1638222"/>
            <a:chExt cx="5459095" cy="1411605"/>
          </a:xfrm>
        </p:grpSpPr>
        <p:sp>
          <p:nvSpPr>
            <p:cNvPr id="49" name="object 49"/>
            <p:cNvSpPr/>
            <p:nvPr/>
          </p:nvSpPr>
          <p:spPr>
            <a:xfrm>
              <a:off x="6495288" y="1647444"/>
              <a:ext cx="1556385" cy="1243965"/>
            </a:xfrm>
            <a:custGeom>
              <a:avLst/>
              <a:gdLst/>
              <a:ahLst/>
              <a:cxnLst/>
              <a:rect l="l" t="t" r="r" b="b"/>
              <a:pathLst>
                <a:path w="1556384" h="1243964">
                  <a:moveTo>
                    <a:pt x="1348739" y="0"/>
                  </a:moveTo>
                  <a:lnTo>
                    <a:pt x="207263" y="0"/>
                  </a:lnTo>
                  <a:lnTo>
                    <a:pt x="159753" y="5476"/>
                  </a:lnTo>
                  <a:lnTo>
                    <a:pt x="116132" y="21073"/>
                  </a:lnTo>
                  <a:lnTo>
                    <a:pt x="77648" y="45546"/>
                  </a:lnTo>
                  <a:lnTo>
                    <a:pt x="45546" y="77648"/>
                  </a:lnTo>
                  <a:lnTo>
                    <a:pt x="21073" y="116132"/>
                  </a:lnTo>
                  <a:lnTo>
                    <a:pt x="5476" y="159753"/>
                  </a:lnTo>
                  <a:lnTo>
                    <a:pt x="0" y="207263"/>
                  </a:lnTo>
                  <a:lnTo>
                    <a:pt x="0" y="1036319"/>
                  </a:lnTo>
                  <a:lnTo>
                    <a:pt x="5476" y="1083830"/>
                  </a:lnTo>
                  <a:lnTo>
                    <a:pt x="21073" y="1127451"/>
                  </a:lnTo>
                  <a:lnTo>
                    <a:pt x="45546" y="1165935"/>
                  </a:lnTo>
                  <a:lnTo>
                    <a:pt x="77648" y="1198037"/>
                  </a:lnTo>
                  <a:lnTo>
                    <a:pt x="116132" y="1222510"/>
                  </a:lnTo>
                  <a:lnTo>
                    <a:pt x="159753" y="1238107"/>
                  </a:lnTo>
                  <a:lnTo>
                    <a:pt x="207263" y="1243583"/>
                  </a:lnTo>
                  <a:lnTo>
                    <a:pt x="1348739" y="1243583"/>
                  </a:lnTo>
                  <a:lnTo>
                    <a:pt x="1396250" y="1238107"/>
                  </a:lnTo>
                  <a:lnTo>
                    <a:pt x="1439871" y="1222510"/>
                  </a:lnTo>
                  <a:lnTo>
                    <a:pt x="1478355" y="1198037"/>
                  </a:lnTo>
                  <a:lnTo>
                    <a:pt x="1510457" y="1165935"/>
                  </a:lnTo>
                  <a:lnTo>
                    <a:pt x="1534930" y="1127451"/>
                  </a:lnTo>
                  <a:lnTo>
                    <a:pt x="1550527" y="1083830"/>
                  </a:lnTo>
                  <a:lnTo>
                    <a:pt x="1556004" y="1036319"/>
                  </a:lnTo>
                  <a:lnTo>
                    <a:pt x="1556004" y="207263"/>
                  </a:lnTo>
                  <a:lnTo>
                    <a:pt x="1550527" y="159753"/>
                  </a:lnTo>
                  <a:lnTo>
                    <a:pt x="1534930" y="116132"/>
                  </a:lnTo>
                  <a:lnTo>
                    <a:pt x="1510457" y="77648"/>
                  </a:lnTo>
                  <a:lnTo>
                    <a:pt x="1478355" y="45546"/>
                  </a:lnTo>
                  <a:lnTo>
                    <a:pt x="1439871" y="21073"/>
                  </a:lnTo>
                  <a:lnTo>
                    <a:pt x="1396250" y="5476"/>
                  </a:lnTo>
                  <a:lnTo>
                    <a:pt x="1348739" y="0"/>
                  </a:lnTo>
                  <a:close/>
                </a:path>
              </a:pathLst>
            </a:custGeom>
            <a:solidFill>
              <a:srgbClr val="E7E6E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50" name="object 50"/>
            <p:cNvPicPr/>
            <p:nvPr/>
          </p:nvPicPr>
          <p:blipFill>
            <a:blip r:embed="rId35" cstate="screen">
              <a:extLst>
                <a:ext uri="{28A0092B-C50C-407E-A947-70E740481C1C}">
                  <a14:useLocalDpi xmlns:a14="http://schemas.microsoft.com/office/drawing/2010/main"/>
                </a:ext>
              </a:extLst>
            </a:blip>
            <a:stretch>
              <a:fillRect/>
            </a:stretch>
          </p:blipFill>
          <p:spPr>
            <a:xfrm>
              <a:off x="7003034" y="1795907"/>
              <a:ext cx="720547" cy="326136"/>
            </a:xfrm>
            <a:prstGeom prst="rect">
              <a:avLst/>
            </a:prstGeom>
          </p:spPr>
        </p:pic>
        <p:pic>
          <p:nvPicPr>
            <p:cNvPr id="51" name="object 51"/>
            <p:cNvPicPr/>
            <p:nvPr/>
          </p:nvPicPr>
          <p:blipFill>
            <a:blip r:embed="rId36" cstate="screen">
              <a:extLst>
                <a:ext uri="{28A0092B-C50C-407E-A947-70E740481C1C}">
                  <a14:useLocalDpi xmlns:a14="http://schemas.microsoft.com/office/drawing/2010/main"/>
                </a:ext>
              </a:extLst>
            </a:blip>
            <a:stretch>
              <a:fillRect/>
            </a:stretch>
          </p:blipFill>
          <p:spPr>
            <a:xfrm>
              <a:off x="6861302" y="2100707"/>
              <a:ext cx="709422" cy="326136"/>
            </a:xfrm>
            <a:prstGeom prst="rect">
              <a:avLst/>
            </a:prstGeom>
          </p:spPr>
        </p:pic>
        <p:pic>
          <p:nvPicPr>
            <p:cNvPr id="52" name="object 52"/>
            <p:cNvPicPr/>
            <p:nvPr/>
          </p:nvPicPr>
          <p:blipFill>
            <a:blip r:embed="rId37" cstate="screen">
              <a:extLst>
                <a:ext uri="{28A0092B-C50C-407E-A947-70E740481C1C}">
                  <a14:useLocalDpi xmlns:a14="http://schemas.microsoft.com/office/drawing/2010/main"/>
                </a:ext>
              </a:extLst>
            </a:blip>
            <a:stretch>
              <a:fillRect/>
            </a:stretch>
          </p:blipFill>
          <p:spPr>
            <a:xfrm>
              <a:off x="7525766" y="2100707"/>
              <a:ext cx="331470" cy="326136"/>
            </a:xfrm>
            <a:prstGeom prst="rect">
              <a:avLst/>
            </a:prstGeom>
          </p:spPr>
        </p:pic>
        <p:pic>
          <p:nvPicPr>
            <p:cNvPr id="53" name="object 53"/>
            <p:cNvPicPr/>
            <p:nvPr/>
          </p:nvPicPr>
          <p:blipFill>
            <a:blip r:embed="rId38" cstate="screen">
              <a:extLst>
                <a:ext uri="{28A0092B-C50C-407E-A947-70E740481C1C}">
                  <a14:useLocalDpi xmlns:a14="http://schemas.microsoft.com/office/drawing/2010/main"/>
                </a:ext>
              </a:extLst>
            </a:blip>
            <a:stretch>
              <a:fillRect/>
            </a:stretch>
          </p:blipFill>
          <p:spPr>
            <a:xfrm>
              <a:off x="7051802" y="2405202"/>
              <a:ext cx="556259" cy="326440"/>
            </a:xfrm>
            <a:prstGeom prst="rect">
              <a:avLst/>
            </a:prstGeom>
          </p:spPr>
        </p:pic>
        <p:pic>
          <p:nvPicPr>
            <p:cNvPr id="54" name="object 54"/>
            <p:cNvPicPr/>
            <p:nvPr/>
          </p:nvPicPr>
          <p:blipFill>
            <a:blip r:embed="rId39" cstate="print"/>
            <a:stretch>
              <a:fillRect/>
            </a:stretch>
          </p:blipFill>
          <p:spPr>
            <a:xfrm>
              <a:off x="8813278" y="1638222"/>
              <a:ext cx="3140990" cy="1411339"/>
            </a:xfrm>
            <a:prstGeom prst="rect">
              <a:avLst/>
            </a:prstGeom>
          </p:spPr>
        </p:pic>
        <p:pic>
          <p:nvPicPr>
            <p:cNvPr id="55" name="object 55"/>
            <p:cNvPicPr/>
            <p:nvPr/>
          </p:nvPicPr>
          <p:blipFill>
            <a:blip r:embed="rId40" cstate="print"/>
            <a:stretch>
              <a:fillRect/>
            </a:stretch>
          </p:blipFill>
          <p:spPr>
            <a:xfrm>
              <a:off x="8933688" y="1700784"/>
              <a:ext cx="2936748" cy="1328927"/>
            </a:xfrm>
            <a:prstGeom prst="rect">
              <a:avLst/>
            </a:prstGeom>
          </p:spPr>
        </p:pic>
        <p:sp>
          <p:nvSpPr>
            <p:cNvPr id="56" name="object 56"/>
            <p:cNvSpPr/>
            <p:nvPr/>
          </p:nvSpPr>
          <p:spPr>
            <a:xfrm>
              <a:off x="8830055" y="1645920"/>
              <a:ext cx="3057525" cy="1336675"/>
            </a:xfrm>
            <a:custGeom>
              <a:avLst/>
              <a:gdLst/>
              <a:ahLst/>
              <a:cxnLst/>
              <a:rect l="l" t="t" r="r" b="b"/>
              <a:pathLst>
                <a:path w="3057525" h="1336675">
                  <a:moveTo>
                    <a:pt x="2834386" y="0"/>
                  </a:moveTo>
                  <a:lnTo>
                    <a:pt x="222758" y="0"/>
                  </a:lnTo>
                  <a:lnTo>
                    <a:pt x="177853" y="4524"/>
                  </a:lnTo>
                  <a:lnTo>
                    <a:pt x="136034" y="17500"/>
                  </a:lnTo>
                  <a:lnTo>
                    <a:pt x="98195" y="38033"/>
                  </a:lnTo>
                  <a:lnTo>
                    <a:pt x="65230" y="65230"/>
                  </a:lnTo>
                  <a:lnTo>
                    <a:pt x="38033" y="98195"/>
                  </a:lnTo>
                  <a:lnTo>
                    <a:pt x="17500" y="136034"/>
                  </a:lnTo>
                  <a:lnTo>
                    <a:pt x="4524" y="177853"/>
                  </a:lnTo>
                  <a:lnTo>
                    <a:pt x="0" y="222757"/>
                  </a:lnTo>
                  <a:lnTo>
                    <a:pt x="0" y="1113789"/>
                  </a:lnTo>
                  <a:lnTo>
                    <a:pt x="4524" y="1158694"/>
                  </a:lnTo>
                  <a:lnTo>
                    <a:pt x="17500" y="1200513"/>
                  </a:lnTo>
                  <a:lnTo>
                    <a:pt x="38033" y="1238352"/>
                  </a:lnTo>
                  <a:lnTo>
                    <a:pt x="65230" y="1271317"/>
                  </a:lnTo>
                  <a:lnTo>
                    <a:pt x="98195" y="1298514"/>
                  </a:lnTo>
                  <a:lnTo>
                    <a:pt x="136034" y="1319047"/>
                  </a:lnTo>
                  <a:lnTo>
                    <a:pt x="177853" y="1332023"/>
                  </a:lnTo>
                  <a:lnTo>
                    <a:pt x="222758" y="1336547"/>
                  </a:lnTo>
                  <a:lnTo>
                    <a:pt x="2834386" y="1336547"/>
                  </a:lnTo>
                  <a:lnTo>
                    <a:pt x="2879290" y="1332023"/>
                  </a:lnTo>
                  <a:lnTo>
                    <a:pt x="2921109" y="1319047"/>
                  </a:lnTo>
                  <a:lnTo>
                    <a:pt x="2958948" y="1298514"/>
                  </a:lnTo>
                  <a:lnTo>
                    <a:pt x="2991913" y="1271317"/>
                  </a:lnTo>
                  <a:lnTo>
                    <a:pt x="3019110" y="1238352"/>
                  </a:lnTo>
                  <a:lnTo>
                    <a:pt x="3039643" y="1200513"/>
                  </a:lnTo>
                  <a:lnTo>
                    <a:pt x="3052619" y="1158694"/>
                  </a:lnTo>
                  <a:lnTo>
                    <a:pt x="3057144" y="1113789"/>
                  </a:lnTo>
                  <a:lnTo>
                    <a:pt x="3057144" y="222757"/>
                  </a:lnTo>
                  <a:lnTo>
                    <a:pt x="3052619" y="177853"/>
                  </a:lnTo>
                  <a:lnTo>
                    <a:pt x="3039643" y="136034"/>
                  </a:lnTo>
                  <a:lnTo>
                    <a:pt x="3019110" y="98195"/>
                  </a:lnTo>
                  <a:lnTo>
                    <a:pt x="2991913" y="65230"/>
                  </a:lnTo>
                  <a:lnTo>
                    <a:pt x="2958948" y="38033"/>
                  </a:lnTo>
                  <a:lnTo>
                    <a:pt x="2921109" y="17500"/>
                  </a:lnTo>
                  <a:lnTo>
                    <a:pt x="2879290" y="4524"/>
                  </a:lnTo>
                  <a:lnTo>
                    <a:pt x="2834386"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57" name="object 57"/>
            <p:cNvPicPr/>
            <p:nvPr/>
          </p:nvPicPr>
          <p:blipFill>
            <a:blip r:embed="rId41" cstate="screen">
              <a:extLst>
                <a:ext uri="{28A0092B-C50C-407E-A947-70E740481C1C}">
                  <a14:useLocalDpi xmlns:a14="http://schemas.microsoft.com/office/drawing/2010/main"/>
                </a:ext>
              </a:extLst>
            </a:blip>
            <a:stretch>
              <a:fillRect/>
            </a:stretch>
          </p:blipFill>
          <p:spPr>
            <a:xfrm>
              <a:off x="9095867" y="1769364"/>
              <a:ext cx="2634106" cy="228600"/>
            </a:xfrm>
            <a:prstGeom prst="rect">
              <a:avLst/>
            </a:prstGeom>
          </p:spPr>
        </p:pic>
        <p:pic>
          <p:nvPicPr>
            <p:cNvPr id="58" name="object 58"/>
            <p:cNvPicPr/>
            <p:nvPr/>
          </p:nvPicPr>
          <p:blipFill>
            <a:blip r:embed="rId42" cstate="screen">
              <a:extLst>
                <a:ext uri="{28A0092B-C50C-407E-A947-70E740481C1C}">
                  <a14:useLocalDpi xmlns:a14="http://schemas.microsoft.com/office/drawing/2010/main"/>
                </a:ext>
              </a:extLst>
            </a:blip>
            <a:stretch>
              <a:fillRect/>
            </a:stretch>
          </p:blipFill>
          <p:spPr>
            <a:xfrm>
              <a:off x="9068435" y="1982724"/>
              <a:ext cx="2687066" cy="228600"/>
            </a:xfrm>
            <a:prstGeom prst="rect">
              <a:avLst/>
            </a:prstGeom>
          </p:spPr>
        </p:pic>
        <p:pic>
          <p:nvPicPr>
            <p:cNvPr id="59" name="object 59"/>
            <p:cNvPicPr/>
            <p:nvPr/>
          </p:nvPicPr>
          <p:blipFill>
            <a:blip r:embed="rId43" cstate="screen">
              <a:extLst>
                <a:ext uri="{28A0092B-C50C-407E-A947-70E740481C1C}">
                  <a14:useLocalDpi xmlns:a14="http://schemas.microsoft.com/office/drawing/2010/main"/>
                </a:ext>
              </a:extLst>
            </a:blip>
            <a:stretch>
              <a:fillRect/>
            </a:stretch>
          </p:blipFill>
          <p:spPr>
            <a:xfrm>
              <a:off x="9202547" y="2196084"/>
              <a:ext cx="2421001" cy="228600"/>
            </a:xfrm>
            <a:prstGeom prst="rect">
              <a:avLst/>
            </a:prstGeom>
          </p:spPr>
        </p:pic>
        <p:pic>
          <p:nvPicPr>
            <p:cNvPr id="60" name="object 60"/>
            <p:cNvPicPr/>
            <p:nvPr/>
          </p:nvPicPr>
          <p:blipFill>
            <a:blip r:embed="rId44" cstate="screen">
              <a:extLst>
                <a:ext uri="{28A0092B-C50C-407E-A947-70E740481C1C}">
                  <a14:useLocalDpi xmlns:a14="http://schemas.microsoft.com/office/drawing/2010/main"/>
                </a:ext>
              </a:extLst>
            </a:blip>
            <a:stretch>
              <a:fillRect/>
            </a:stretch>
          </p:blipFill>
          <p:spPr>
            <a:xfrm>
              <a:off x="9153779" y="2409444"/>
              <a:ext cx="2518663" cy="228600"/>
            </a:xfrm>
            <a:prstGeom prst="rect">
              <a:avLst/>
            </a:prstGeom>
          </p:spPr>
        </p:pic>
        <p:pic>
          <p:nvPicPr>
            <p:cNvPr id="61" name="object 61"/>
            <p:cNvPicPr/>
            <p:nvPr/>
          </p:nvPicPr>
          <p:blipFill>
            <a:blip r:embed="rId45" cstate="screen">
              <a:extLst>
                <a:ext uri="{28A0092B-C50C-407E-A947-70E740481C1C}">
                  <a14:useLocalDpi xmlns:a14="http://schemas.microsoft.com/office/drawing/2010/main"/>
                </a:ext>
              </a:extLst>
            </a:blip>
            <a:stretch>
              <a:fillRect/>
            </a:stretch>
          </p:blipFill>
          <p:spPr>
            <a:xfrm>
              <a:off x="9156827" y="2622804"/>
              <a:ext cx="2477516" cy="228600"/>
            </a:xfrm>
            <a:prstGeom prst="rect">
              <a:avLst/>
            </a:prstGeom>
          </p:spPr>
        </p:pic>
        <p:sp>
          <p:nvSpPr>
            <p:cNvPr id="62" name="object 62"/>
            <p:cNvSpPr/>
            <p:nvPr/>
          </p:nvSpPr>
          <p:spPr>
            <a:xfrm>
              <a:off x="8051291" y="2122932"/>
              <a:ext cx="779145" cy="279400"/>
            </a:xfrm>
            <a:custGeom>
              <a:avLst/>
              <a:gdLst/>
              <a:ahLst/>
              <a:cxnLst/>
              <a:rect l="l" t="t" r="r" b="b"/>
              <a:pathLst>
                <a:path w="779145" h="279400">
                  <a:moveTo>
                    <a:pt x="639317" y="0"/>
                  </a:moveTo>
                  <a:lnTo>
                    <a:pt x="639317" y="69722"/>
                  </a:lnTo>
                  <a:lnTo>
                    <a:pt x="0" y="69722"/>
                  </a:lnTo>
                  <a:lnTo>
                    <a:pt x="0" y="209168"/>
                  </a:lnTo>
                  <a:lnTo>
                    <a:pt x="639317" y="209168"/>
                  </a:lnTo>
                  <a:lnTo>
                    <a:pt x="639317" y="278891"/>
                  </a:lnTo>
                  <a:lnTo>
                    <a:pt x="778763" y="139445"/>
                  </a:lnTo>
                  <a:lnTo>
                    <a:pt x="639317" y="0"/>
                  </a:lnTo>
                  <a:close/>
                </a:path>
              </a:pathLst>
            </a:custGeom>
            <a:solidFill>
              <a:srgbClr val="8FD9C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63" name="object 63"/>
          <p:cNvGrpSpPr/>
          <p:nvPr/>
        </p:nvGrpSpPr>
        <p:grpSpPr>
          <a:xfrm>
            <a:off x="6495288" y="3115055"/>
            <a:ext cx="5459095" cy="1420495"/>
            <a:chOff x="6495288" y="3115055"/>
            <a:chExt cx="5459095" cy="1420495"/>
          </a:xfrm>
        </p:grpSpPr>
        <p:sp>
          <p:nvSpPr>
            <p:cNvPr id="64" name="object 64"/>
            <p:cNvSpPr/>
            <p:nvPr/>
          </p:nvSpPr>
          <p:spPr>
            <a:xfrm>
              <a:off x="6495288" y="3165347"/>
              <a:ext cx="1556385" cy="1243965"/>
            </a:xfrm>
            <a:custGeom>
              <a:avLst/>
              <a:gdLst/>
              <a:ahLst/>
              <a:cxnLst/>
              <a:rect l="l" t="t" r="r" b="b"/>
              <a:pathLst>
                <a:path w="1556384" h="1243964">
                  <a:moveTo>
                    <a:pt x="1348739" y="0"/>
                  </a:moveTo>
                  <a:lnTo>
                    <a:pt x="207263" y="0"/>
                  </a:lnTo>
                  <a:lnTo>
                    <a:pt x="159753" y="5476"/>
                  </a:lnTo>
                  <a:lnTo>
                    <a:pt x="116132" y="21073"/>
                  </a:lnTo>
                  <a:lnTo>
                    <a:pt x="77648" y="45546"/>
                  </a:lnTo>
                  <a:lnTo>
                    <a:pt x="45546" y="77648"/>
                  </a:lnTo>
                  <a:lnTo>
                    <a:pt x="21073" y="116132"/>
                  </a:lnTo>
                  <a:lnTo>
                    <a:pt x="5476" y="159753"/>
                  </a:lnTo>
                  <a:lnTo>
                    <a:pt x="0" y="207263"/>
                  </a:lnTo>
                  <a:lnTo>
                    <a:pt x="0" y="1036319"/>
                  </a:lnTo>
                  <a:lnTo>
                    <a:pt x="5476" y="1083830"/>
                  </a:lnTo>
                  <a:lnTo>
                    <a:pt x="21073" y="1127451"/>
                  </a:lnTo>
                  <a:lnTo>
                    <a:pt x="45546" y="1165935"/>
                  </a:lnTo>
                  <a:lnTo>
                    <a:pt x="77648" y="1198037"/>
                  </a:lnTo>
                  <a:lnTo>
                    <a:pt x="116132" y="1222510"/>
                  </a:lnTo>
                  <a:lnTo>
                    <a:pt x="159753" y="1238107"/>
                  </a:lnTo>
                  <a:lnTo>
                    <a:pt x="207263" y="1243583"/>
                  </a:lnTo>
                  <a:lnTo>
                    <a:pt x="1348739" y="1243583"/>
                  </a:lnTo>
                  <a:lnTo>
                    <a:pt x="1396250" y="1238107"/>
                  </a:lnTo>
                  <a:lnTo>
                    <a:pt x="1439871" y="1222510"/>
                  </a:lnTo>
                  <a:lnTo>
                    <a:pt x="1478355" y="1198037"/>
                  </a:lnTo>
                  <a:lnTo>
                    <a:pt x="1510457" y="1165935"/>
                  </a:lnTo>
                  <a:lnTo>
                    <a:pt x="1534930" y="1127451"/>
                  </a:lnTo>
                  <a:lnTo>
                    <a:pt x="1550527" y="1083830"/>
                  </a:lnTo>
                  <a:lnTo>
                    <a:pt x="1556004" y="1036319"/>
                  </a:lnTo>
                  <a:lnTo>
                    <a:pt x="1556004" y="207263"/>
                  </a:lnTo>
                  <a:lnTo>
                    <a:pt x="1550527" y="159753"/>
                  </a:lnTo>
                  <a:lnTo>
                    <a:pt x="1534930" y="116132"/>
                  </a:lnTo>
                  <a:lnTo>
                    <a:pt x="1510457" y="77648"/>
                  </a:lnTo>
                  <a:lnTo>
                    <a:pt x="1478355" y="45546"/>
                  </a:lnTo>
                  <a:lnTo>
                    <a:pt x="1439871" y="21073"/>
                  </a:lnTo>
                  <a:lnTo>
                    <a:pt x="1396250" y="5476"/>
                  </a:lnTo>
                  <a:lnTo>
                    <a:pt x="1348739" y="0"/>
                  </a:lnTo>
                  <a:close/>
                </a:path>
              </a:pathLst>
            </a:custGeom>
            <a:solidFill>
              <a:srgbClr val="E7E6E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65" name="object 65"/>
            <p:cNvPicPr/>
            <p:nvPr/>
          </p:nvPicPr>
          <p:blipFill>
            <a:blip r:embed="rId46" cstate="screen">
              <a:extLst>
                <a:ext uri="{28A0092B-C50C-407E-A947-70E740481C1C}">
                  <a14:useLocalDpi xmlns:a14="http://schemas.microsoft.com/office/drawing/2010/main"/>
                </a:ext>
              </a:extLst>
            </a:blip>
            <a:stretch>
              <a:fillRect/>
            </a:stretch>
          </p:blipFill>
          <p:spPr>
            <a:xfrm>
              <a:off x="6937502" y="3466464"/>
              <a:ext cx="849883" cy="326136"/>
            </a:xfrm>
            <a:prstGeom prst="rect">
              <a:avLst/>
            </a:prstGeom>
          </p:spPr>
        </p:pic>
        <p:pic>
          <p:nvPicPr>
            <p:cNvPr id="66" name="object 66"/>
            <p:cNvPicPr/>
            <p:nvPr/>
          </p:nvPicPr>
          <p:blipFill>
            <a:blip r:embed="rId47" cstate="screen">
              <a:extLst>
                <a:ext uri="{28A0092B-C50C-407E-A947-70E740481C1C}">
                  <a14:useLocalDpi xmlns:a14="http://schemas.microsoft.com/office/drawing/2010/main"/>
                </a:ext>
              </a:extLst>
            </a:blip>
            <a:stretch>
              <a:fillRect/>
            </a:stretch>
          </p:blipFill>
          <p:spPr>
            <a:xfrm>
              <a:off x="6724142" y="3771264"/>
              <a:ext cx="1208684" cy="326136"/>
            </a:xfrm>
            <a:prstGeom prst="rect">
              <a:avLst/>
            </a:prstGeom>
          </p:spPr>
        </p:pic>
        <p:pic>
          <p:nvPicPr>
            <p:cNvPr id="67" name="object 67"/>
            <p:cNvPicPr/>
            <p:nvPr/>
          </p:nvPicPr>
          <p:blipFill>
            <a:blip r:embed="rId48" cstate="print"/>
            <a:stretch>
              <a:fillRect/>
            </a:stretch>
          </p:blipFill>
          <p:spPr>
            <a:xfrm>
              <a:off x="8813278" y="3156096"/>
              <a:ext cx="3140990" cy="1263556"/>
            </a:xfrm>
            <a:prstGeom prst="rect">
              <a:avLst/>
            </a:prstGeom>
          </p:spPr>
        </p:pic>
        <p:pic>
          <p:nvPicPr>
            <p:cNvPr id="68" name="object 68"/>
            <p:cNvPicPr/>
            <p:nvPr/>
          </p:nvPicPr>
          <p:blipFill>
            <a:blip r:embed="rId49" cstate="print"/>
            <a:stretch>
              <a:fillRect/>
            </a:stretch>
          </p:blipFill>
          <p:spPr>
            <a:xfrm>
              <a:off x="8865108" y="3115055"/>
              <a:ext cx="3073907" cy="1420368"/>
            </a:xfrm>
            <a:prstGeom prst="rect">
              <a:avLst/>
            </a:prstGeom>
          </p:spPr>
        </p:pic>
        <p:sp>
          <p:nvSpPr>
            <p:cNvPr id="69" name="object 69"/>
            <p:cNvSpPr/>
            <p:nvPr/>
          </p:nvSpPr>
          <p:spPr>
            <a:xfrm>
              <a:off x="8830055" y="3163823"/>
              <a:ext cx="3057525" cy="1188720"/>
            </a:xfrm>
            <a:custGeom>
              <a:avLst/>
              <a:gdLst/>
              <a:ahLst/>
              <a:cxnLst/>
              <a:rect l="l" t="t" r="r" b="b"/>
              <a:pathLst>
                <a:path w="3057525" h="1188720">
                  <a:moveTo>
                    <a:pt x="2859024" y="0"/>
                  </a:moveTo>
                  <a:lnTo>
                    <a:pt x="198120" y="0"/>
                  </a:lnTo>
                  <a:lnTo>
                    <a:pt x="152675" y="5229"/>
                  </a:lnTo>
                  <a:lnTo>
                    <a:pt x="110967" y="20127"/>
                  </a:lnTo>
                  <a:lnTo>
                    <a:pt x="74182" y="43507"/>
                  </a:lnTo>
                  <a:lnTo>
                    <a:pt x="43507" y="74182"/>
                  </a:lnTo>
                  <a:lnTo>
                    <a:pt x="20127" y="110967"/>
                  </a:lnTo>
                  <a:lnTo>
                    <a:pt x="5229" y="152675"/>
                  </a:lnTo>
                  <a:lnTo>
                    <a:pt x="0" y="198120"/>
                  </a:lnTo>
                  <a:lnTo>
                    <a:pt x="0" y="990600"/>
                  </a:lnTo>
                  <a:lnTo>
                    <a:pt x="5229" y="1036044"/>
                  </a:lnTo>
                  <a:lnTo>
                    <a:pt x="20127" y="1077752"/>
                  </a:lnTo>
                  <a:lnTo>
                    <a:pt x="43507" y="1114537"/>
                  </a:lnTo>
                  <a:lnTo>
                    <a:pt x="74182" y="1145212"/>
                  </a:lnTo>
                  <a:lnTo>
                    <a:pt x="110967" y="1168592"/>
                  </a:lnTo>
                  <a:lnTo>
                    <a:pt x="152675" y="1183490"/>
                  </a:lnTo>
                  <a:lnTo>
                    <a:pt x="198120" y="1188720"/>
                  </a:lnTo>
                  <a:lnTo>
                    <a:pt x="2859024" y="1188720"/>
                  </a:lnTo>
                  <a:lnTo>
                    <a:pt x="2904468" y="1183490"/>
                  </a:lnTo>
                  <a:lnTo>
                    <a:pt x="2946176" y="1168592"/>
                  </a:lnTo>
                  <a:lnTo>
                    <a:pt x="2982961" y="1145212"/>
                  </a:lnTo>
                  <a:lnTo>
                    <a:pt x="3013636" y="1114537"/>
                  </a:lnTo>
                  <a:lnTo>
                    <a:pt x="3037016" y="1077752"/>
                  </a:lnTo>
                  <a:lnTo>
                    <a:pt x="3051914" y="1036044"/>
                  </a:lnTo>
                  <a:lnTo>
                    <a:pt x="3057144" y="990600"/>
                  </a:lnTo>
                  <a:lnTo>
                    <a:pt x="3057144" y="198120"/>
                  </a:lnTo>
                  <a:lnTo>
                    <a:pt x="3051914" y="152675"/>
                  </a:lnTo>
                  <a:lnTo>
                    <a:pt x="3037016" y="110967"/>
                  </a:lnTo>
                  <a:lnTo>
                    <a:pt x="3013636" y="74182"/>
                  </a:lnTo>
                  <a:lnTo>
                    <a:pt x="2982961" y="43507"/>
                  </a:lnTo>
                  <a:lnTo>
                    <a:pt x="2946176" y="20127"/>
                  </a:lnTo>
                  <a:lnTo>
                    <a:pt x="2904468" y="5229"/>
                  </a:lnTo>
                  <a:lnTo>
                    <a:pt x="2859024"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70" name="object 70"/>
            <p:cNvPicPr/>
            <p:nvPr/>
          </p:nvPicPr>
          <p:blipFill>
            <a:blip r:embed="rId50" cstate="screen">
              <a:extLst>
                <a:ext uri="{28A0092B-C50C-407E-A947-70E740481C1C}">
                  <a14:useLocalDpi xmlns:a14="http://schemas.microsoft.com/office/drawing/2010/main"/>
                </a:ext>
              </a:extLst>
            </a:blip>
            <a:stretch>
              <a:fillRect/>
            </a:stretch>
          </p:blipFill>
          <p:spPr>
            <a:xfrm>
              <a:off x="9125966" y="3183000"/>
              <a:ext cx="2579497" cy="228600"/>
            </a:xfrm>
            <a:prstGeom prst="rect">
              <a:avLst/>
            </a:prstGeom>
          </p:spPr>
        </p:pic>
        <p:pic>
          <p:nvPicPr>
            <p:cNvPr id="71" name="object 71"/>
            <p:cNvPicPr/>
            <p:nvPr/>
          </p:nvPicPr>
          <p:blipFill>
            <a:blip r:embed="rId51" cstate="screen">
              <a:extLst>
                <a:ext uri="{28A0092B-C50C-407E-A947-70E740481C1C}">
                  <a14:useLocalDpi xmlns:a14="http://schemas.microsoft.com/office/drawing/2010/main"/>
                </a:ext>
              </a:extLst>
            </a:blip>
            <a:stretch>
              <a:fillRect/>
            </a:stretch>
          </p:blipFill>
          <p:spPr>
            <a:xfrm>
              <a:off x="9058910" y="3396360"/>
              <a:ext cx="2712847" cy="228600"/>
            </a:xfrm>
            <a:prstGeom prst="rect">
              <a:avLst/>
            </a:prstGeom>
          </p:spPr>
        </p:pic>
        <p:pic>
          <p:nvPicPr>
            <p:cNvPr id="72" name="object 72"/>
            <p:cNvPicPr/>
            <p:nvPr/>
          </p:nvPicPr>
          <p:blipFill>
            <a:blip r:embed="rId52" cstate="screen">
              <a:extLst>
                <a:ext uri="{28A0092B-C50C-407E-A947-70E740481C1C}">
                  <a14:useLocalDpi xmlns:a14="http://schemas.microsoft.com/office/drawing/2010/main"/>
                </a:ext>
              </a:extLst>
            </a:blip>
            <a:stretch>
              <a:fillRect/>
            </a:stretch>
          </p:blipFill>
          <p:spPr>
            <a:xfrm>
              <a:off x="9043670" y="3609416"/>
              <a:ext cx="2737104" cy="228904"/>
            </a:xfrm>
            <a:prstGeom prst="rect">
              <a:avLst/>
            </a:prstGeom>
          </p:spPr>
        </p:pic>
        <p:pic>
          <p:nvPicPr>
            <p:cNvPr id="73" name="object 73"/>
            <p:cNvPicPr/>
            <p:nvPr/>
          </p:nvPicPr>
          <p:blipFill>
            <a:blip r:embed="rId53" cstate="screen">
              <a:extLst>
                <a:ext uri="{28A0092B-C50C-407E-A947-70E740481C1C}">
                  <a14:useLocalDpi xmlns:a14="http://schemas.microsoft.com/office/drawing/2010/main"/>
                </a:ext>
              </a:extLst>
            </a:blip>
            <a:stretch>
              <a:fillRect/>
            </a:stretch>
          </p:blipFill>
          <p:spPr>
            <a:xfrm>
              <a:off x="8999473" y="3823461"/>
              <a:ext cx="2827654" cy="228600"/>
            </a:xfrm>
            <a:prstGeom prst="rect">
              <a:avLst/>
            </a:prstGeom>
          </p:spPr>
        </p:pic>
        <p:pic>
          <p:nvPicPr>
            <p:cNvPr id="74" name="object 74"/>
            <p:cNvPicPr/>
            <p:nvPr/>
          </p:nvPicPr>
          <p:blipFill>
            <a:blip r:embed="rId54" cstate="screen">
              <a:extLst>
                <a:ext uri="{28A0092B-C50C-407E-A947-70E740481C1C}">
                  <a14:useLocalDpi xmlns:a14="http://schemas.microsoft.com/office/drawing/2010/main"/>
                </a:ext>
              </a:extLst>
            </a:blip>
            <a:stretch>
              <a:fillRect/>
            </a:stretch>
          </p:blipFill>
          <p:spPr>
            <a:xfrm>
              <a:off x="9958451" y="4084066"/>
              <a:ext cx="834809" cy="228600"/>
            </a:xfrm>
            <a:prstGeom prst="rect">
              <a:avLst/>
            </a:prstGeom>
          </p:spPr>
        </p:pic>
        <p:pic>
          <p:nvPicPr>
            <p:cNvPr id="75" name="object 75"/>
            <p:cNvPicPr/>
            <p:nvPr/>
          </p:nvPicPr>
          <p:blipFill>
            <a:blip r:embed="rId55" cstate="screen">
              <a:extLst>
                <a:ext uri="{28A0092B-C50C-407E-A947-70E740481C1C}">
                  <a14:useLocalDpi xmlns:a14="http://schemas.microsoft.com/office/drawing/2010/main"/>
                </a:ext>
              </a:extLst>
            </a:blip>
            <a:stretch>
              <a:fillRect/>
            </a:stretch>
          </p:blipFill>
          <p:spPr>
            <a:xfrm>
              <a:off x="10709783" y="4035297"/>
              <a:ext cx="103631" cy="292607"/>
            </a:xfrm>
            <a:prstGeom prst="rect">
              <a:avLst/>
            </a:prstGeom>
          </p:spPr>
        </p:pic>
        <p:sp>
          <p:nvSpPr>
            <p:cNvPr id="76" name="object 76"/>
            <p:cNvSpPr/>
            <p:nvPr/>
          </p:nvSpPr>
          <p:spPr>
            <a:xfrm>
              <a:off x="8051291" y="3640836"/>
              <a:ext cx="779145" cy="279400"/>
            </a:xfrm>
            <a:custGeom>
              <a:avLst/>
              <a:gdLst/>
              <a:ahLst/>
              <a:cxnLst/>
              <a:rect l="l" t="t" r="r" b="b"/>
              <a:pathLst>
                <a:path w="779145" h="279400">
                  <a:moveTo>
                    <a:pt x="639317" y="0"/>
                  </a:moveTo>
                  <a:lnTo>
                    <a:pt x="639317" y="69722"/>
                  </a:lnTo>
                  <a:lnTo>
                    <a:pt x="0" y="69722"/>
                  </a:lnTo>
                  <a:lnTo>
                    <a:pt x="0" y="209169"/>
                  </a:lnTo>
                  <a:lnTo>
                    <a:pt x="639317" y="209169"/>
                  </a:lnTo>
                  <a:lnTo>
                    <a:pt x="639317" y="278891"/>
                  </a:lnTo>
                  <a:lnTo>
                    <a:pt x="778763" y="139445"/>
                  </a:lnTo>
                  <a:lnTo>
                    <a:pt x="639317" y="0"/>
                  </a:lnTo>
                  <a:close/>
                </a:path>
              </a:pathLst>
            </a:custGeom>
            <a:solidFill>
              <a:srgbClr val="8FD9C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77" name="object 77"/>
          <p:cNvGrpSpPr/>
          <p:nvPr/>
        </p:nvGrpSpPr>
        <p:grpSpPr>
          <a:xfrm>
            <a:off x="6495288" y="4674025"/>
            <a:ext cx="5459095" cy="1346200"/>
            <a:chOff x="6495288" y="4674025"/>
            <a:chExt cx="5459095" cy="1346200"/>
          </a:xfrm>
        </p:grpSpPr>
        <p:sp>
          <p:nvSpPr>
            <p:cNvPr id="78" name="object 78"/>
            <p:cNvSpPr/>
            <p:nvPr/>
          </p:nvSpPr>
          <p:spPr>
            <a:xfrm>
              <a:off x="6495288" y="4683251"/>
              <a:ext cx="1556385" cy="1243965"/>
            </a:xfrm>
            <a:custGeom>
              <a:avLst/>
              <a:gdLst/>
              <a:ahLst/>
              <a:cxnLst/>
              <a:rect l="l" t="t" r="r" b="b"/>
              <a:pathLst>
                <a:path w="1556384" h="1243964">
                  <a:moveTo>
                    <a:pt x="1348739" y="0"/>
                  </a:moveTo>
                  <a:lnTo>
                    <a:pt x="207263" y="0"/>
                  </a:lnTo>
                  <a:lnTo>
                    <a:pt x="159753" y="5476"/>
                  </a:lnTo>
                  <a:lnTo>
                    <a:pt x="116132" y="21073"/>
                  </a:lnTo>
                  <a:lnTo>
                    <a:pt x="77648" y="45546"/>
                  </a:lnTo>
                  <a:lnTo>
                    <a:pt x="45546" y="77648"/>
                  </a:lnTo>
                  <a:lnTo>
                    <a:pt x="21073" y="116132"/>
                  </a:lnTo>
                  <a:lnTo>
                    <a:pt x="5476" y="159753"/>
                  </a:lnTo>
                  <a:lnTo>
                    <a:pt x="0" y="207264"/>
                  </a:lnTo>
                  <a:lnTo>
                    <a:pt x="0" y="1036320"/>
                  </a:lnTo>
                  <a:lnTo>
                    <a:pt x="5476" y="1083842"/>
                  </a:lnTo>
                  <a:lnTo>
                    <a:pt x="21073" y="1127467"/>
                  </a:lnTo>
                  <a:lnTo>
                    <a:pt x="45546" y="1165951"/>
                  </a:lnTo>
                  <a:lnTo>
                    <a:pt x="77648" y="1198049"/>
                  </a:lnTo>
                  <a:lnTo>
                    <a:pt x="116132" y="1222516"/>
                  </a:lnTo>
                  <a:lnTo>
                    <a:pt x="159753" y="1238109"/>
                  </a:lnTo>
                  <a:lnTo>
                    <a:pt x="207263" y="1243584"/>
                  </a:lnTo>
                  <a:lnTo>
                    <a:pt x="1348739" y="1243584"/>
                  </a:lnTo>
                  <a:lnTo>
                    <a:pt x="1396250" y="1238109"/>
                  </a:lnTo>
                  <a:lnTo>
                    <a:pt x="1439871" y="1222516"/>
                  </a:lnTo>
                  <a:lnTo>
                    <a:pt x="1478355" y="1198049"/>
                  </a:lnTo>
                  <a:lnTo>
                    <a:pt x="1510457" y="1165951"/>
                  </a:lnTo>
                  <a:lnTo>
                    <a:pt x="1534930" y="1127467"/>
                  </a:lnTo>
                  <a:lnTo>
                    <a:pt x="1550527" y="1083842"/>
                  </a:lnTo>
                  <a:lnTo>
                    <a:pt x="1556004" y="1036320"/>
                  </a:lnTo>
                  <a:lnTo>
                    <a:pt x="1556004" y="207264"/>
                  </a:lnTo>
                  <a:lnTo>
                    <a:pt x="1550527" y="159753"/>
                  </a:lnTo>
                  <a:lnTo>
                    <a:pt x="1534930" y="116132"/>
                  </a:lnTo>
                  <a:lnTo>
                    <a:pt x="1510457" y="77648"/>
                  </a:lnTo>
                  <a:lnTo>
                    <a:pt x="1478355" y="45546"/>
                  </a:lnTo>
                  <a:lnTo>
                    <a:pt x="1439871" y="21073"/>
                  </a:lnTo>
                  <a:lnTo>
                    <a:pt x="1396250" y="5476"/>
                  </a:lnTo>
                  <a:lnTo>
                    <a:pt x="1348739" y="0"/>
                  </a:lnTo>
                  <a:close/>
                </a:path>
              </a:pathLst>
            </a:custGeom>
            <a:solidFill>
              <a:srgbClr val="E7E6E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79" name="object 79"/>
            <p:cNvPicPr/>
            <p:nvPr/>
          </p:nvPicPr>
          <p:blipFill>
            <a:blip r:embed="rId56" cstate="screen">
              <a:extLst>
                <a:ext uri="{28A0092B-C50C-407E-A947-70E740481C1C}">
                  <a14:useLocalDpi xmlns:a14="http://schemas.microsoft.com/office/drawing/2010/main"/>
                </a:ext>
              </a:extLst>
            </a:blip>
            <a:stretch>
              <a:fillRect/>
            </a:stretch>
          </p:blipFill>
          <p:spPr>
            <a:xfrm>
              <a:off x="6711950" y="4831968"/>
              <a:ext cx="1286763" cy="326136"/>
            </a:xfrm>
            <a:prstGeom prst="rect">
              <a:avLst/>
            </a:prstGeom>
          </p:spPr>
        </p:pic>
        <p:pic>
          <p:nvPicPr>
            <p:cNvPr id="80" name="object 80"/>
            <p:cNvPicPr/>
            <p:nvPr/>
          </p:nvPicPr>
          <p:blipFill>
            <a:blip r:embed="rId57" cstate="screen">
              <a:extLst>
                <a:ext uri="{28A0092B-C50C-407E-A947-70E740481C1C}">
                  <a14:useLocalDpi xmlns:a14="http://schemas.microsoft.com/office/drawing/2010/main"/>
                </a:ext>
              </a:extLst>
            </a:blip>
            <a:stretch>
              <a:fillRect/>
            </a:stretch>
          </p:blipFill>
          <p:spPr>
            <a:xfrm>
              <a:off x="6829298" y="5136845"/>
              <a:ext cx="1039368" cy="326440"/>
            </a:xfrm>
            <a:prstGeom prst="rect">
              <a:avLst/>
            </a:prstGeom>
          </p:spPr>
        </p:pic>
        <p:pic>
          <p:nvPicPr>
            <p:cNvPr id="81" name="object 81"/>
            <p:cNvPicPr/>
            <p:nvPr/>
          </p:nvPicPr>
          <p:blipFill>
            <a:blip r:embed="rId58" cstate="screen">
              <a:extLst>
                <a:ext uri="{28A0092B-C50C-407E-A947-70E740481C1C}">
                  <a14:useLocalDpi xmlns:a14="http://schemas.microsoft.com/office/drawing/2010/main"/>
                </a:ext>
              </a:extLst>
            </a:blip>
            <a:stretch>
              <a:fillRect/>
            </a:stretch>
          </p:blipFill>
          <p:spPr>
            <a:xfrm>
              <a:off x="7009130" y="5441899"/>
              <a:ext cx="636422" cy="326135"/>
            </a:xfrm>
            <a:prstGeom prst="rect">
              <a:avLst/>
            </a:prstGeom>
          </p:spPr>
        </p:pic>
        <p:pic>
          <p:nvPicPr>
            <p:cNvPr id="82" name="object 82"/>
            <p:cNvPicPr/>
            <p:nvPr/>
          </p:nvPicPr>
          <p:blipFill>
            <a:blip r:embed="rId59" cstate="print"/>
            <a:stretch>
              <a:fillRect/>
            </a:stretch>
          </p:blipFill>
          <p:spPr>
            <a:xfrm>
              <a:off x="8813278" y="4674025"/>
              <a:ext cx="3140990" cy="1319907"/>
            </a:xfrm>
            <a:prstGeom prst="rect">
              <a:avLst/>
            </a:prstGeom>
          </p:spPr>
        </p:pic>
        <p:pic>
          <p:nvPicPr>
            <p:cNvPr id="83" name="object 83"/>
            <p:cNvPicPr/>
            <p:nvPr/>
          </p:nvPicPr>
          <p:blipFill>
            <a:blip r:embed="rId60" cstate="print"/>
            <a:stretch>
              <a:fillRect/>
            </a:stretch>
          </p:blipFill>
          <p:spPr>
            <a:xfrm>
              <a:off x="8881872" y="4690871"/>
              <a:ext cx="3041904" cy="1328927"/>
            </a:xfrm>
            <a:prstGeom prst="rect">
              <a:avLst/>
            </a:prstGeom>
          </p:spPr>
        </p:pic>
        <p:sp>
          <p:nvSpPr>
            <p:cNvPr id="84" name="object 84"/>
            <p:cNvSpPr/>
            <p:nvPr/>
          </p:nvSpPr>
          <p:spPr>
            <a:xfrm>
              <a:off x="8830055" y="4681727"/>
              <a:ext cx="3057525" cy="1245235"/>
            </a:xfrm>
            <a:custGeom>
              <a:avLst/>
              <a:gdLst/>
              <a:ahLst/>
              <a:cxnLst/>
              <a:rect l="l" t="t" r="r" b="b"/>
              <a:pathLst>
                <a:path w="3057525" h="1245235">
                  <a:moveTo>
                    <a:pt x="2849626" y="0"/>
                  </a:moveTo>
                  <a:lnTo>
                    <a:pt x="207518" y="0"/>
                  </a:lnTo>
                  <a:lnTo>
                    <a:pt x="159953" y="5483"/>
                  </a:lnTo>
                  <a:lnTo>
                    <a:pt x="116280" y="21101"/>
                  </a:lnTo>
                  <a:lnTo>
                    <a:pt x="77749" y="45606"/>
                  </a:lnTo>
                  <a:lnTo>
                    <a:pt x="45606" y="77749"/>
                  </a:lnTo>
                  <a:lnTo>
                    <a:pt x="21101" y="116280"/>
                  </a:lnTo>
                  <a:lnTo>
                    <a:pt x="5483" y="159953"/>
                  </a:lnTo>
                  <a:lnTo>
                    <a:pt x="0" y="207518"/>
                  </a:lnTo>
                  <a:lnTo>
                    <a:pt x="0" y="1037590"/>
                  </a:lnTo>
                  <a:lnTo>
                    <a:pt x="5483" y="1085170"/>
                  </a:lnTo>
                  <a:lnTo>
                    <a:pt x="21101" y="1128849"/>
                  </a:lnTo>
                  <a:lnTo>
                    <a:pt x="45606" y="1167380"/>
                  </a:lnTo>
                  <a:lnTo>
                    <a:pt x="77749" y="1199517"/>
                  </a:lnTo>
                  <a:lnTo>
                    <a:pt x="116280" y="1224014"/>
                  </a:lnTo>
                  <a:lnTo>
                    <a:pt x="159953" y="1239627"/>
                  </a:lnTo>
                  <a:lnTo>
                    <a:pt x="207518" y="1245108"/>
                  </a:lnTo>
                  <a:lnTo>
                    <a:pt x="2849626" y="1245108"/>
                  </a:lnTo>
                  <a:lnTo>
                    <a:pt x="2897190" y="1239627"/>
                  </a:lnTo>
                  <a:lnTo>
                    <a:pt x="2940863" y="1224014"/>
                  </a:lnTo>
                  <a:lnTo>
                    <a:pt x="2979394" y="1199517"/>
                  </a:lnTo>
                  <a:lnTo>
                    <a:pt x="3011537" y="1167380"/>
                  </a:lnTo>
                  <a:lnTo>
                    <a:pt x="3036042" y="1128849"/>
                  </a:lnTo>
                  <a:lnTo>
                    <a:pt x="3051660" y="1085170"/>
                  </a:lnTo>
                  <a:lnTo>
                    <a:pt x="3057144" y="1037590"/>
                  </a:lnTo>
                  <a:lnTo>
                    <a:pt x="3057144" y="207518"/>
                  </a:lnTo>
                  <a:lnTo>
                    <a:pt x="3051660" y="159953"/>
                  </a:lnTo>
                  <a:lnTo>
                    <a:pt x="3036042" y="116280"/>
                  </a:lnTo>
                  <a:lnTo>
                    <a:pt x="3011537" y="77749"/>
                  </a:lnTo>
                  <a:lnTo>
                    <a:pt x="2979394" y="45606"/>
                  </a:lnTo>
                  <a:lnTo>
                    <a:pt x="2940863" y="21101"/>
                  </a:lnTo>
                  <a:lnTo>
                    <a:pt x="2897190" y="5483"/>
                  </a:lnTo>
                  <a:lnTo>
                    <a:pt x="2849626"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85" name="object 85"/>
            <p:cNvPicPr/>
            <p:nvPr/>
          </p:nvPicPr>
          <p:blipFill>
            <a:blip r:embed="rId61" cstate="screen">
              <a:extLst>
                <a:ext uri="{28A0092B-C50C-407E-A947-70E740481C1C}">
                  <a14:useLocalDpi xmlns:a14="http://schemas.microsoft.com/office/drawing/2010/main"/>
                </a:ext>
              </a:extLst>
            </a:blip>
            <a:stretch>
              <a:fillRect/>
            </a:stretch>
          </p:blipFill>
          <p:spPr>
            <a:xfrm>
              <a:off x="9016619" y="4759451"/>
              <a:ext cx="510285" cy="228600"/>
            </a:xfrm>
            <a:prstGeom prst="rect">
              <a:avLst/>
            </a:prstGeom>
          </p:spPr>
        </p:pic>
        <p:pic>
          <p:nvPicPr>
            <p:cNvPr id="86" name="object 86"/>
            <p:cNvPicPr/>
            <p:nvPr/>
          </p:nvPicPr>
          <p:blipFill>
            <a:blip r:embed="rId62" cstate="screen">
              <a:extLst>
                <a:ext uri="{28A0092B-C50C-407E-A947-70E740481C1C}">
                  <a14:useLocalDpi xmlns:a14="http://schemas.microsoft.com/office/drawing/2010/main"/>
                </a:ext>
              </a:extLst>
            </a:blip>
            <a:stretch>
              <a:fillRect/>
            </a:stretch>
          </p:blipFill>
          <p:spPr>
            <a:xfrm>
              <a:off x="9454007" y="4759451"/>
              <a:ext cx="112775" cy="228600"/>
            </a:xfrm>
            <a:prstGeom prst="rect">
              <a:avLst/>
            </a:prstGeom>
          </p:spPr>
        </p:pic>
        <p:pic>
          <p:nvPicPr>
            <p:cNvPr id="87" name="object 87"/>
            <p:cNvPicPr/>
            <p:nvPr/>
          </p:nvPicPr>
          <p:blipFill>
            <a:blip r:embed="rId63" cstate="screen">
              <a:extLst>
                <a:ext uri="{28A0092B-C50C-407E-A947-70E740481C1C}">
                  <a14:useLocalDpi xmlns:a14="http://schemas.microsoft.com/office/drawing/2010/main"/>
                </a:ext>
              </a:extLst>
            </a:blip>
            <a:stretch>
              <a:fillRect/>
            </a:stretch>
          </p:blipFill>
          <p:spPr>
            <a:xfrm>
              <a:off x="9510395" y="4759451"/>
              <a:ext cx="2307335" cy="228600"/>
            </a:xfrm>
            <a:prstGeom prst="rect">
              <a:avLst/>
            </a:prstGeom>
          </p:spPr>
        </p:pic>
        <p:pic>
          <p:nvPicPr>
            <p:cNvPr id="88" name="object 88"/>
            <p:cNvPicPr/>
            <p:nvPr/>
          </p:nvPicPr>
          <p:blipFill>
            <a:blip r:embed="rId64" cstate="screen">
              <a:extLst>
                <a:ext uri="{28A0092B-C50C-407E-A947-70E740481C1C}">
                  <a14:useLocalDpi xmlns:a14="http://schemas.microsoft.com/office/drawing/2010/main"/>
                </a:ext>
              </a:extLst>
            </a:blip>
            <a:stretch>
              <a:fillRect/>
            </a:stretch>
          </p:blipFill>
          <p:spPr>
            <a:xfrm>
              <a:off x="9112630" y="4972811"/>
              <a:ext cx="2606675" cy="228600"/>
            </a:xfrm>
            <a:prstGeom prst="rect">
              <a:avLst/>
            </a:prstGeom>
          </p:spPr>
        </p:pic>
        <p:pic>
          <p:nvPicPr>
            <p:cNvPr id="89" name="object 89"/>
            <p:cNvPicPr/>
            <p:nvPr/>
          </p:nvPicPr>
          <p:blipFill>
            <a:blip r:embed="rId65" cstate="screen">
              <a:extLst>
                <a:ext uri="{28A0092B-C50C-407E-A947-70E740481C1C}">
                  <a14:useLocalDpi xmlns:a14="http://schemas.microsoft.com/office/drawing/2010/main"/>
                </a:ext>
              </a:extLst>
            </a:blip>
            <a:stretch>
              <a:fillRect/>
            </a:stretch>
          </p:blipFill>
          <p:spPr>
            <a:xfrm>
              <a:off x="9283319" y="5186171"/>
              <a:ext cx="2261870" cy="228599"/>
            </a:xfrm>
            <a:prstGeom prst="rect">
              <a:avLst/>
            </a:prstGeom>
          </p:spPr>
        </p:pic>
        <p:pic>
          <p:nvPicPr>
            <p:cNvPr id="90" name="object 90"/>
            <p:cNvPicPr/>
            <p:nvPr/>
          </p:nvPicPr>
          <p:blipFill>
            <a:blip r:embed="rId66" cstate="screen">
              <a:extLst>
                <a:ext uri="{28A0092B-C50C-407E-A947-70E740481C1C}">
                  <a14:useLocalDpi xmlns:a14="http://schemas.microsoft.com/office/drawing/2010/main"/>
                </a:ext>
              </a:extLst>
            </a:blip>
            <a:stretch>
              <a:fillRect/>
            </a:stretch>
          </p:blipFill>
          <p:spPr>
            <a:xfrm>
              <a:off x="9252839" y="5399531"/>
              <a:ext cx="2323846" cy="228600"/>
            </a:xfrm>
            <a:prstGeom prst="rect">
              <a:avLst/>
            </a:prstGeom>
          </p:spPr>
        </p:pic>
        <p:pic>
          <p:nvPicPr>
            <p:cNvPr id="91" name="object 91"/>
            <p:cNvPicPr/>
            <p:nvPr/>
          </p:nvPicPr>
          <p:blipFill>
            <a:blip r:embed="rId67" cstate="screen">
              <a:extLst>
                <a:ext uri="{28A0092B-C50C-407E-A947-70E740481C1C}">
                  <a14:useLocalDpi xmlns:a14="http://schemas.microsoft.com/office/drawing/2010/main"/>
                </a:ext>
              </a:extLst>
            </a:blip>
            <a:stretch>
              <a:fillRect/>
            </a:stretch>
          </p:blipFill>
          <p:spPr>
            <a:xfrm>
              <a:off x="10068178" y="5612891"/>
              <a:ext cx="648550" cy="228904"/>
            </a:xfrm>
            <a:prstGeom prst="rect">
              <a:avLst/>
            </a:prstGeom>
          </p:spPr>
        </p:pic>
        <p:sp>
          <p:nvSpPr>
            <p:cNvPr id="92" name="object 92"/>
            <p:cNvSpPr/>
            <p:nvPr/>
          </p:nvSpPr>
          <p:spPr>
            <a:xfrm>
              <a:off x="8051291" y="5170931"/>
              <a:ext cx="779145" cy="279400"/>
            </a:xfrm>
            <a:custGeom>
              <a:avLst/>
              <a:gdLst/>
              <a:ahLst/>
              <a:cxnLst/>
              <a:rect l="l" t="t" r="r" b="b"/>
              <a:pathLst>
                <a:path w="779145" h="279400">
                  <a:moveTo>
                    <a:pt x="639317" y="0"/>
                  </a:moveTo>
                  <a:lnTo>
                    <a:pt x="639317" y="69723"/>
                  </a:lnTo>
                  <a:lnTo>
                    <a:pt x="0" y="69723"/>
                  </a:lnTo>
                  <a:lnTo>
                    <a:pt x="0" y="209169"/>
                  </a:lnTo>
                  <a:lnTo>
                    <a:pt x="639317" y="209169"/>
                  </a:lnTo>
                  <a:lnTo>
                    <a:pt x="639317" y="278892"/>
                  </a:lnTo>
                  <a:lnTo>
                    <a:pt x="778763" y="139446"/>
                  </a:lnTo>
                  <a:lnTo>
                    <a:pt x="639317" y="0"/>
                  </a:lnTo>
                  <a:close/>
                </a:path>
              </a:pathLst>
            </a:custGeom>
            <a:solidFill>
              <a:srgbClr val="8FD9C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object 3"/>
          <p:cNvGrpSpPr/>
          <p:nvPr/>
        </p:nvGrpSpPr>
        <p:grpSpPr>
          <a:xfrm>
            <a:off x="0" y="0"/>
            <a:ext cx="12192000" cy="6811009"/>
            <a:chOff x="0" y="0"/>
            <a:chExt cx="12192000" cy="6811009"/>
          </a:xfrm>
        </p:grpSpPr>
        <p:sp>
          <p:nvSpPr>
            <p:cNvPr id="4" name="object 4"/>
            <p:cNvSpPr/>
            <p:nvPr/>
          </p:nvSpPr>
          <p:spPr>
            <a:xfrm>
              <a:off x="10653207" y="238185"/>
              <a:ext cx="26034" cy="111125"/>
            </a:xfrm>
            <a:custGeom>
              <a:avLst/>
              <a:gdLst/>
              <a:ahLst/>
              <a:cxnLst/>
              <a:rect l="l" t="t" r="r" b="b"/>
              <a:pathLst>
                <a:path w="26034" h="111125">
                  <a:moveTo>
                    <a:pt x="25573" y="0"/>
                  </a:moveTo>
                  <a:lnTo>
                    <a:pt x="0" y="0"/>
                  </a:lnTo>
                  <a:lnTo>
                    <a:pt x="0" y="110701"/>
                  </a:lnTo>
                  <a:lnTo>
                    <a:pt x="25574" y="110701"/>
                  </a:lnTo>
                  <a:lnTo>
                    <a:pt x="25573"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5" name="object 5"/>
            <p:cNvPicPr/>
            <p:nvPr/>
          </p:nvPicPr>
          <p:blipFill>
            <a:blip r:embed="rId2" cstate="screen">
              <a:extLst>
                <a:ext uri="{28A0092B-C50C-407E-A947-70E740481C1C}">
                  <a14:useLocalDpi xmlns:a14="http://schemas.microsoft.com/office/drawing/2010/main"/>
                </a:ext>
              </a:extLst>
            </a:blip>
            <a:stretch>
              <a:fillRect/>
            </a:stretch>
          </p:blipFill>
          <p:spPr>
            <a:xfrm>
              <a:off x="10703231" y="238185"/>
              <a:ext cx="107561" cy="110701"/>
            </a:xfrm>
            <a:prstGeom prst="rect">
              <a:avLst/>
            </a:prstGeom>
          </p:spPr>
        </p:pic>
        <p:sp>
          <p:nvSpPr>
            <p:cNvPr id="6" name="object 6"/>
            <p:cNvSpPr/>
            <p:nvPr/>
          </p:nvSpPr>
          <p:spPr>
            <a:xfrm>
              <a:off x="10834853" y="235546"/>
              <a:ext cx="948690" cy="116205"/>
            </a:xfrm>
            <a:custGeom>
              <a:avLst/>
              <a:gdLst/>
              <a:ahLst/>
              <a:cxnLst/>
              <a:rect l="l" t="t" r="r" b="b"/>
              <a:pathLst>
                <a:path w="948690" h="116204">
                  <a:moveTo>
                    <a:pt x="61328" y="2273"/>
                  </a:moveTo>
                  <a:lnTo>
                    <a:pt x="0" y="2273"/>
                  </a:lnTo>
                  <a:lnTo>
                    <a:pt x="0" y="23901"/>
                  </a:lnTo>
                  <a:lnTo>
                    <a:pt x="0" y="45542"/>
                  </a:lnTo>
                  <a:lnTo>
                    <a:pt x="0" y="67183"/>
                  </a:lnTo>
                  <a:lnTo>
                    <a:pt x="0" y="113004"/>
                  </a:lnTo>
                  <a:lnTo>
                    <a:pt x="25628" y="113004"/>
                  </a:lnTo>
                  <a:lnTo>
                    <a:pt x="25628" y="67183"/>
                  </a:lnTo>
                  <a:lnTo>
                    <a:pt x="58724" y="67183"/>
                  </a:lnTo>
                  <a:lnTo>
                    <a:pt x="58724" y="45542"/>
                  </a:lnTo>
                  <a:lnTo>
                    <a:pt x="25628" y="45542"/>
                  </a:lnTo>
                  <a:lnTo>
                    <a:pt x="25628" y="23901"/>
                  </a:lnTo>
                  <a:lnTo>
                    <a:pt x="61328" y="23901"/>
                  </a:lnTo>
                  <a:lnTo>
                    <a:pt x="61328" y="2273"/>
                  </a:lnTo>
                  <a:close/>
                </a:path>
                <a:path w="948690" h="116204">
                  <a:moveTo>
                    <a:pt x="166281" y="113347"/>
                  </a:moveTo>
                  <a:lnTo>
                    <a:pt x="133565" y="69519"/>
                  </a:lnTo>
                  <a:lnTo>
                    <a:pt x="132435" y="68008"/>
                  </a:lnTo>
                  <a:lnTo>
                    <a:pt x="138455" y="66497"/>
                  </a:lnTo>
                  <a:lnTo>
                    <a:pt x="144068" y="63093"/>
                  </a:lnTo>
                  <a:lnTo>
                    <a:pt x="147828" y="59321"/>
                  </a:lnTo>
                  <a:lnTo>
                    <a:pt x="154609" y="52895"/>
                  </a:lnTo>
                  <a:lnTo>
                    <a:pt x="155003" y="52514"/>
                  </a:lnTo>
                  <a:lnTo>
                    <a:pt x="156502" y="43827"/>
                  </a:lnTo>
                  <a:lnTo>
                    <a:pt x="156502" y="37033"/>
                  </a:lnTo>
                  <a:lnTo>
                    <a:pt x="155613" y="28511"/>
                  </a:lnTo>
                  <a:lnTo>
                    <a:pt x="153543" y="22288"/>
                  </a:lnTo>
                  <a:lnTo>
                    <a:pt x="153314" y="21590"/>
                  </a:lnTo>
                  <a:lnTo>
                    <a:pt x="130530" y="4064"/>
                  </a:lnTo>
                  <a:lnTo>
                    <a:pt x="130530" y="30988"/>
                  </a:lnTo>
                  <a:lnTo>
                    <a:pt x="130530" y="42697"/>
                  </a:lnTo>
                  <a:lnTo>
                    <a:pt x="128270" y="46088"/>
                  </a:lnTo>
                  <a:lnTo>
                    <a:pt x="126415" y="47980"/>
                  </a:lnTo>
                  <a:lnTo>
                    <a:pt x="122262" y="52514"/>
                  </a:lnTo>
                  <a:lnTo>
                    <a:pt x="115887" y="52895"/>
                  </a:lnTo>
                  <a:lnTo>
                    <a:pt x="105359" y="52895"/>
                  </a:lnTo>
                  <a:lnTo>
                    <a:pt x="105359" y="22288"/>
                  </a:lnTo>
                  <a:lnTo>
                    <a:pt x="114731" y="22288"/>
                  </a:lnTo>
                  <a:lnTo>
                    <a:pt x="121158" y="22669"/>
                  </a:lnTo>
                  <a:lnTo>
                    <a:pt x="125260" y="26073"/>
                  </a:lnTo>
                  <a:lnTo>
                    <a:pt x="127520" y="27584"/>
                  </a:lnTo>
                  <a:lnTo>
                    <a:pt x="130530" y="30988"/>
                  </a:lnTo>
                  <a:lnTo>
                    <a:pt x="130530" y="4064"/>
                  </a:lnTo>
                  <a:lnTo>
                    <a:pt x="128193" y="3429"/>
                  </a:lnTo>
                  <a:lnTo>
                    <a:pt x="118491" y="2641"/>
                  </a:lnTo>
                  <a:lnTo>
                    <a:pt x="80137" y="2641"/>
                  </a:lnTo>
                  <a:lnTo>
                    <a:pt x="80137" y="113347"/>
                  </a:lnTo>
                  <a:lnTo>
                    <a:pt x="105359" y="113347"/>
                  </a:lnTo>
                  <a:lnTo>
                    <a:pt x="105359" y="69519"/>
                  </a:lnTo>
                  <a:lnTo>
                    <a:pt x="135039" y="113347"/>
                  </a:lnTo>
                  <a:lnTo>
                    <a:pt x="166281" y="113347"/>
                  </a:lnTo>
                  <a:close/>
                </a:path>
                <a:path w="948690" h="116204">
                  <a:moveTo>
                    <a:pt x="281762" y="113347"/>
                  </a:moveTo>
                  <a:lnTo>
                    <a:pt x="273583" y="92570"/>
                  </a:lnTo>
                  <a:lnTo>
                    <a:pt x="265836" y="72923"/>
                  </a:lnTo>
                  <a:lnTo>
                    <a:pt x="251091" y="35521"/>
                  </a:lnTo>
                  <a:lnTo>
                    <a:pt x="239991" y="7353"/>
                  </a:lnTo>
                  <a:lnTo>
                    <a:pt x="239991" y="72923"/>
                  </a:lnTo>
                  <a:lnTo>
                    <a:pt x="212915" y="72923"/>
                  </a:lnTo>
                  <a:lnTo>
                    <a:pt x="226453" y="35521"/>
                  </a:lnTo>
                  <a:lnTo>
                    <a:pt x="239991" y="72923"/>
                  </a:lnTo>
                  <a:lnTo>
                    <a:pt x="239991" y="7353"/>
                  </a:lnTo>
                  <a:lnTo>
                    <a:pt x="238137" y="2641"/>
                  </a:lnTo>
                  <a:lnTo>
                    <a:pt x="214820" y="2641"/>
                  </a:lnTo>
                  <a:lnTo>
                    <a:pt x="170395" y="113347"/>
                  </a:lnTo>
                  <a:lnTo>
                    <a:pt x="196773" y="113347"/>
                  </a:lnTo>
                  <a:lnTo>
                    <a:pt x="205397" y="92570"/>
                  </a:lnTo>
                  <a:lnTo>
                    <a:pt x="247167" y="92570"/>
                  </a:lnTo>
                  <a:lnTo>
                    <a:pt x="255447" y="113347"/>
                  </a:lnTo>
                  <a:lnTo>
                    <a:pt x="281762" y="113347"/>
                  </a:lnTo>
                  <a:close/>
                </a:path>
                <a:path w="948690" h="116204">
                  <a:moveTo>
                    <a:pt x="366763" y="70650"/>
                  </a:moveTo>
                  <a:lnTo>
                    <a:pt x="365264" y="62712"/>
                  </a:lnTo>
                  <a:lnTo>
                    <a:pt x="358495" y="56680"/>
                  </a:lnTo>
                  <a:lnTo>
                    <a:pt x="354380" y="52514"/>
                  </a:lnTo>
                  <a:lnTo>
                    <a:pt x="348361" y="49872"/>
                  </a:lnTo>
                  <a:lnTo>
                    <a:pt x="343446" y="47980"/>
                  </a:lnTo>
                  <a:lnTo>
                    <a:pt x="335178" y="44958"/>
                  </a:lnTo>
                  <a:lnTo>
                    <a:pt x="328002" y="41935"/>
                  </a:lnTo>
                  <a:lnTo>
                    <a:pt x="323888" y="41186"/>
                  </a:lnTo>
                  <a:lnTo>
                    <a:pt x="319722" y="37033"/>
                  </a:lnTo>
                  <a:lnTo>
                    <a:pt x="318973" y="35140"/>
                  </a:lnTo>
                  <a:lnTo>
                    <a:pt x="318973" y="29476"/>
                  </a:lnTo>
                  <a:lnTo>
                    <a:pt x="320128" y="27203"/>
                  </a:lnTo>
                  <a:lnTo>
                    <a:pt x="321627" y="25311"/>
                  </a:lnTo>
                  <a:lnTo>
                    <a:pt x="324637" y="22288"/>
                  </a:lnTo>
                  <a:lnTo>
                    <a:pt x="329158" y="21539"/>
                  </a:lnTo>
                  <a:lnTo>
                    <a:pt x="335521" y="21539"/>
                  </a:lnTo>
                  <a:lnTo>
                    <a:pt x="342696" y="22288"/>
                  </a:lnTo>
                  <a:lnTo>
                    <a:pt x="350964" y="29476"/>
                  </a:lnTo>
                  <a:lnTo>
                    <a:pt x="362254" y="10960"/>
                  </a:lnTo>
                  <a:lnTo>
                    <a:pt x="352856" y="5257"/>
                  </a:lnTo>
                  <a:lnTo>
                    <a:pt x="344055" y="1943"/>
                  </a:lnTo>
                  <a:lnTo>
                    <a:pt x="336169" y="381"/>
                  </a:lnTo>
                  <a:lnTo>
                    <a:pt x="329501" y="0"/>
                  </a:lnTo>
                  <a:lnTo>
                    <a:pt x="322110" y="482"/>
                  </a:lnTo>
                  <a:lnTo>
                    <a:pt x="293230" y="28054"/>
                  </a:lnTo>
                  <a:lnTo>
                    <a:pt x="292646" y="35140"/>
                  </a:lnTo>
                  <a:lnTo>
                    <a:pt x="292646" y="40424"/>
                  </a:lnTo>
                  <a:lnTo>
                    <a:pt x="293801" y="48361"/>
                  </a:lnTo>
                  <a:lnTo>
                    <a:pt x="303580" y="58940"/>
                  </a:lnTo>
                  <a:lnTo>
                    <a:pt x="314858" y="63093"/>
                  </a:lnTo>
                  <a:lnTo>
                    <a:pt x="326898" y="67627"/>
                  </a:lnTo>
                  <a:lnTo>
                    <a:pt x="333667" y="69900"/>
                  </a:lnTo>
                  <a:lnTo>
                    <a:pt x="338937" y="74434"/>
                  </a:lnTo>
                  <a:lnTo>
                    <a:pt x="340436" y="76695"/>
                  </a:lnTo>
                  <a:lnTo>
                    <a:pt x="340436" y="84632"/>
                  </a:lnTo>
                  <a:lnTo>
                    <a:pt x="338937" y="87655"/>
                  </a:lnTo>
                  <a:lnTo>
                    <a:pt x="332917" y="92570"/>
                  </a:lnTo>
                  <a:lnTo>
                    <a:pt x="328409" y="93319"/>
                  </a:lnTo>
                  <a:lnTo>
                    <a:pt x="320128" y="93319"/>
                  </a:lnTo>
                  <a:lnTo>
                    <a:pt x="300926" y="80848"/>
                  </a:lnTo>
                  <a:lnTo>
                    <a:pt x="287782" y="98983"/>
                  </a:lnTo>
                  <a:lnTo>
                    <a:pt x="291896" y="103136"/>
                  </a:lnTo>
                  <a:lnTo>
                    <a:pt x="298310" y="108432"/>
                  </a:lnTo>
                  <a:lnTo>
                    <a:pt x="303936" y="111074"/>
                  </a:lnTo>
                  <a:lnTo>
                    <a:pt x="310705" y="114477"/>
                  </a:lnTo>
                  <a:lnTo>
                    <a:pt x="317868" y="115989"/>
                  </a:lnTo>
                  <a:lnTo>
                    <a:pt x="325742" y="115989"/>
                  </a:lnTo>
                  <a:lnTo>
                    <a:pt x="360908" y="99390"/>
                  </a:lnTo>
                  <a:lnTo>
                    <a:pt x="366763" y="77076"/>
                  </a:lnTo>
                  <a:lnTo>
                    <a:pt x="366763" y="70650"/>
                  </a:lnTo>
                  <a:close/>
                </a:path>
                <a:path w="948690" h="116204">
                  <a:moveTo>
                    <a:pt x="447649" y="2273"/>
                  </a:moveTo>
                  <a:lnTo>
                    <a:pt x="374281" y="2273"/>
                  </a:lnTo>
                  <a:lnTo>
                    <a:pt x="374281" y="23901"/>
                  </a:lnTo>
                  <a:lnTo>
                    <a:pt x="398360" y="23901"/>
                  </a:lnTo>
                  <a:lnTo>
                    <a:pt x="398360" y="113004"/>
                  </a:lnTo>
                  <a:lnTo>
                    <a:pt x="423926" y="113004"/>
                  </a:lnTo>
                  <a:lnTo>
                    <a:pt x="423926" y="23901"/>
                  </a:lnTo>
                  <a:lnTo>
                    <a:pt x="447649" y="23901"/>
                  </a:lnTo>
                  <a:lnTo>
                    <a:pt x="447649" y="2273"/>
                  </a:lnTo>
                  <a:close/>
                </a:path>
                <a:path w="948690" h="116204">
                  <a:moveTo>
                    <a:pt x="547331" y="113347"/>
                  </a:moveTo>
                  <a:lnTo>
                    <a:pt x="514616" y="69519"/>
                  </a:lnTo>
                  <a:lnTo>
                    <a:pt x="513486" y="68008"/>
                  </a:lnTo>
                  <a:lnTo>
                    <a:pt x="519861" y="66497"/>
                  </a:lnTo>
                  <a:lnTo>
                    <a:pt x="525119" y="63093"/>
                  </a:lnTo>
                  <a:lnTo>
                    <a:pt x="528878" y="59321"/>
                  </a:lnTo>
                  <a:lnTo>
                    <a:pt x="535660" y="52895"/>
                  </a:lnTo>
                  <a:lnTo>
                    <a:pt x="536054" y="52514"/>
                  </a:lnTo>
                  <a:lnTo>
                    <a:pt x="537552" y="43827"/>
                  </a:lnTo>
                  <a:lnTo>
                    <a:pt x="537552" y="37033"/>
                  </a:lnTo>
                  <a:lnTo>
                    <a:pt x="536714" y="28511"/>
                  </a:lnTo>
                  <a:lnTo>
                    <a:pt x="534758" y="22288"/>
                  </a:lnTo>
                  <a:lnTo>
                    <a:pt x="534543" y="21590"/>
                  </a:lnTo>
                  <a:lnTo>
                    <a:pt x="511987" y="4114"/>
                  </a:lnTo>
                  <a:lnTo>
                    <a:pt x="511987" y="30988"/>
                  </a:lnTo>
                  <a:lnTo>
                    <a:pt x="511987" y="42697"/>
                  </a:lnTo>
                  <a:lnTo>
                    <a:pt x="507822" y="47980"/>
                  </a:lnTo>
                  <a:lnTo>
                    <a:pt x="503313" y="52514"/>
                  </a:lnTo>
                  <a:lnTo>
                    <a:pt x="496887" y="52895"/>
                  </a:lnTo>
                  <a:lnTo>
                    <a:pt x="486765" y="52895"/>
                  </a:lnTo>
                  <a:lnTo>
                    <a:pt x="486765" y="22288"/>
                  </a:lnTo>
                  <a:lnTo>
                    <a:pt x="495782" y="22288"/>
                  </a:lnTo>
                  <a:lnTo>
                    <a:pt x="502551" y="22669"/>
                  </a:lnTo>
                  <a:lnTo>
                    <a:pt x="506717" y="26073"/>
                  </a:lnTo>
                  <a:lnTo>
                    <a:pt x="508977" y="27584"/>
                  </a:lnTo>
                  <a:lnTo>
                    <a:pt x="511987" y="30988"/>
                  </a:lnTo>
                  <a:lnTo>
                    <a:pt x="511987" y="4114"/>
                  </a:lnTo>
                  <a:lnTo>
                    <a:pt x="509447" y="3429"/>
                  </a:lnTo>
                  <a:lnTo>
                    <a:pt x="499897" y="2641"/>
                  </a:lnTo>
                  <a:lnTo>
                    <a:pt x="461187" y="2641"/>
                  </a:lnTo>
                  <a:lnTo>
                    <a:pt x="461187" y="113347"/>
                  </a:lnTo>
                  <a:lnTo>
                    <a:pt x="486765" y="113347"/>
                  </a:lnTo>
                  <a:lnTo>
                    <a:pt x="486765" y="69519"/>
                  </a:lnTo>
                  <a:lnTo>
                    <a:pt x="516496" y="113347"/>
                  </a:lnTo>
                  <a:lnTo>
                    <a:pt x="547331" y="113347"/>
                  </a:lnTo>
                  <a:close/>
                </a:path>
                <a:path w="948690" h="116204">
                  <a:moveTo>
                    <a:pt x="654900" y="2641"/>
                  </a:moveTo>
                  <a:lnTo>
                    <a:pt x="629323" y="2641"/>
                  </a:lnTo>
                  <a:lnTo>
                    <a:pt x="629323" y="72161"/>
                  </a:lnTo>
                  <a:lnTo>
                    <a:pt x="628916" y="80479"/>
                  </a:lnTo>
                  <a:lnTo>
                    <a:pt x="619137" y="91059"/>
                  </a:lnTo>
                  <a:lnTo>
                    <a:pt x="613130" y="91808"/>
                  </a:lnTo>
                  <a:lnTo>
                    <a:pt x="603351" y="91808"/>
                  </a:lnTo>
                  <a:lnTo>
                    <a:pt x="597331" y="91059"/>
                  </a:lnTo>
                  <a:lnTo>
                    <a:pt x="592823" y="86144"/>
                  </a:lnTo>
                  <a:lnTo>
                    <a:pt x="587197" y="80479"/>
                  </a:lnTo>
                  <a:lnTo>
                    <a:pt x="587197" y="2641"/>
                  </a:lnTo>
                  <a:lnTo>
                    <a:pt x="561632" y="2641"/>
                  </a:lnTo>
                  <a:lnTo>
                    <a:pt x="561632" y="68008"/>
                  </a:lnTo>
                  <a:lnTo>
                    <a:pt x="561975" y="76365"/>
                  </a:lnTo>
                  <a:lnTo>
                    <a:pt x="582015" y="109778"/>
                  </a:lnTo>
                  <a:lnTo>
                    <a:pt x="608266" y="115989"/>
                  </a:lnTo>
                  <a:lnTo>
                    <a:pt x="617029" y="115519"/>
                  </a:lnTo>
                  <a:lnTo>
                    <a:pt x="649020" y="94361"/>
                  </a:lnTo>
                  <a:lnTo>
                    <a:pt x="654900" y="68008"/>
                  </a:lnTo>
                  <a:lnTo>
                    <a:pt x="654900" y="2641"/>
                  </a:lnTo>
                  <a:close/>
                </a:path>
                <a:path w="948690" h="116204">
                  <a:moveTo>
                    <a:pt x="758698" y="6045"/>
                  </a:moveTo>
                  <a:lnTo>
                    <a:pt x="751001" y="3187"/>
                  </a:lnTo>
                  <a:lnTo>
                    <a:pt x="744143" y="1320"/>
                  </a:lnTo>
                  <a:lnTo>
                    <a:pt x="737984" y="304"/>
                  </a:lnTo>
                  <a:lnTo>
                    <a:pt x="732370" y="0"/>
                  </a:lnTo>
                  <a:lnTo>
                    <a:pt x="719988" y="1155"/>
                  </a:lnTo>
                  <a:lnTo>
                    <a:pt x="684174" y="24066"/>
                  </a:lnTo>
                  <a:lnTo>
                    <a:pt x="673696" y="57810"/>
                  </a:lnTo>
                  <a:lnTo>
                    <a:pt x="675030" y="70472"/>
                  </a:lnTo>
                  <a:lnTo>
                    <a:pt x="698881" y="106108"/>
                  </a:lnTo>
                  <a:lnTo>
                    <a:pt x="734275" y="115989"/>
                  </a:lnTo>
                  <a:lnTo>
                    <a:pt x="741045" y="115989"/>
                  </a:lnTo>
                  <a:lnTo>
                    <a:pt x="748919" y="114858"/>
                  </a:lnTo>
                  <a:lnTo>
                    <a:pt x="758698" y="109943"/>
                  </a:lnTo>
                  <a:lnTo>
                    <a:pt x="758698" y="80479"/>
                  </a:lnTo>
                  <a:lnTo>
                    <a:pt x="751535" y="86233"/>
                  </a:lnTo>
                  <a:lnTo>
                    <a:pt x="744829" y="89687"/>
                  </a:lnTo>
                  <a:lnTo>
                    <a:pt x="738771" y="91363"/>
                  </a:lnTo>
                  <a:lnTo>
                    <a:pt x="733526" y="91808"/>
                  </a:lnTo>
                  <a:lnTo>
                    <a:pt x="724420" y="90716"/>
                  </a:lnTo>
                  <a:lnTo>
                    <a:pt x="700024" y="58178"/>
                  </a:lnTo>
                  <a:lnTo>
                    <a:pt x="700773" y="50558"/>
                  </a:lnTo>
                  <a:lnTo>
                    <a:pt x="723747" y="23799"/>
                  </a:lnTo>
                  <a:lnTo>
                    <a:pt x="732777" y="23799"/>
                  </a:lnTo>
                  <a:lnTo>
                    <a:pt x="741108" y="24841"/>
                  </a:lnTo>
                  <a:lnTo>
                    <a:pt x="748144" y="27584"/>
                  </a:lnTo>
                  <a:lnTo>
                    <a:pt x="753973" y="31457"/>
                  </a:lnTo>
                  <a:lnTo>
                    <a:pt x="758698" y="35890"/>
                  </a:lnTo>
                  <a:lnTo>
                    <a:pt x="758698" y="6045"/>
                  </a:lnTo>
                  <a:close/>
                </a:path>
                <a:path w="948690" h="116204">
                  <a:moveTo>
                    <a:pt x="841832" y="2273"/>
                  </a:moveTo>
                  <a:lnTo>
                    <a:pt x="768121" y="2273"/>
                  </a:lnTo>
                  <a:lnTo>
                    <a:pt x="768121" y="23901"/>
                  </a:lnTo>
                  <a:lnTo>
                    <a:pt x="792187" y="23901"/>
                  </a:lnTo>
                  <a:lnTo>
                    <a:pt x="792200" y="113004"/>
                  </a:lnTo>
                  <a:lnTo>
                    <a:pt x="817765" y="113004"/>
                  </a:lnTo>
                  <a:lnTo>
                    <a:pt x="817765" y="23901"/>
                  </a:lnTo>
                  <a:lnTo>
                    <a:pt x="841832" y="23901"/>
                  </a:lnTo>
                  <a:lnTo>
                    <a:pt x="841832" y="2273"/>
                  </a:lnTo>
                  <a:close/>
                </a:path>
                <a:path w="948690" h="116204">
                  <a:moveTo>
                    <a:pt x="948296" y="2641"/>
                  </a:moveTo>
                  <a:lnTo>
                    <a:pt x="923074" y="2641"/>
                  </a:lnTo>
                  <a:lnTo>
                    <a:pt x="923074" y="72161"/>
                  </a:lnTo>
                  <a:lnTo>
                    <a:pt x="922718" y="80479"/>
                  </a:lnTo>
                  <a:lnTo>
                    <a:pt x="917054" y="86144"/>
                  </a:lnTo>
                  <a:lnTo>
                    <a:pt x="912545" y="91059"/>
                  </a:lnTo>
                  <a:lnTo>
                    <a:pt x="906526" y="91808"/>
                  </a:lnTo>
                  <a:lnTo>
                    <a:pt x="897153" y="91808"/>
                  </a:lnTo>
                  <a:lnTo>
                    <a:pt x="890727" y="91059"/>
                  </a:lnTo>
                  <a:lnTo>
                    <a:pt x="880948" y="80479"/>
                  </a:lnTo>
                  <a:lnTo>
                    <a:pt x="880605" y="72161"/>
                  </a:lnTo>
                  <a:lnTo>
                    <a:pt x="880605" y="2641"/>
                  </a:lnTo>
                  <a:lnTo>
                    <a:pt x="855027" y="2641"/>
                  </a:lnTo>
                  <a:lnTo>
                    <a:pt x="855027" y="68008"/>
                  </a:lnTo>
                  <a:lnTo>
                    <a:pt x="855433" y="76365"/>
                  </a:lnTo>
                  <a:lnTo>
                    <a:pt x="875563" y="109778"/>
                  </a:lnTo>
                  <a:lnTo>
                    <a:pt x="901661" y="115989"/>
                  </a:lnTo>
                  <a:lnTo>
                    <a:pt x="910488" y="115519"/>
                  </a:lnTo>
                  <a:lnTo>
                    <a:pt x="942733" y="94361"/>
                  </a:lnTo>
                  <a:lnTo>
                    <a:pt x="948296" y="68008"/>
                  </a:lnTo>
                  <a:lnTo>
                    <a:pt x="948296" y="2641"/>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7" name="object 7"/>
            <p:cNvPicPr/>
            <p:nvPr/>
          </p:nvPicPr>
          <p:blipFill>
            <a:blip r:embed="rId3" cstate="screen">
              <a:extLst>
                <a:ext uri="{28A0092B-C50C-407E-A947-70E740481C1C}">
                  <a14:useLocalDpi xmlns:a14="http://schemas.microsoft.com/office/drawing/2010/main"/>
                </a:ext>
              </a:extLst>
            </a:blip>
            <a:stretch>
              <a:fillRect/>
            </a:stretch>
          </p:blipFill>
          <p:spPr>
            <a:xfrm>
              <a:off x="11807224" y="237810"/>
              <a:ext cx="162871" cy="111076"/>
            </a:xfrm>
            <a:prstGeom prst="rect">
              <a:avLst/>
            </a:prstGeom>
          </p:spPr>
        </p:pic>
        <p:pic>
          <p:nvPicPr>
            <p:cNvPr id="8" name="object 8"/>
            <p:cNvPicPr/>
            <p:nvPr/>
          </p:nvPicPr>
          <p:blipFill>
            <a:blip r:embed="rId4" cstate="screen">
              <a:extLst>
                <a:ext uri="{28A0092B-C50C-407E-A947-70E740481C1C}">
                  <a14:useLocalDpi xmlns:a14="http://schemas.microsoft.com/office/drawing/2010/main"/>
                </a:ext>
              </a:extLst>
            </a:blip>
            <a:stretch>
              <a:fillRect/>
            </a:stretch>
          </p:blipFill>
          <p:spPr>
            <a:xfrm>
              <a:off x="10652831" y="393845"/>
              <a:ext cx="317473" cy="110696"/>
            </a:xfrm>
            <a:prstGeom prst="rect">
              <a:avLst/>
            </a:prstGeom>
          </p:spPr>
        </p:pic>
        <p:pic>
          <p:nvPicPr>
            <p:cNvPr id="9" name="object 9"/>
            <p:cNvPicPr/>
            <p:nvPr/>
          </p:nvPicPr>
          <p:blipFill>
            <a:blip r:embed="rId5" cstate="screen">
              <a:extLst>
                <a:ext uri="{28A0092B-C50C-407E-A947-70E740481C1C}">
                  <a14:useLocalDpi xmlns:a14="http://schemas.microsoft.com/office/drawing/2010/main"/>
                </a:ext>
              </a:extLst>
            </a:blip>
            <a:stretch>
              <a:fillRect/>
            </a:stretch>
          </p:blipFill>
          <p:spPr>
            <a:xfrm>
              <a:off x="10994373" y="393845"/>
              <a:ext cx="97782" cy="110696"/>
            </a:xfrm>
            <a:prstGeom prst="rect">
              <a:avLst/>
            </a:prstGeom>
          </p:spPr>
        </p:pic>
        <p:sp>
          <p:nvSpPr>
            <p:cNvPr id="10" name="object 10"/>
            <p:cNvSpPr/>
            <p:nvPr/>
          </p:nvSpPr>
          <p:spPr>
            <a:xfrm>
              <a:off x="10498610" y="238185"/>
              <a:ext cx="111125" cy="266700"/>
            </a:xfrm>
            <a:custGeom>
              <a:avLst/>
              <a:gdLst/>
              <a:ahLst/>
              <a:cxnLst/>
              <a:rect l="l" t="t" r="r" b="b"/>
              <a:pathLst>
                <a:path w="111125" h="266700">
                  <a:moveTo>
                    <a:pt x="110584" y="0"/>
                  </a:moveTo>
                  <a:lnTo>
                    <a:pt x="0" y="0"/>
                  </a:lnTo>
                  <a:lnTo>
                    <a:pt x="8545" y="1724"/>
                  </a:lnTo>
                  <a:lnTo>
                    <a:pt x="15610" y="6423"/>
                  </a:lnTo>
                  <a:lnTo>
                    <a:pt x="20418" y="13389"/>
                  </a:lnTo>
                  <a:lnTo>
                    <a:pt x="22194" y="21912"/>
                  </a:lnTo>
                  <a:lnTo>
                    <a:pt x="22194" y="266355"/>
                  </a:lnTo>
                  <a:lnTo>
                    <a:pt x="110585" y="266355"/>
                  </a:lnTo>
                  <a:lnTo>
                    <a:pt x="110584" y="222152"/>
                  </a:lnTo>
                  <a:lnTo>
                    <a:pt x="44007" y="132991"/>
                  </a:lnTo>
                  <a:lnTo>
                    <a:pt x="110584" y="44202"/>
                  </a:lnTo>
                  <a:lnTo>
                    <a:pt x="110584"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1" name="object 11"/>
            <p:cNvSpPr/>
            <p:nvPr/>
          </p:nvSpPr>
          <p:spPr>
            <a:xfrm>
              <a:off x="10388020" y="238185"/>
              <a:ext cx="111125" cy="266700"/>
            </a:xfrm>
            <a:custGeom>
              <a:avLst/>
              <a:gdLst/>
              <a:ahLst/>
              <a:cxnLst/>
              <a:rect l="l" t="t" r="r" b="b"/>
              <a:pathLst>
                <a:path w="111125" h="266700">
                  <a:moveTo>
                    <a:pt x="110589" y="0"/>
                  </a:moveTo>
                  <a:lnTo>
                    <a:pt x="0" y="0"/>
                  </a:lnTo>
                  <a:lnTo>
                    <a:pt x="0" y="222152"/>
                  </a:lnTo>
                  <a:lnTo>
                    <a:pt x="3438" y="239419"/>
                  </a:lnTo>
                  <a:lnTo>
                    <a:pt x="12837" y="253462"/>
                  </a:lnTo>
                  <a:lnTo>
                    <a:pt x="26820" y="262902"/>
                  </a:lnTo>
                  <a:lnTo>
                    <a:pt x="44012" y="266355"/>
                  </a:lnTo>
                  <a:lnTo>
                    <a:pt x="61262" y="262902"/>
                  </a:lnTo>
                  <a:lnTo>
                    <a:pt x="75373" y="253463"/>
                  </a:lnTo>
                  <a:lnTo>
                    <a:pt x="84899" y="239419"/>
                  </a:lnTo>
                  <a:lnTo>
                    <a:pt x="88395" y="222152"/>
                  </a:lnTo>
                  <a:lnTo>
                    <a:pt x="88395" y="18890"/>
                  </a:lnTo>
                  <a:lnTo>
                    <a:pt x="89147" y="15869"/>
                  </a:lnTo>
                  <a:lnTo>
                    <a:pt x="90276" y="13225"/>
                  </a:lnTo>
                  <a:lnTo>
                    <a:pt x="90276" y="12847"/>
                  </a:lnTo>
                  <a:lnTo>
                    <a:pt x="94789" y="4537"/>
                  </a:lnTo>
                  <a:lnTo>
                    <a:pt x="101939" y="0"/>
                  </a:lnTo>
                  <a:lnTo>
                    <a:pt x="110589"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2" name="object 12"/>
            <p:cNvSpPr/>
            <p:nvPr/>
          </p:nvSpPr>
          <p:spPr>
            <a:xfrm>
              <a:off x="0" y="0"/>
              <a:ext cx="12192000" cy="998219"/>
            </a:xfrm>
            <a:custGeom>
              <a:avLst/>
              <a:gdLst/>
              <a:ahLst/>
              <a:cxnLst/>
              <a:rect l="l" t="t" r="r" b="b"/>
              <a:pathLst>
                <a:path w="12192000" h="998219">
                  <a:moveTo>
                    <a:pt x="12192000" y="0"/>
                  </a:moveTo>
                  <a:lnTo>
                    <a:pt x="0" y="0"/>
                  </a:lnTo>
                  <a:lnTo>
                    <a:pt x="0" y="808482"/>
                  </a:lnTo>
                  <a:lnTo>
                    <a:pt x="6096000" y="998220"/>
                  </a:lnTo>
                  <a:lnTo>
                    <a:pt x="12192000" y="808482"/>
                  </a:lnTo>
                  <a:lnTo>
                    <a:pt x="12192000"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3" name="object 13"/>
            <p:cNvSpPr/>
            <p:nvPr/>
          </p:nvSpPr>
          <p:spPr>
            <a:xfrm>
              <a:off x="10455259" y="156376"/>
              <a:ext cx="29845" cy="128905"/>
            </a:xfrm>
            <a:custGeom>
              <a:avLst/>
              <a:gdLst/>
              <a:ahLst/>
              <a:cxnLst/>
              <a:rect l="l" t="t" r="r" b="b"/>
              <a:pathLst>
                <a:path w="29845" h="128904">
                  <a:moveTo>
                    <a:pt x="29678" y="0"/>
                  </a:moveTo>
                  <a:lnTo>
                    <a:pt x="0" y="0"/>
                  </a:lnTo>
                  <a:lnTo>
                    <a:pt x="0" y="128600"/>
                  </a:lnTo>
                  <a:lnTo>
                    <a:pt x="29678" y="128600"/>
                  </a:lnTo>
                  <a:lnTo>
                    <a:pt x="29678"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4" name="object 14"/>
            <p:cNvPicPr/>
            <p:nvPr/>
          </p:nvPicPr>
          <p:blipFill>
            <a:blip r:embed="rId6" cstate="screen">
              <a:extLst>
                <a:ext uri="{28A0092B-C50C-407E-A947-70E740481C1C}">
                  <a14:useLocalDpi xmlns:a14="http://schemas.microsoft.com/office/drawing/2010/main"/>
                </a:ext>
              </a:extLst>
            </a:blip>
            <a:stretch>
              <a:fillRect/>
            </a:stretch>
          </p:blipFill>
          <p:spPr>
            <a:xfrm>
              <a:off x="10513314" y="156376"/>
              <a:ext cx="124825" cy="128600"/>
            </a:xfrm>
            <a:prstGeom prst="rect">
              <a:avLst/>
            </a:prstGeom>
          </p:spPr>
        </p:pic>
        <p:sp>
          <p:nvSpPr>
            <p:cNvPr id="15" name="object 15"/>
            <p:cNvSpPr/>
            <p:nvPr/>
          </p:nvSpPr>
          <p:spPr>
            <a:xfrm>
              <a:off x="10666069" y="153314"/>
              <a:ext cx="760095" cy="135255"/>
            </a:xfrm>
            <a:custGeom>
              <a:avLst/>
              <a:gdLst/>
              <a:ahLst/>
              <a:cxnLst/>
              <a:rect l="l" t="t" r="r" b="b"/>
              <a:pathLst>
                <a:path w="760095" h="135254">
                  <a:moveTo>
                    <a:pt x="71170" y="3581"/>
                  </a:moveTo>
                  <a:lnTo>
                    <a:pt x="0" y="3581"/>
                  </a:lnTo>
                  <a:lnTo>
                    <a:pt x="0" y="27774"/>
                  </a:lnTo>
                  <a:lnTo>
                    <a:pt x="0" y="53238"/>
                  </a:lnTo>
                  <a:lnTo>
                    <a:pt x="0" y="78701"/>
                  </a:lnTo>
                  <a:lnTo>
                    <a:pt x="0" y="132181"/>
                  </a:lnTo>
                  <a:lnTo>
                    <a:pt x="29730" y="132181"/>
                  </a:lnTo>
                  <a:lnTo>
                    <a:pt x="29730" y="78701"/>
                  </a:lnTo>
                  <a:lnTo>
                    <a:pt x="68135" y="78701"/>
                  </a:lnTo>
                  <a:lnTo>
                    <a:pt x="68135" y="53238"/>
                  </a:lnTo>
                  <a:lnTo>
                    <a:pt x="29730" y="53238"/>
                  </a:lnTo>
                  <a:lnTo>
                    <a:pt x="29730" y="27774"/>
                  </a:lnTo>
                  <a:lnTo>
                    <a:pt x="71170" y="27774"/>
                  </a:lnTo>
                  <a:lnTo>
                    <a:pt x="71170" y="3581"/>
                  </a:lnTo>
                  <a:close/>
                </a:path>
                <a:path w="760095" h="135254">
                  <a:moveTo>
                    <a:pt x="192963" y="131673"/>
                  </a:moveTo>
                  <a:lnTo>
                    <a:pt x="154990" y="80759"/>
                  </a:lnTo>
                  <a:lnTo>
                    <a:pt x="153682" y="79006"/>
                  </a:lnTo>
                  <a:lnTo>
                    <a:pt x="160667" y="77241"/>
                  </a:lnTo>
                  <a:lnTo>
                    <a:pt x="167182" y="73291"/>
                  </a:lnTo>
                  <a:lnTo>
                    <a:pt x="171551" y="68910"/>
                  </a:lnTo>
                  <a:lnTo>
                    <a:pt x="176631" y="62636"/>
                  </a:lnTo>
                  <a:lnTo>
                    <a:pt x="177177" y="61442"/>
                  </a:lnTo>
                  <a:lnTo>
                    <a:pt x="179705" y="55956"/>
                  </a:lnTo>
                  <a:lnTo>
                    <a:pt x="181216" y="49276"/>
                  </a:lnTo>
                  <a:lnTo>
                    <a:pt x="181622" y="43014"/>
                  </a:lnTo>
                  <a:lnTo>
                    <a:pt x="180581" y="33108"/>
                  </a:lnTo>
                  <a:lnTo>
                    <a:pt x="178181" y="25895"/>
                  </a:lnTo>
                  <a:lnTo>
                    <a:pt x="177914" y="25069"/>
                  </a:lnTo>
                  <a:lnTo>
                    <a:pt x="151472" y="4711"/>
                  </a:lnTo>
                  <a:lnTo>
                    <a:pt x="151472" y="35991"/>
                  </a:lnTo>
                  <a:lnTo>
                    <a:pt x="151472" y="49593"/>
                  </a:lnTo>
                  <a:lnTo>
                    <a:pt x="148856" y="53543"/>
                  </a:lnTo>
                  <a:lnTo>
                    <a:pt x="146697" y="55740"/>
                  </a:lnTo>
                  <a:lnTo>
                    <a:pt x="141871" y="61010"/>
                  </a:lnTo>
                  <a:lnTo>
                    <a:pt x="134480" y="61442"/>
                  </a:lnTo>
                  <a:lnTo>
                    <a:pt x="122262" y="61442"/>
                  </a:lnTo>
                  <a:lnTo>
                    <a:pt x="122262" y="25895"/>
                  </a:lnTo>
                  <a:lnTo>
                    <a:pt x="133146" y="25895"/>
                  </a:lnTo>
                  <a:lnTo>
                    <a:pt x="140589" y="26327"/>
                  </a:lnTo>
                  <a:lnTo>
                    <a:pt x="145364" y="30276"/>
                  </a:lnTo>
                  <a:lnTo>
                    <a:pt x="147980" y="32042"/>
                  </a:lnTo>
                  <a:lnTo>
                    <a:pt x="151472" y="35991"/>
                  </a:lnTo>
                  <a:lnTo>
                    <a:pt x="151472" y="4711"/>
                  </a:lnTo>
                  <a:lnTo>
                    <a:pt x="148767" y="3975"/>
                  </a:lnTo>
                  <a:lnTo>
                    <a:pt x="137502" y="3073"/>
                  </a:lnTo>
                  <a:lnTo>
                    <a:pt x="92989" y="3073"/>
                  </a:lnTo>
                  <a:lnTo>
                    <a:pt x="92989" y="131673"/>
                  </a:lnTo>
                  <a:lnTo>
                    <a:pt x="122262" y="131673"/>
                  </a:lnTo>
                  <a:lnTo>
                    <a:pt x="122262" y="80759"/>
                  </a:lnTo>
                  <a:lnTo>
                    <a:pt x="156718" y="131673"/>
                  </a:lnTo>
                  <a:lnTo>
                    <a:pt x="192963" y="131673"/>
                  </a:lnTo>
                  <a:close/>
                </a:path>
                <a:path w="760095" h="135254">
                  <a:moveTo>
                    <a:pt x="326986" y="131673"/>
                  </a:moveTo>
                  <a:lnTo>
                    <a:pt x="317487" y="107530"/>
                  </a:lnTo>
                  <a:lnTo>
                    <a:pt x="308495" y="84709"/>
                  </a:lnTo>
                  <a:lnTo>
                    <a:pt x="291388" y="41249"/>
                  </a:lnTo>
                  <a:lnTo>
                    <a:pt x="278511" y="8559"/>
                  </a:lnTo>
                  <a:lnTo>
                    <a:pt x="278511" y="84709"/>
                  </a:lnTo>
                  <a:lnTo>
                    <a:pt x="247091" y="84709"/>
                  </a:lnTo>
                  <a:lnTo>
                    <a:pt x="262801" y="41249"/>
                  </a:lnTo>
                  <a:lnTo>
                    <a:pt x="278511" y="84709"/>
                  </a:lnTo>
                  <a:lnTo>
                    <a:pt x="278511" y="8559"/>
                  </a:lnTo>
                  <a:lnTo>
                    <a:pt x="276352" y="3073"/>
                  </a:lnTo>
                  <a:lnTo>
                    <a:pt x="249301" y="3073"/>
                  </a:lnTo>
                  <a:lnTo>
                    <a:pt x="197739" y="131673"/>
                  </a:lnTo>
                  <a:lnTo>
                    <a:pt x="228346" y="131673"/>
                  </a:lnTo>
                  <a:lnTo>
                    <a:pt x="238353" y="107530"/>
                  </a:lnTo>
                  <a:lnTo>
                    <a:pt x="286829" y="107530"/>
                  </a:lnTo>
                  <a:lnTo>
                    <a:pt x="296430" y="131673"/>
                  </a:lnTo>
                  <a:lnTo>
                    <a:pt x="326986" y="131673"/>
                  </a:lnTo>
                  <a:close/>
                </a:path>
                <a:path w="760095" h="135254">
                  <a:moveTo>
                    <a:pt x="425627" y="89535"/>
                  </a:moveTo>
                  <a:lnTo>
                    <a:pt x="404266" y="57937"/>
                  </a:lnTo>
                  <a:lnTo>
                    <a:pt x="388962" y="52222"/>
                  </a:lnTo>
                  <a:lnTo>
                    <a:pt x="380644" y="48717"/>
                  </a:lnTo>
                  <a:lnTo>
                    <a:pt x="375869" y="47840"/>
                  </a:lnTo>
                  <a:lnTo>
                    <a:pt x="371043" y="43014"/>
                  </a:lnTo>
                  <a:lnTo>
                    <a:pt x="370166" y="40817"/>
                  </a:lnTo>
                  <a:lnTo>
                    <a:pt x="370166" y="34239"/>
                  </a:lnTo>
                  <a:lnTo>
                    <a:pt x="371500" y="31597"/>
                  </a:lnTo>
                  <a:lnTo>
                    <a:pt x="373253" y="29400"/>
                  </a:lnTo>
                  <a:lnTo>
                    <a:pt x="376745" y="25895"/>
                  </a:lnTo>
                  <a:lnTo>
                    <a:pt x="381977" y="25019"/>
                  </a:lnTo>
                  <a:lnTo>
                    <a:pt x="389369" y="25019"/>
                  </a:lnTo>
                  <a:lnTo>
                    <a:pt x="397687" y="25895"/>
                  </a:lnTo>
                  <a:lnTo>
                    <a:pt x="407289" y="34239"/>
                  </a:lnTo>
                  <a:lnTo>
                    <a:pt x="420382" y="12725"/>
                  </a:lnTo>
                  <a:lnTo>
                    <a:pt x="409486" y="6108"/>
                  </a:lnTo>
                  <a:lnTo>
                    <a:pt x="399275" y="2247"/>
                  </a:lnTo>
                  <a:lnTo>
                    <a:pt x="390118" y="444"/>
                  </a:lnTo>
                  <a:lnTo>
                    <a:pt x="382384" y="0"/>
                  </a:lnTo>
                  <a:lnTo>
                    <a:pt x="373811" y="546"/>
                  </a:lnTo>
                  <a:lnTo>
                    <a:pt x="342341" y="25019"/>
                  </a:lnTo>
                  <a:lnTo>
                    <a:pt x="339610" y="40817"/>
                  </a:lnTo>
                  <a:lnTo>
                    <a:pt x="339610" y="46964"/>
                  </a:lnTo>
                  <a:lnTo>
                    <a:pt x="340956" y="56184"/>
                  </a:lnTo>
                  <a:lnTo>
                    <a:pt x="352298" y="68465"/>
                  </a:lnTo>
                  <a:lnTo>
                    <a:pt x="365391" y="73291"/>
                  </a:lnTo>
                  <a:lnTo>
                    <a:pt x="379361" y="78562"/>
                  </a:lnTo>
                  <a:lnTo>
                    <a:pt x="387223" y="81191"/>
                  </a:lnTo>
                  <a:lnTo>
                    <a:pt x="393331" y="86461"/>
                  </a:lnTo>
                  <a:lnTo>
                    <a:pt x="395071" y="89090"/>
                  </a:lnTo>
                  <a:lnTo>
                    <a:pt x="395071" y="98310"/>
                  </a:lnTo>
                  <a:lnTo>
                    <a:pt x="393331" y="101815"/>
                  </a:lnTo>
                  <a:lnTo>
                    <a:pt x="386346" y="107530"/>
                  </a:lnTo>
                  <a:lnTo>
                    <a:pt x="381101" y="108407"/>
                  </a:lnTo>
                  <a:lnTo>
                    <a:pt x="371500" y="108407"/>
                  </a:lnTo>
                  <a:lnTo>
                    <a:pt x="349211" y="93916"/>
                  </a:lnTo>
                  <a:lnTo>
                    <a:pt x="333971" y="114985"/>
                  </a:lnTo>
                  <a:lnTo>
                    <a:pt x="371322" y="134404"/>
                  </a:lnTo>
                  <a:lnTo>
                    <a:pt x="378028" y="134734"/>
                  </a:lnTo>
                  <a:lnTo>
                    <a:pt x="385597" y="134353"/>
                  </a:lnTo>
                  <a:lnTo>
                    <a:pt x="418820" y="115455"/>
                  </a:lnTo>
                  <a:lnTo>
                    <a:pt x="424776" y="99110"/>
                  </a:lnTo>
                  <a:lnTo>
                    <a:pt x="425627" y="89535"/>
                  </a:lnTo>
                  <a:close/>
                </a:path>
                <a:path w="760095" h="135254">
                  <a:moveTo>
                    <a:pt x="519493" y="3581"/>
                  </a:moveTo>
                  <a:lnTo>
                    <a:pt x="434352" y="3581"/>
                  </a:lnTo>
                  <a:lnTo>
                    <a:pt x="434352" y="27774"/>
                  </a:lnTo>
                  <a:lnTo>
                    <a:pt x="462292" y="27774"/>
                  </a:lnTo>
                  <a:lnTo>
                    <a:pt x="462292" y="132181"/>
                  </a:lnTo>
                  <a:lnTo>
                    <a:pt x="491959" y="132181"/>
                  </a:lnTo>
                  <a:lnTo>
                    <a:pt x="491959" y="27774"/>
                  </a:lnTo>
                  <a:lnTo>
                    <a:pt x="519493" y="27774"/>
                  </a:lnTo>
                  <a:lnTo>
                    <a:pt x="519493" y="3581"/>
                  </a:lnTo>
                  <a:close/>
                </a:path>
                <a:path w="760095" h="135254">
                  <a:moveTo>
                    <a:pt x="635177" y="131673"/>
                  </a:moveTo>
                  <a:lnTo>
                    <a:pt x="597204" y="80759"/>
                  </a:lnTo>
                  <a:lnTo>
                    <a:pt x="595896" y="79006"/>
                  </a:lnTo>
                  <a:lnTo>
                    <a:pt x="603288" y="77241"/>
                  </a:lnTo>
                  <a:lnTo>
                    <a:pt x="609396" y="73291"/>
                  </a:lnTo>
                  <a:lnTo>
                    <a:pt x="613765" y="68910"/>
                  </a:lnTo>
                  <a:lnTo>
                    <a:pt x="618845" y="62636"/>
                  </a:lnTo>
                  <a:lnTo>
                    <a:pt x="619391" y="61442"/>
                  </a:lnTo>
                  <a:lnTo>
                    <a:pt x="621919" y="55956"/>
                  </a:lnTo>
                  <a:lnTo>
                    <a:pt x="623430" y="49276"/>
                  </a:lnTo>
                  <a:lnTo>
                    <a:pt x="623836" y="43014"/>
                  </a:lnTo>
                  <a:lnTo>
                    <a:pt x="622858" y="33108"/>
                  </a:lnTo>
                  <a:lnTo>
                    <a:pt x="620585" y="25895"/>
                  </a:lnTo>
                  <a:lnTo>
                    <a:pt x="620331" y="25069"/>
                  </a:lnTo>
                  <a:lnTo>
                    <a:pt x="594156" y="4775"/>
                  </a:lnTo>
                  <a:lnTo>
                    <a:pt x="594156" y="35991"/>
                  </a:lnTo>
                  <a:lnTo>
                    <a:pt x="594156" y="49593"/>
                  </a:lnTo>
                  <a:lnTo>
                    <a:pt x="591070" y="53543"/>
                  </a:lnTo>
                  <a:lnTo>
                    <a:pt x="589318" y="55740"/>
                  </a:lnTo>
                  <a:lnTo>
                    <a:pt x="584085" y="61010"/>
                  </a:lnTo>
                  <a:lnTo>
                    <a:pt x="576643" y="61442"/>
                  </a:lnTo>
                  <a:lnTo>
                    <a:pt x="564883" y="61442"/>
                  </a:lnTo>
                  <a:lnTo>
                    <a:pt x="564883" y="25895"/>
                  </a:lnTo>
                  <a:lnTo>
                    <a:pt x="575360" y="25895"/>
                  </a:lnTo>
                  <a:lnTo>
                    <a:pt x="583209" y="26327"/>
                  </a:lnTo>
                  <a:lnTo>
                    <a:pt x="588048" y="30276"/>
                  </a:lnTo>
                  <a:lnTo>
                    <a:pt x="590664" y="32042"/>
                  </a:lnTo>
                  <a:lnTo>
                    <a:pt x="594156" y="35991"/>
                  </a:lnTo>
                  <a:lnTo>
                    <a:pt x="594156" y="4775"/>
                  </a:lnTo>
                  <a:lnTo>
                    <a:pt x="591210" y="3975"/>
                  </a:lnTo>
                  <a:lnTo>
                    <a:pt x="580123" y="3073"/>
                  </a:lnTo>
                  <a:lnTo>
                    <a:pt x="535203" y="3073"/>
                  </a:lnTo>
                  <a:lnTo>
                    <a:pt x="535203" y="131673"/>
                  </a:lnTo>
                  <a:lnTo>
                    <a:pt x="564883" y="131673"/>
                  </a:lnTo>
                  <a:lnTo>
                    <a:pt x="564883" y="80759"/>
                  </a:lnTo>
                  <a:lnTo>
                    <a:pt x="599389" y="131673"/>
                  </a:lnTo>
                  <a:lnTo>
                    <a:pt x="635177" y="131673"/>
                  </a:lnTo>
                  <a:close/>
                </a:path>
                <a:path w="760095" h="135254">
                  <a:moveTo>
                    <a:pt x="760006" y="3073"/>
                  </a:moveTo>
                  <a:lnTo>
                    <a:pt x="730326" y="3073"/>
                  </a:lnTo>
                  <a:lnTo>
                    <a:pt x="730326" y="83832"/>
                  </a:lnTo>
                  <a:lnTo>
                    <a:pt x="729856" y="93484"/>
                  </a:lnTo>
                  <a:lnTo>
                    <a:pt x="718515" y="105778"/>
                  </a:lnTo>
                  <a:lnTo>
                    <a:pt x="711530" y="106654"/>
                  </a:lnTo>
                  <a:lnTo>
                    <a:pt x="700189" y="106654"/>
                  </a:lnTo>
                  <a:lnTo>
                    <a:pt x="693204" y="105778"/>
                  </a:lnTo>
                  <a:lnTo>
                    <a:pt x="687959" y="100063"/>
                  </a:lnTo>
                  <a:lnTo>
                    <a:pt x="681443" y="93484"/>
                  </a:lnTo>
                  <a:lnTo>
                    <a:pt x="681443" y="3073"/>
                  </a:lnTo>
                  <a:lnTo>
                    <a:pt x="651764" y="3073"/>
                  </a:lnTo>
                  <a:lnTo>
                    <a:pt x="651764" y="79006"/>
                  </a:lnTo>
                  <a:lnTo>
                    <a:pt x="652157" y="88709"/>
                  </a:lnTo>
                  <a:lnTo>
                    <a:pt x="675424" y="127520"/>
                  </a:lnTo>
                  <a:lnTo>
                    <a:pt x="705891" y="134734"/>
                  </a:lnTo>
                  <a:lnTo>
                    <a:pt x="716064" y="134200"/>
                  </a:lnTo>
                  <a:lnTo>
                    <a:pt x="753186" y="109613"/>
                  </a:lnTo>
                  <a:lnTo>
                    <a:pt x="760006" y="79006"/>
                  </a:lnTo>
                  <a:lnTo>
                    <a:pt x="760006" y="3073"/>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6" name="object 16"/>
            <p:cNvPicPr/>
            <p:nvPr/>
          </p:nvPicPr>
          <p:blipFill>
            <a:blip r:embed="rId7" cstate="screen">
              <a:extLst>
                <a:ext uri="{28A0092B-C50C-407E-A947-70E740481C1C}">
                  <a14:useLocalDpi xmlns:a14="http://schemas.microsoft.com/office/drawing/2010/main"/>
                </a:ext>
              </a:extLst>
            </a:blip>
            <a:stretch>
              <a:fillRect/>
            </a:stretch>
          </p:blipFill>
          <p:spPr>
            <a:xfrm>
              <a:off x="11447904" y="153305"/>
              <a:ext cx="318668" cy="134743"/>
            </a:xfrm>
            <a:prstGeom prst="rect">
              <a:avLst/>
            </a:prstGeom>
          </p:spPr>
        </p:pic>
        <p:pic>
          <p:nvPicPr>
            <p:cNvPr id="17" name="object 17"/>
            <p:cNvPicPr/>
            <p:nvPr/>
          </p:nvPicPr>
          <p:blipFill>
            <a:blip r:embed="rId8" cstate="screen">
              <a:extLst>
                <a:ext uri="{28A0092B-C50C-407E-A947-70E740481C1C}">
                  <a14:useLocalDpi xmlns:a14="http://schemas.microsoft.com/office/drawing/2010/main"/>
                </a:ext>
              </a:extLst>
            </a:blip>
            <a:stretch>
              <a:fillRect/>
            </a:stretch>
          </p:blipFill>
          <p:spPr>
            <a:xfrm>
              <a:off x="11794506" y="156376"/>
              <a:ext cx="189013" cy="129119"/>
            </a:xfrm>
            <a:prstGeom prst="rect">
              <a:avLst/>
            </a:prstGeom>
          </p:spPr>
        </p:pic>
        <p:pic>
          <p:nvPicPr>
            <p:cNvPr id="18" name="object 18"/>
            <p:cNvPicPr/>
            <p:nvPr/>
          </p:nvPicPr>
          <p:blipFill>
            <a:blip r:embed="rId9" cstate="screen">
              <a:extLst>
                <a:ext uri="{28A0092B-C50C-407E-A947-70E740481C1C}">
                  <a14:useLocalDpi xmlns:a14="http://schemas.microsoft.com/office/drawing/2010/main"/>
                </a:ext>
              </a:extLst>
            </a:blip>
            <a:stretch>
              <a:fillRect/>
            </a:stretch>
          </p:blipFill>
          <p:spPr>
            <a:xfrm>
              <a:off x="10454823" y="337204"/>
              <a:ext cx="368430" cy="128594"/>
            </a:xfrm>
            <a:prstGeom prst="rect">
              <a:avLst/>
            </a:prstGeom>
          </p:spPr>
        </p:pic>
        <p:pic>
          <p:nvPicPr>
            <p:cNvPr id="19" name="object 19"/>
            <p:cNvPicPr/>
            <p:nvPr/>
          </p:nvPicPr>
          <p:blipFill>
            <a:blip r:embed="rId10" cstate="screen">
              <a:extLst>
                <a:ext uri="{28A0092B-C50C-407E-A947-70E740481C1C}">
                  <a14:useLocalDpi xmlns:a14="http://schemas.microsoft.com/office/drawing/2010/main"/>
                </a:ext>
              </a:extLst>
            </a:blip>
            <a:stretch>
              <a:fillRect/>
            </a:stretch>
          </p:blipFill>
          <p:spPr>
            <a:xfrm>
              <a:off x="10851186" y="337204"/>
              <a:ext cx="113477" cy="128594"/>
            </a:xfrm>
            <a:prstGeom prst="rect">
              <a:avLst/>
            </a:prstGeom>
          </p:spPr>
        </p:pic>
        <p:sp>
          <p:nvSpPr>
            <p:cNvPr id="20" name="object 20"/>
            <p:cNvSpPr/>
            <p:nvPr/>
          </p:nvSpPr>
          <p:spPr>
            <a:xfrm>
              <a:off x="10275848" y="156376"/>
              <a:ext cx="128905" cy="309880"/>
            </a:xfrm>
            <a:custGeom>
              <a:avLst/>
              <a:gdLst/>
              <a:ahLst/>
              <a:cxnLst/>
              <a:rect l="l" t="t" r="r" b="b"/>
              <a:pathLst>
                <a:path w="128904" h="309880">
                  <a:moveTo>
                    <a:pt x="128334" y="0"/>
                  </a:moveTo>
                  <a:lnTo>
                    <a:pt x="0" y="0"/>
                  </a:lnTo>
                  <a:lnTo>
                    <a:pt x="9916" y="2002"/>
                  </a:lnTo>
                  <a:lnTo>
                    <a:pt x="18115" y="7462"/>
                  </a:lnTo>
                  <a:lnTo>
                    <a:pt x="23696" y="15554"/>
                  </a:lnTo>
                  <a:lnTo>
                    <a:pt x="25756" y="25455"/>
                  </a:lnTo>
                  <a:lnTo>
                    <a:pt x="25756" y="309421"/>
                  </a:lnTo>
                  <a:lnTo>
                    <a:pt x="128334" y="309421"/>
                  </a:lnTo>
                  <a:lnTo>
                    <a:pt x="128334" y="258071"/>
                  </a:lnTo>
                  <a:lnTo>
                    <a:pt x="51070" y="154494"/>
                  </a:lnTo>
                  <a:lnTo>
                    <a:pt x="128334" y="51349"/>
                  </a:lnTo>
                  <a:lnTo>
                    <a:pt x="128334"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21" name="object 21"/>
            <p:cNvSpPr/>
            <p:nvPr/>
          </p:nvSpPr>
          <p:spPr>
            <a:xfrm>
              <a:off x="10147508" y="156376"/>
              <a:ext cx="128905" cy="309880"/>
            </a:xfrm>
            <a:custGeom>
              <a:avLst/>
              <a:gdLst/>
              <a:ahLst/>
              <a:cxnLst/>
              <a:rect l="l" t="t" r="r" b="b"/>
              <a:pathLst>
                <a:path w="128904" h="309880">
                  <a:moveTo>
                    <a:pt x="128340" y="0"/>
                  </a:moveTo>
                  <a:lnTo>
                    <a:pt x="0" y="0"/>
                  </a:lnTo>
                  <a:lnTo>
                    <a:pt x="0" y="258071"/>
                  </a:lnTo>
                  <a:lnTo>
                    <a:pt x="3990" y="278130"/>
                  </a:lnTo>
                  <a:lnTo>
                    <a:pt x="14897" y="294444"/>
                  </a:lnTo>
                  <a:lnTo>
                    <a:pt x="31125" y="305410"/>
                  </a:lnTo>
                  <a:lnTo>
                    <a:pt x="51076" y="309421"/>
                  </a:lnTo>
                  <a:lnTo>
                    <a:pt x="71095" y="305410"/>
                  </a:lnTo>
                  <a:lnTo>
                    <a:pt x="87471" y="294444"/>
                  </a:lnTo>
                  <a:lnTo>
                    <a:pt x="98526" y="278130"/>
                  </a:lnTo>
                  <a:lnTo>
                    <a:pt x="102584" y="258071"/>
                  </a:lnTo>
                  <a:lnTo>
                    <a:pt x="102583" y="21945"/>
                  </a:lnTo>
                  <a:lnTo>
                    <a:pt x="103456" y="18434"/>
                  </a:lnTo>
                  <a:lnTo>
                    <a:pt x="104766" y="15363"/>
                  </a:lnTo>
                  <a:lnTo>
                    <a:pt x="104766" y="14924"/>
                  </a:lnTo>
                  <a:lnTo>
                    <a:pt x="105639" y="13169"/>
                  </a:lnTo>
                  <a:lnTo>
                    <a:pt x="109615" y="7779"/>
                  </a:lnTo>
                  <a:lnTo>
                    <a:pt x="114861" y="3622"/>
                  </a:lnTo>
                  <a:lnTo>
                    <a:pt x="121172" y="947"/>
                  </a:lnTo>
                  <a:lnTo>
                    <a:pt x="128340"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22" name="object 22"/>
            <p:cNvSpPr/>
            <p:nvPr/>
          </p:nvSpPr>
          <p:spPr>
            <a:xfrm>
              <a:off x="96011" y="976883"/>
              <a:ext cx="5796280" cy="5794375"/>
            </a:xfrm>
            <a:custGeom>
              <a:avLst/>
              <a:gdLst/>
              <a:ahLst/>
              <a:cxnLst/>
              <a:rect l="l" t="t" r="r" b="b"/>
              <a:pathLst>
                <a:path w="5796280" h="5794375">
                  <a:moveTo>
                    <a:pt x="2897886" y="0"/>
                  </a:moveTo>
                  <a:lnTo>
                    <a:pt x="2849481" y="395"/>
                  </a:lnTo>
                  <a:lnTo>
                    <a:pt x="2801267" y="1579"/>
                  </a:lnTo>
                  <a:lnTo>
                    <a:pt x="2753252" y="3545"/>
                  </a:lnTo>
                  <a:lnTo>
                    <a:pt x="2705441" y="6286"/>
                  </a:lnTo>
                  <a:lnTo>
                    <a:pt x="2657839" y="9797"/>
                  </a:lnTo>
                  <a:lnTo>
                    <a:pt x="2610454" y="14071"/>
                  </a:lnTo>
                  <a:lnTo>
                    <a:pt x="2563292" y="19102"/>
                  </a:lnTo>
                  <a:lnTo>
                    <a:pt x="2516358" y="24884"/>
                  </a:lnTo>
                  <a:lnTo>
                    <a:pt x="2469658" y="31411"/>
                  </a:lnTo>
                  <a:lnTo>
                    <a:pt x="2423200" y="38677"/>
                  </a:lnTo>
                  <a:lnTo>
                    <a:pt x="2376988" y="46675"/>
                  </a:lnTo>
                  <a:lnTo>
                    <a:pt x="2331030" y="55400"/>
                  </a:lnTo>
                  <a:lnTo>
                    <a:pt x="2285330" y="64844"/>
                  </a:lnTo>
                  <a:lnTo>
                    <a:pt x="2239897" y="75004"/>
                  </a:lnTo>
                  <a:lnTo>
                    <a:pt x="2194735" y="85871"/>
                  </a:lnTo>
                  <a:lnTo>
                    <a:pt x="2149850" y="97439"/>
                  </a:lnTo>
                  <a:lnTo>
                    <a:pt x="2105250" y="109704"/>
                  </a:lnTo>
                  <a:lnTo>
                    <a:pt x="2060939" y="122658"/>
                  </a:lnTo>
                  <a:lnTo>
                    <a:pt x="2016925" y="136295"/>
                  </a:lnTo>
                  <a:lnTo>
                    <a:pt x="1973213" y="150610"/>
                  </a:lnTo>
                  <a:lnTo>
                    <a:pt x="1929810" y="165596"/>
                  </a:lnTo>
                  <a:lnTo>
                    <a:pt x="1886721" y="181247"/>
                  </a:lnTo>
                  <a:lnTo>
                    <a:pt x="1843953" y="197556"/>
                  </a:lnTo>
                  <a:lnTo>
                    <a:pt x="1801512" y="214519"/>
                  </a:lnTo>
                  <a:lnTo>
                    <a:pt x="1759404" y="232127"/>
                  </a:lnTo>
                  <a:lnTo>
                    <a:pt x="1717635" y="250376"/>
                  </a:lnTo>
                  <a:lnTo>
                    <a:pt x="1676212" y="269260"/>
                  </a:lnTo>
                  <a:lnTo>
                    <a:pt x="1635140" y="288771"/>
                  </a:lnTo>
                  <a:lnTo>
                    <a:pt x="1594426" y="308904"/>
                  </a:lnTo>
                  <a:lnTo>
                    <a:pt x="1554075" y="329654"/>
                  </a:lnTo>
                  <a:lnTo>
                    <a:pt x="1514095" y="351012"/>
                  </a:lnTo>
                  <a:lnTo>
                    <a:pt x="1474491" y="372974"/>
                  </a:lnTo>
                  <a:lnTo>
                    <a:pt x="1435269" y="395534"/>
                  </a:lnTo>
                  <a:lnTo>
                    <a:pt x="1396435" y="418685"/>
                  </a:lnTo>
                  <a:lnTo>
                    <a:pt x="1357996" y="442420"/>
                  </a:lnTo>
                  <a:lnTo>
                    <a:pt x="1319958" y="466735"/>
                  </a:lnTo>
                  <a:lnTo>
                    <a:pt x="1282327" y="491623"/>
                  </a:lnTo>
                  <a:lnTo>
                    <a:pt x="1245108" y="517077"/>
                  </a:lnTo>
                  <a:lnTo>
                    <a:pt x="1208309" y="543091"/>
                  </a:lnTo>
                  <a:lnTo>
                    <a:pt x="1171935" y="569660"/>
                  </a:lnTo>
                  <a:lnTo>
                    <a:pt x="1135993" y="596777"/>
                  </a:lnTo>
                  <a:lnTo>
                    <a:pt x="1100488" y="624436"/>
                  </a:lnTo>
                  <a:lnTo>
                    <a:pt x="1065427" y="652630"/>
                  </a:lnTo>
                  <a:lnTo>
                    <a:pt x="1030816" y="681355"/>
                  </a:lnTo>
                  <a:lnTo>
                    <a:pt x="996661" y="710603"/>
                  </a:lnTo>
                  <a:lnTo>
                    <a:pt x="962968" y="740369"/>
                  </a:lnTo>
                  <a:lnTo>
                    <a:pt x="929744" y="770646"/>
                  </a:lnTo>
                  <a:lnTo>
                    <a:pt x="896994" y="801427"/>
                  </a:lnTo>
                  <a:lnTo>
                    <a:pt x="864725" y="832708"/>
                  </a:lnTo>
                  <a:lnTo>
                    <a:pt x="832942" y="864482"/>
                  </a:lnTo>
                  <a:lnTo>
                    <a:pt x="801653" y="896743"/>
                  </a:lnTo>
                  <a:lnTo>
                    <a:pt x="770862" y="929484"/>
                  </a:lnTo>
                  <a:lnTo>
                    <a:pt x="740577" y="962699"/>
                  </a:lnTo>
                  <a:lnTo>
                    <a:pt x="710804" y="996383"/>
                  </a:lnTo>
                  <a:lnTo>
                    <a:pt x="681547" y="1030529"/>
                  </a:lnTo>
                  <a:lnTo>
                    <a:pt x="652815" y="1065130"/>
                  </a:lnTo>
                  <a:lnTo>
                    <a:pt x="624612" y="1100182"/>
                  </a:lnTo>
                  <a:lnTo>
                    <a:pt x="596946" y="1135677"/>
                  </a:lnTo>
                  <a:lnTo>
                    <a:pt x="569821" y="1171610"/>
                  </a:lnTo>
                  <a:lnTo>
                    <a:pt x="543245" y="1207974"/>
                  </a:lnTo>
                  <a:lnTo>
                    <a:pt x="517223" y="1244764"/>
                  </a:lnTo>
                  <a:lnTo>
                    <a:pt x="491762" y="1281972"/>
                  </a:lnTo>
                  <a:lnTo>
                    <a:pt x="466868" y="1319593"/>
                  </a:lnTo>
                  <a:lnTo>
                    <a:pt x="442546" y="1357622"/>
                  </a:lnTo>
                  <a:lnTo>
                    <a:pt x="418804" y="1396050"/>
                  </a:lnTo>
                  <a:lnTo>
                    <a:pt x="395647" y="1434874"/>
                  </a:lnTo>
                  <a:lnTo>
                    <a:pt x="373081" y="1474085"/>
                  </a:lnTo>
                  <a:lnTo>
                    <a:pt x="351113" y="1513679"/>
                  </a:lnTo>
                  <a:lnTo>
                    <a:pt x="329748" y="1553649"/>
                  </a:lnTo>
                  <a:lnTo>
                    <a:pt x="308993" y="1593989"/>
                  </a:lnTo>
                  <a:lnTo>
                    <a:pt x="288854" y="1634693"/>
                  </a:lnTo>
                  <a:lnTo>
                    <a:pt x="269337" y="1675754"/>
                  </a:lnTo>
                  <a:lnTo>
                    <a:pt x="250448" y="1717166"/>
                  </a:lnTo>
                  <a:lnTo>
                    <a:pt x="232194" y="1758924"/>
                  </a:lnTo>
                  <a:lnTo>
                    <a:pt x="214580" y="1801021"/>
                  </a:lnTo>
                  <a:lnTo>
                    <a:pt x="197613" y="1843452"/>
                  </a:lnTo>
                  <a:lnTo>
                    <a:pt x="181299" y="1886209"/>
                  </a:lnTo>
                  <a:lnTo>
                    <a:pt x="165644" y="1929287"/>
                  </a:lnTo>
                  <a:lnTo>
                    <a:pt x="150654" y="1972679"/>
                  </a:lnTo>
                  <a:lnTo>
                    <a:pt x="136335" y="2016380"/>
                  </a:lnTo>
                  <a:lnTo>
                    <a:pt x="122694" y="2060383"/>
                  </a:lnTo>
                  <a:lnTo>
                    <a:pt x="109736" y="2104682"/>
                  </a:lnTo>
                  <a:lnTo>
                    <a:pt x="97468" y="2149271"/>
                  </a:lnTo>
                  <a:lnTo>
                    <a:pt x="85895" y="2194144"/>
                  </a:lnTo>
                  <a:lnTo>
                    <a:pt x="75025" y="2239295"/>
                  </a:lnTo>
                  <a:lnTo>
                    <a:pt x="64863" y="2284718"/>
                  </a:lnTo>
                  <a:lnTo>
                    <a:pt x="55416" y="2330405"/>
                  </a:lnTo>
                  <a:lnTo>
                    <a:pt x="46688" y="2376352"/>
                  </a:lnTo>
                  <a:lnTo>
                    <a:pt x="38688" y="2422553"/>
                  </a:lnTo>
                  <a:lnTo>
                    <a:pt x="31420" y="2469000"/>
                  </a:lnTo>
                  <a:lnTo>
                    <a:pt x="24891" y="2515688"/>
                  </a:lnTo>
                  <a:lnTo>
                    <a:pt x="19107" y="2562610"/>
                  </a:lnTo>
                  <a:lnTo>
                    <a:pt x="14075" y="2609762"/>
                  </a:lnTo>
                  <a:lnTo>
                    <a:pt x="9800" y="2657135"/>
                  </a:lnTo>
                  <a:lnTo>
                    <a:pt x="6288" y="2704725"/>
                  </a:lnTo>
                  <a:lnTo>
                    <a:pt x="3546" y="2752525"/>
                  </a:lnTo>
                  <a:lnTo>
                    <a:pt x="1580" y="2800529"/>
                  </a:lnTo>
                  <a:lnTo>
                    <a:pt x="396" y="2848730"/>
                  </a:lnTo>
                  <a:lnTo>
                    <a:pt x="0" y="2897123"/>
                  </a:lnTo>
                  <a:lnTo>
                    <a:pt x="396" y="2945517"/>
                  </a:lnTo>
                  <a:lnTo>
                    <a:pt x="1580" y="2993718"/>
                  </a:lnTo>
                  <a:lnTo>
                    <a:pt x="3546" y="3041722"/>
                  </a:lnTo>
                  <a:lnTo>
                    <a:pt x="6288" y="3089522"/>
                  </a:lnTo>
                  <a:lnTo>
                    <a:pt x="9800" y="3137112"/>
                  </a:lnTo>
                  <a:lnTo>
                    <a:pt x="14075" y="3184485"/>
                  </a:lnTo>
                  <a:lnTo>
                    <a:pt x="19107" y="3231637"/>
                  </a:lnTo>
                  <a:lnTo>
                    <a:pt x="24891" y="3278559"/>
                  </a:lnTo>
                  <a:lnTo>
                    <a:pt x="31420" y="3325247"/>
                  </a:lnTo>
                  <a:lnTo>
                    <a:pt x="38688" y="3371694"/>
                  </a:lnTo>
                  <a:lnTo>
                    <a:pt x="46688" y="3417895"/>
                  </a:lnTo>
                  <a:lnTo>
                    <a:pt x="55416" y="3463842"/>
                  </a:lnTo>
                  <a:lnTo>
                    <a:pt x="64863" y="3509529"/>
                  </a:lnTo>
                  <a:lnTo>
                    <a:pt x="75025" y="3554952"/>
                  </a:lnTo>
                  <a:lnTo>
                    <a:pt x="85895" y="3600103"/>
                  </a:lnTo>
                  <a:lnTo>
                    <a:pt x="97468" y="3644976"/>
                  </a:lnTo>
                  <a:lnTo>
                    <a:pt x="109736" y="3689565"/>
                  </a:lnTo>
                  <a:lnTo>
                    <a:pt x="122694" y="3733864"/>
                  </a:lnTo>
                  <a:lnTo>
                    <a:pt x="136335" y="3777867"/>
                  </a:lnTo>
                  <a:lnTo>
                    <a:pt x="150654" y="3821568"/>
                  </a:lnTo>
                  <a:lnTo>
                    <a:pt x="165644" y="3864960"/>
                  </a:lnTo>
                  <a:lnTo>
                    <a:pt x="181299" y="3908038"/>
                  </a:lnTo>
                  <a:lnTo>
                    <a:pt x="197613" y="3950795"/>
                  </a:lnTo>
                  <a:lnTo>
                    <a:pt x="214580" y="3993226"/>
                  </a:lnTo>
                  <a:lnTo>
                    <a:pt x="232194" y="4035323"/>
                  </a:lnTo>
                  <a:lnTo>
                    <a:pt x="250448" y="4077081"/>
                  </a:lnTo>
                  <a:lnTo>
                    <a:pt x="269337" y="4118493"/>
                  </a:lnTo>
                  <a:lnTo>
                    <a:pt x="288854" y="4159554"/>
                  </a:lnTo>
                  <a:lnTo>
                    <a:pt x="308993" y="4200258"/>
                  </a:lnTo>
                  <a:lnTo>
                    <a:pt x="329748" y="4240598"/>
                  </a:lnTo>
                  <a:lnTo>
                    <a:pt x="351113" y="4280568"/>
                  </a:lnTo>
                  <a:lnTo>
                    <a:pt x="373081" y="4320162"/>
                  </a:lnTo>
                  <a:lnTo>
                    <a:pt x="395647" y="4359373"/>
                  </a:lnTo>
                  <a:lnTo>
                    <a:pt x="418804" y="4398197"/>
                  </a:lnTo>
                  <a:lnTo>
                    <a:pt x="442546" y="4436625"/>
                  </a:lnTo>
                  <a:lnTo>
                    <a:pt x="466868" y="4474654"/>
                  </a:lnTo>
                  <a:lnTo>
                    <a:pt x="491762" y="4512275"/>
                  </a:lnTo>
                  <a:lnTo>
                    <a:pt x="517223" y="4549483"/>
                  </a:lnTo>
                  <a:lnTo>
                    <a:pt x="543245" y="4586273"/>
                  </a:lnTo>
                  <a:lnTo>
                    <a:pt x="569821" y="4622637"/>
                  </a:lnTo>
                  <a:lnTo>
                    <a:pt x="596946" y="4658570"/>
                  </a:lnTo>
                  <a:lnTo>
                    <a:pt x="624612" y="4694065"/>
                  </a:lnTo>
                  <a:lnTo>
                    <a:pt x="652815" y="4729117"/>
                  </a:lnTo>
                  <a:lnTo>
                    <a:pt x="681547" y="4763718"/>
                  </a:lnTo>
                  <a:lnTo>
                    <a:pt x="710804" y="4797864"/>
                  </a:lnTo>
                  <a:lnTo>
                    <a:pt x="740577" y="4831548"/>
                  </a:lnTo>
                  <a:lnTo>
                    <a:pt x="770862" y="4864763"/>
                  </a:lnTo>
                  <a:lnTo>
                    <a:pt x="801653" y="4897504"/>
                  </a:lnTo>
                  <a:lnTo>
                    <a:pt x="832942" y="4929765"/>
                  </a:lnTo>
                  <a:lnTo>
                    <a:pt x="864725" y="4961539"/>
                  </a:lnTo>
                  <a:lnTo>
                    <a:pt x="896994" y="4992820"/>
                  </a:lnTo>
                  <a:lnTo>
                    <a:pt x="929744" y="5023601"/>
                  </a:lnTo>
                  <a:lnTo>
                    <a:pt x="962968" y="5053878"/>
                  </a:lnTo>
                  <a:lnTo>
                    <a:pt x="996661" y="5083644"/>
                  </a:lnTo>
                  <a:lnTo>
                    <a:pt x="1030816" y="5112892"/>
                  </a:lnTo>
                  <a:lnTo>
                    <a:pt x="1065427" y="5141617"/>
                  </a:lnTo>
                  <a:lnTo>
                    <a:pt x="1100488" y="5169811"/>
                  </a:lnTo>
                  <a:lnTo>
                    <a:pt x="1135993" y="5197470"/>
                  </a:lnTo>
                  <a:lnTo>
                    <a:pt x="1171935" y="5224587"/>
                  </a:lnTo>
                  <a:lnTo>
                    <a:pt x="1208309" y="5251156"/>
                  </a:lnTo>
                  <a:lnTo>
                    <a:pt x="1245108" y="5277170"/>
                  </a:lnTo>
                  <a:lnTo>
                    <a:pt x="1282327" y="5302624"/>
                  </a:lnTo>
                  <a:lnTo>
                    <a:pt x="1319958" y="5327512"/>
                  </a:lnTo>
                  <a:lnTo>
                    <a:pt x="1357996" y="5351827"/>
                  </a:lnTo>
                  <a:lnTo>
                    <a:pt x="1396435" y="5375562"/>
                  </a:lnTo>
                  <a:lnTo>
                    <a:pt x="1435269" y="5398713"/>
                  </a:lnTo>
                  <a:lnTo>
                    <a:pt x="1474491" y="5421273"/>
                  </a:lnTo>
                  <a:lnTo>
                    <a:pt x="1514095" y="5443235"/>
                  </a:lnTo>
                  <a:lnTo>
                    <a:pt x="1554075" y="5464593"/>
                  </a:lnTo>
                  <a:lnTo>
                    <a:pt x="1594426" y="5485343"/>
                  </a:lnTo>
                  <a:lnTo>
                    <a:pt x="1635140" y="5505476"/>
                  </a:lnTo>
                  <a:lnTo>
                    <a:pt x="1676212" y="5524987"/>
                  </a:lnTo>
                  <a:lnTo>
                    <a:pt x="1717635" y="5543871"/>
                  </a:lnTo>
                  <a:lnTo>
                    <a:pt x="1759404" y="5562120"/>
                  </a:lnTo>
                  <a:lnTo>
                    <a:pt x="1801512" y="5579728"/>
                  </a:lnTo>
                  <a:lnTo>
                    <a:pt x="1843953" y="5596691"/>
                  </a:lnTo>
                  <a:lnTo>
                    <a:pt x="1886721" y="5613000"/>
                  </a:lnTo>
                  <a:lnTo>
                    <a:pt x="1929810" y="5628651"/>
                  </a:lnTo>
                  <a:lnTo>
                    <a:pt x="1973213" y="5643637"/>
                  </a:lnTo>
                  <a:lnTo>
                    <a:pt x="2016925" y="5657952"/>
                  </a:lnTo>
                  <a:lnTo>
                    <a:pt x="2060939" y="5671589"/>
                  </a:lnTo>
                  <a:lnTo>
                    <a:pt x="2105250" y="5684543"/>
                  </a:lnTo>
                  <a:lnTo>
                    <a:pt x="2149850" y="5696808"/>
                  </a:lnTo>
                  <a:lnTo>
                    <a:pt x="2194735" y="5708376"/>
                  </a:lnTo>
                  <a:lnTo>
                    <a:pt x="2239897" y="5719243"/>
                  </a:lnTo>
                  <a:lnTo>
                    <a:pt x="2285330" y="5729403"/>
                  </a:lnTo>
                  <a:lnTo>
                    <a:pt x="2331030" y="5738847"/>
                  </a:lnTo>
                  <a:lnTo>
                    <a:pt x="2376988" y="5747572"/>
                  </a:lnTo>
                  <a:lnTo>
                    <a:pt x="2423200" y="5755570"/>
                  </a:lnTo>
                  <a:lnTo>
                    <a:pt x="2469658" y="5762836"/>
                  </a:lnTo>
                  <a:lnTo>
                    <a:pt x="2516358" y="5769363"/>
                  </a:lnTo>
                  <a:lnTo>
                    <a:pt x="2563292" y="5775145"/>
                  </a:lnTo>
                  <a:lnTo>
                    <a:pt x="2610454" y="5780176"/>
                  </a:lnTo>
                  <a:lnTo>
                    <a:pt x="2657839" y="5784450"/>
                  </a:lnTo>
                  <a:lnTo>
                    <a:pt x="2705441" y="5787961"/>
                  </a:lnTo>
                  <a:lnTo>
                    <a:pt x="2753252" y="5790702"/>
                  </a:lnTo>
                  <a:lnTo>
                    <a:pt x="2801267" y="5792668"/>
                  </a:lnTo>
                  <a:lnTo>
                    <a:pt x="2849481" y="5793852"/>
                  </a:lnTo>
                  <a:lnTo>
                    <a:pt x="2897886" y="5794248"/>
                  </a:lnTo>
                  <a:lnTo>
                    <a:pt x="2946290" y="5793852"/>
                  </a:lnTo>
                  <a:lnTo>
                    <a:pt x="2994504" y="5792668"/>
                  </a:lnTo>
                  <a:lnTo>
                    <a:pt x="3042519" y="5790702"/>
                  </a:lnTo>
                  <a:lnTo>
                    <a:pt x="3090330" y="5787961"/>
                  </a:lnTo>
                  <a:lnTo>
                    <a:pt x="3137932" y="5784450"/>
                  </a:lnTo>
                  <a:lnTo>
                    <a:pt x="3185317" y="5780176"/>
                  </a:lnTo>
                  <a:lnTo>
                    <a:pt x="3232479" y="5775145"/>
                  </a:lnTo>
                  <a:lnTo>
                    <a:pt x="3279413" y="5769363"/>
                  </a:lnTo>
                  <a:lnTo>
                    <a:pt x="3326113" y="5762836"/>
                  </a:lnTo>
                  <a:lnTo>
                    <a:pt x="3372571" y="5755570"/>
                  </a:lnTo>
                  <a:lnTo>
                    <a:pt x="3418783" y="5747572"/>
                  </a:lnTo>
                  <a:lnTo>
                    <a:pt x="3464741" y="5738847"/>
                  </a:lnTo>
                  <a:lnTo>
                    <a:pt x="3510441" y="5729403"/>
                  </a:lnTo>
                  <a:lnTo>
                    <a:pt x="3555874" y="5719243"/>
                  </a:lnTo>
                  <a:lnTo>
                    <a:pt x="3601036" y="5708376"/>
                  </a:lnTo>
                  <a:lnTo>
                    <a:pt x="3645921" y="5696808"/>
                  </a:lnTo>
                  <a:lnTo>
                    <a:pt x="3690521" y="5684543"/>
                  </a:lnTo>
                  <a:lnTo>
                    <a:pt x="3734832" y="5671589"/>
                  </a:lnTo>
                  <a:lnTo>
                    <a:pt x="3778846" y="5657952"/>
                  </a:lnTo>
                  <a:lnTo>
                    <a:pt x="3822558" y="5643637"/>
                  </a:lnTo>
                  <a:lnTo>
                    <a:pt x="3865961" y="5628651"/>
                  </a:lnTo>
                  <a:lnTo>
                    <a:pt x="3909050" y="5613000"/>
                  </a:lnTo>
                  <a:lnTo>
                    <a:pt x="3951818" y="5596691"/>
                  </a:lnTo>
                  <a:lnTo>
                    <a:pt x="3994259" y="5579728"/>
                  </a:lnTo>
                  <a:lnTo>
                    <a:pt x="4036367" y="5562120"/>
                  </a:lnTo>
                  <a:lnTo>
                    <a:pt x="4078136" y="5543871"/>
                  </a:lnTo>
                  <a:lnTo>
                    <a:pt x="4119559" y="5524987"/>
                  </a:lnTo>
                  <a:lnTo>
                    <a:pt x="4160631" y="5505476"/>
                  </a:lnTo>
                  <a:lnTo>
                    <a:pt x="4201345" y="5485343"/>
                  </a:lnTo>
                  <a:lnTo>
                    <a:pt x="4241696" y="5464593"/>
                  </a:lnTo>
                  <a:lnTo>
                    <a:pt x="4281676" y="5443235"/>
                  </a:lnTo>
                  <a:lnTo>
                    <a:pt x="4321280" y="5421273"/>
                  </a:lnTo>
                  <a:lnTo>
                    <a:pt x="4360502" y="5398713"/>
                  </a:lnTo>
                  <a:lnTo>
                    <a:pt x="4399336" y="5375562"/>
                  </a:lnTo>
                  <a:lnTo>
                    <a:pt x="4437775" y="5351827"/>
                  </a:lnTo>
                  <a:lnTo>
                    <a:pt x="4475813" y="5327512"/>
                  </a:lnTo>
                  <a:lnTo>
                    <a:pt x="4513444" y="5302624"/>
                  </a:lnTo>
                  <a:lnTo>
                    <a:pt x="4550663" y="5277170"/>
                  </a:lnTo>
                  <a:lnTo>
                    <a:pt x="4587462" y="5251156"/>
                  </a:lnTo>
                  <a:lnTo>
                    <a:pt x="4623836" y="5224587"/>
                  </a:lnTo>
                  <a:lnTo>
                    <a:pt x="4659778" y="5197470"/>
                  </a:lnTo>
                  <a:lnTo>
                    <a:pt x="4695283" y="5169811"/>
                  </a:lnTo>
                  <a:lnTo>
                    <a:pt x="4730344" y="5141617"/>
                  </a:lnTo>
                  <a:lnTo>
                    <a:pt x="4764955" y="5112892"/>
                  </a:lnTo>
                  <a:lnTo>
                    <a:pt x="4799110" y="5083644"/>
                  </a:lnTo>
                  <a:lnTo>
                    <a:pt x="4832803" y="5053878"/>
                  </a:lnTo>
                  <a:lnTo>
                    <a:pt x="4866027" y="5023601"/>
                  </a:lnTo>
                  <a:lnTo>
                    <a:pt x="4898777" y="4992820"/>
                  </a:lnTo>
                  <a:lnTo>
                    <a:pt x="4931046" y="4961539"/>
                  </a:lnTo>
                  <a:lnTo>
                    <a:pt x="4962829" y="4929765"/>
                  </a:lnTo>
                  <a:lnTo>
                    <a:pt x="4994118" y="4897504"/>
                  </a:lnTo>
                  <a:lnTo>
                    <a:pt x="5024909" y="4864763"/>
                  </a:lnTo>
                  <a:lnTo>
                    <a:pt x="5055194" y="4831548"/>
                  </a:lnTo>
                  <a:lnTo>
                    <a:pt x="5084967" y="4797864"/>
                  </a:lnTo>
                  <a:lnTo>
                    <a:pt x="5114224" y="4763718"/>
                  </a:lnTo>
                  <a:lnTo>
                    <a:pt x="5142956" y="4729117"/>
                  </a:lnTo>
                  <a:lnTo>
                    <a:pt x="5171159" y="4694065"/>
                  </a:lnTo>
                  <a:lnTo>
                    <a:pt x="5198825" y="4658570"/>
                  </a:lnTo>
                  <a:lnTo>
                    <a:pt x="5225950" y="4622637"/>
                  </a:lnTo>
                  <a:lnTo>
                    <a:pt x="5252526" y="4586273"/>
                  </a:lnTo>
                  <a:lnTo>
                    <a:pt x="5278548" y="4549483"/>
                  </a:lnTo>
                  <a:lnTo>
                    <a:pt x="5304009" y="4512275"/>
                  </a:lnTo>
                  <a:lnTo>
                    <a:pt x="5328903" y="4474654"/>
                  </a:lnTo>
                  <a:lnTo>
                    <a:pt x="5353225" y="4436625"/>
                  </a:lnTo>
                  <a:lnTo>
                    <a:pt x="5376967" y="4398197"/>
                  </a:lnTo>
                  <a:lnTo>
                    <a:pt x="5400124" y="4359373"/>
                  </a:lnTo>
                  <a:lnTo>
                    <a:pt x="5422690" y="4320162"/>
                  </a:lnTo>
                  <a:lnTo>
                    <a:pt x="5444658" y="4280568"/>
                  </a:lnTo>
                  <a:lnTo>
                    <a:pt x="5466023" y="4240598"/>
                  </a:lnTo>
                  <a:lnTo>
                    <a:pt x="5486778" y="4200258"/>
                  </a:lnTo>
                  <a:lnTo>
                    <a:pt x="5506917" y="4159554"/>
                  </a:lnTo>
                  <a:lnTo>
                    <a:pt x="5526434" y="4118493"/>
                  </a:lnTo>
                  <a:lnTo>
                    <a:pt x="5545323" y="4077081"/>
                  </a:lnTo>
                  <a:lnTo>
                    <a:pt x="5563577" y="4035323"/>
                  </a:lnTo>
                  <a:lnTo>
                    <a:pt x="5581191" y="3993226"/>
                  </a:lnTo>
                  <a:lnTo>
                    <a:pt x="5598158" y="3950795"/>
                  </a:lnTo>
                  <a:lnTo>
                    <a:pt x="5614472" y="3908038"/>
                  </a:lnTo>
                  <a:lnTo>
                    <a:pt x="5630127" y="3864960"/>
                  </a:lnTo>
                  <a:lnTo>
                    <a:pt x="5645117" y="3821568"/>
                  </a:lnTo>
                  <a:lnTo>
                    <a:pt x="5659436" y="3777867"/>
                  </a:lnTo>
                  <a:lnTo>
                    <a:pt x="5673077" y="3733864"/>
                  </a:lnTo>
                  <a:lnTo>
                    <a:pt x="5686035" y="3689565"/>
                  </a:lnTo>
                  <a:lnTo>
                    <a:pt x="5698303" y="3644976"/>
                  </a:lnTo>
                  <a:lnTo>
                    <a:pt x="5709876" y="3600103"/>
                  </a:lnTo>
                  <a:lnTo>
                    <a:pt x="5720746" y="3554952"/>
                  </a:lnTo>
                  <a:lnTo>
                    <a:pt x="5730908" y="3509529"/>
                  </a:lnTo>
                  <a:lnTo>
                    <a:pt x="5740355" y="3463842"/>
                  </a:lnTo>
                  <a:lnTo>
                    <a:pt x="5749083" y="3417895"/>
                  </a:lnTo>
                  <a:lnTo>
                    <a:pt x="5757083" y="3371694"/>
                  </a:lnTo>
                  <a:lnTo>
                    <a:pt x="5764351" y="3325247"/>
                  </a:lnTo>
                  <a:lnTo>
                    <a:pt x="5770880" y="3278559"/>
                  </a:lnTo>
                  <a:lnTo>
                    <a:pt x="5776664" y="3231637"/>
                  </a:lnTo>
                  <a:lnTo>
                    <a:pt x="5781696" y="3184485"/>
                  </a:lnTo>
                  <a:lnTo>
                    <a:pt x="5785971" y="3137112"/>
                  </a:lnTo>
                  <a:lnTo>
                    <a:pt x="5789483" y="3089522"/>
                  </a:lnTo>
                  <a:lnTo>
                    <a:pt x="5792225" y="3041722"/>
                  </a:lnTo>
                  <a:lnTo>
                    <a:pt x="5794191" y="2993718"/>
                  </a:lnTo>
                  <a:lnTo>
                    <a:pt x="5795375" y="2945517"/>
                  </a:lnTo>
                  <a:lnTo>
                    <a:pt x="5795772" y="2897123"/>
                  </a:lnTo>
                  <a:lnTo>
                    <a:pt x="5795375" y="2848730"/>
                  </a:lnTo>
                  <a:lnTo>
                    <a:pt x="5794191" y="2800529"/>
                  </a:lnTo>
                  <a:lnTo>
                    <a:pt x="5792225" y="2752525"/>
                  </a:lnTo>
                  <a:lnTo>
                    <a:pt x="5789483" y="2704725"/>
                  </a:lnTo>
                  <a:lnTo>
                    <a:pt x="5785971" y="2657135"/>
                  </a:lnTo>
                  <a:lnTo>
                    <a:pt x="5781696" y="2609762"/>
                  </a:lnTo>
                  <a:lnTo>
                    <a:pt x="5776664" y="2562610"/>
                  </a:lnTo>
                  <a:lnTo>
                    <a:pt x="5770880" y="2515688"/>
                  </a:lnTo>
                  <a:lnTo>
                    <a:pt x="5764351" y="2469000"/>
                  </a:lnTo>
                  <a:lnTo>
                    <a:pt x="5757083" y="2422553"/>
                  </a:lnTo>
                  <a:lnTo>
                    <a:pt x="5749083" y="2376352"/>
                  </a:lnTo>
                  <a:lnTo>
                    <a:pt x="5740355" y="2330405"/>
                  </a:lnTo>
                  <a:lnTo>
                    <a:pt x="5730908" y="2284718"/>
                  </a:lnTo>
                  <a:lnTo>
                    <a:pt x="5720746" y="2239295"/>
                  </a:lnTo>
                  <a:lnTo>
                    <a:pt x="5709876" y="2194144"/>
                  </a:lnTo>
                  <a:lnTo>
                    <a:pt x="5698303" y="2149271"/>
                  </a:lnTo>
                  <a:lnTo>
                    <a:pt x="5686035" y="2104682"/>
                  </a:lnTo>
                  <a:lnTo>
                    <a:pt x="5673077" y="2060383"/>
                  </a:lnTo>
                  <a:lnTo>
                    <a:pt x="5659436" y="2016380"/>
                  </a:lnTo>
                  <a:lnTo>
                    <a:pt x="5645117" y="1972679"/>
                  </a:lnTo>
                  <a:lnTo>
                    <a:pt x="5630127" y="1929287"/>
                  </a:lnTo>
                  <a:lnTo>
                    <a:pt x="5614472" y="1886209"/>
                  </a:lnTo>
                  <a:lnTo>
                    <a:pt x="5598158" y="1843452"/>
                  </a:lnTo>
                  <a:lnTo>
                    <a:pt x="5581191" y="1801021"/>
                  </a:lnTo>
                  <a:lnTo>
                    <a:pt x="5563577" y="1758924"/>
                  </a:lnTo>
                  <a:lnTo>
                    <a:pt x="5545323" y="1717166"/>
                  </a:lnTo>
                  <a:lnTo>
                    <a:pt x="5526434" y="1675754"/>
                  </a:lnTo>
                  <a:lnTo>
                    <a:pt x="5506917" y="1634693"/>
                  </a:lnTo>
                  <a:lnTo>
                    <a:pt x="5486778" y="1593989"/>
                  </a:lnTo>
                  <a:lnTo>
                    <a:pt x="5466023" y="1553649"/>
                  </a:lnTo>
                  <a:lnTo>
                    <a:pt x="5444658" y="1513679"/>
                  </a:lnTo>
                  <a:lnTo>
                    <a:pt x="5422690" y="1474085"/>
                  </a:lnTo>
                  <a:lnTo>
                    <a:pt x="5400124" y="1434874"/>
                  </a:lnTo>
                  <a:lnTo>
                    <a:pt x="5376967" y="1396050"/>
                  </a:lnTo>
                  <a:lnTo>
                    <a:pt x="5353225" y="1357622"/>
                  </a:lnTo>
                  <a:lnTo>
                    <a:pt x="5328903" y="1319593"/>
                  </a:lnTo>
                  <a:lnTo>
                    <a:pt x="5304009" y="1281972"/>
                  </a:lnTo>
                  <a:lnTo>
                    <a:pt x="5278548" y="1244764"/>
                  </a:lnTo>
                  <a:lnTo>
                    <a:pt x="5252526" y="1207974"/>
                  </a:lnTo>
                  <a:lnTo>
                    <a:pt x="5225950" y="1171610"/>
                  </a:lnTo>
                  <a:lnTo>
                    <a:pt x="5198825" y="1135677"/>
                  </a:lnTo>
                  <a:lnTo>
                    <a:pt x="5171159" y="1100182"/>
                  </a:lnTo>
                  <a:lnTo>
                    <a:pt x="5142956" y="1065130"/>
                  </a:lnTo>
                  <a:lnTo>
                    <a:pt x="5114224" y="1030529"/>
                  </a:lnTo>
                  <a:lnTo>
                    <a:pt x="5084967" y="996383"/>
                  </a:lnTo>
                  <a:lnTo>
                    <a:pt x="5055194" y="962699"/>
                  </a:lnTo>
                  <a:lnTo>
                    <a:pt x="5024909" y="929484"/>
                  </a:lnTo>
                  <a:lnTo>
                    <a:pt x="4994118" y="896743"/>
                  </a:lnTo>
                  <a:lnTo>
                    <a:pt x="4962829" y="864482"/>
                  </a:lnTo>
                  <a:lnTo>
                    <a:pt x="4931046" y="832708"/>
                  </a:lnTo>
                  <a:lnTo>
                    <a:pt x="4898777" y="801427"/>
                  </a:lnTo>
                  <a:lnTo>
                    <a:pt x="4866027" y="770646"/>
                  </a:lnTo>
                  <a:lnTo>
                    <a:pt x="4832803" y="740369"/>
                  </a:lnTo>
                  <a:lnTo>
                    <a:pt x="4799110" y="710603"/>
                  </a:lnTo>
                  <a:lnTo>
                    <a:pt x="4764955" y="681355"/>
                  </a:lnTo>
                  <a:lnTo>
                    <a:pt x="4730344" y="652630"/>
                  </a:lnTo>
                  <a:lnTo>
                    <a:pt x="4695283" y="624436"/>
                  </a:lnTo>
                  <a:lnTo>
                    <a:pt x="4659778" y="596777"/>
                  </a:lnTo>
                  <a:lnTo>
                    <a:pt x="4623836" y="569660"/>
                  </a:lnTo>
                  <a:lnTo>
                    <a:pt x="4587462" y="543091"/>
                  </a:lnTo>
                  <a:lnTo>
                    <a:pt x="4550663" y="517077"/>
                  </a:lnTo>
                  <a:lnTo>
                    <a:pt x="4513444" y="491623"/>
                  </a:lnTo>
                  <a:lnTo>
                    <a:pt x="4475813" y="466735"/>
                  </a:lnTo>
                  <a:lnTo>
                    <a:pt x="4437775" y="442420"/>
                  </a:lnTo>
                  <a:lnTo>
                    <a:pt x="4399336" y="418685"/>
                  </a:lnTo>
                  <a:lnTo>
                    <a:pt x="4360502" y="395534"/>
                  </a:lnTo>
                  <a:lnTo>
                    <a:pt x="4321280" y="372974"/>
                  </a:lnTo>
                  <a:lnTo>
                    <a:pt x="4281676" y="351012"/>
                  </a:lnTo>
                  <a:lnTo>
                    <a:pt x="4241696" y="329654"/>
                  </a:lnTo>
                  <a:lnTo>
                    <a:pt x="4201345" y="308904"/>
                  </a:lnTo>
                  <a:lnTo>
                    <a:pt x="4160631" y="288771"/>
                  </a:lnTo>
                  <a:lnTo>
                    <a:pt x="4119559" y="269260"/>
                  </a:lnTo>
                  <a:lnTo>
                    <a:pt x="4078136" y="250376"/>
                  </a:lnTo>
                  <a:lnTo>
                    <a:pt x="4036367" y="232127"/>
                  </a:lnTo>
                  <a:lnTo>
                    <a:pt x="3994259" y="214519"/>
                  </a:lnTo>
                  <a:lnTo>
                    <a:pt x="3951818" y="197556"/>
                  </a:lnTo>
                  <a:lnTo>
                    <a:pt x="3909050" y="181247"/>
                  </a:lnTo>
                  <a:lnTo>
                    <a:pt x="3865961" y="165596"/>
                  </a:lnTo>
                  <a:lnTo>
                    <a:pt x="3822558" y="150610"/>
                  </a:lnTo>
                  <a:lnTo>
                    <a:pt x="3778846" y="136295"/>
                  </a:lnTo>
                  <a:lnTo>
                    <a:pt x="3734832" y="122658"/>
                  </a:lnTo>
                  <a:lnTo>
                    <a:pt x="3690521" y="109704"/>
                  </a:lnTo>
                  <a:lnTo>
                    <a:pt x="3645921" y="97439"/>
                  </a:lnTo>
                  <a:lnTo>
                    <a:pt x="3601036" y="85871"/>
                  </a:lnTo>
                  <a:lnTo>
                    <a:pt x="3555874" y="75004"/>
                  </a:lnTo>
                  <a:lnTo>
                    <a:pt x="3510441" y="64844"/>
                  </a:lnTo>
                  <a:lnTo>
                    <a:pt x="3464741" y="55400"/>
                  </a:lnTo>
                  <a:lnTo>
                    <a:pt x="3418783" y="46675"/>
                  </a:lnTo>
                  <a:lnTo>
                    <a:pt x="3372571" y="38677"/>
                  </a:lnTo>
                  <a:lnTo>
                    <a:pt x="3326113" y="31411"/>
                  </a:lnTo>
                  <a:lnTo>
                    <a:pt x="3279413" y="24884"/>
                  </a:lnTo>
                  <a:lnTo>
                    <a:pt x="3232479" y="19102"/>
                  </a:lnTo>
                  <a:lnTo>
                    <a:pt x="3185317" y="14071"/>
                  </a:lnTo>
                  <a:lnTo>
                    <a:pt x="3137932" y="9797"/>
                  </a:lnTo>
                  <a:lnTo>
                    <a:pt x="3090330" y="6286"/>
                  </a:lnTo>
                  <a:lnTo>
                    <a:pt x="3042519" y="3545"/>
                  </a:lnTo>
                  <a:lnTo>
                    <a:pt x="2994504" y="1579"/>
                  </a:lnTo>
                  <a:lnTo>
                    <a:pt x="2946290" y="395"/>
                  </a:lnTo>
                  <a:lnTo>
                    <a:pt x="2897886" y="0"/>
                  </a:lnTo>
                  <a:close/>
                </a:path>
              </a:pathLst>
            </a:custGeom>
            <a:solidFill>
              <a:srgbClr val="DBF4E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3" name="object 23"/>
            <p:cNvPicPr/>
            <p:nvPr/>
          </p:nvPicPr>
          <p:blipFill>
            <a:blip r:embed="rId11" cstate="screen">
              <a:extLst>
                <a:ext uri="{28A0092B-C50C-407E-A947-70E740481C1C}">
                  <a14:useLocalDpi xmlns:a14="http://schemas.microsoft.com/office/drawing/2010/main"/>
                </a:ext>
              </a:extLst>
            </a:blip>
            <a:stretch>
              <a:fillRect/>
            </a:stretch>
          </p:blipFill>
          <p:spPr>
            <a:xfrm>
              <a:off x="2495676" y="1054353"/>
              <a:ext cx="1080084" cy="228600"/>
            </a:xfrm>
            <a:prstGeom prst="rect">
              <a:avLst/>
            </a:prstGeom>
          </p:spPr>
        </p:pic>
        <p:sp>
          <p:nvSpPr>
            <p:cNvPr id="24" name="object 24"/>
            <p:cNvSpPr/>
            <p:nvPr/>
          </p:nvSpPr>
          <p:spPr>
            <a:xfrm>
              <a:off x="5971032" y="989075"/>
              <a:ext cx="4593590" cy="4436745"/>
            </a:xfrm>
            <a:custGeom>
              <a:avLst/>
              <a:gdLst/>
              <a:ahLst/>
              <a:cxnLst/>
              <a:rect l="l" t="t" r="r" b="b"/>
              <a:pathLst>
                <a:path w="4593590" h="4436745">
                  <a:moveTo>
                    <a:pt x="2296667" y="0"/>
                  </a:moveTo>
                  <a:lnTo>
                    <a:pt x="2247370" y="500"/>
                  </a:lnTo>
                  <a:lnTo>
                    <a:pt x="2198325" y="1996"/>
                  </a:lnTo>
                  <a:lnTo>
                    <a:pt x="2149545" y="4477"/>
                  </a:lnTo>
                  <a:lnTo>
                    <a:pt x="2101039" y="7933"/>
                  </a:lnTo>
                  <a:lnTo>
                    <a:pt x="2052817" y="12354"/>
                  </a:lnTo>
                  <a:lnTo>
                    <a:pt x="2004890" y="17730"/>
                  </a:lnTo>
                  <a:lnTo>
                    <a:pt x="1957269" y="24051"/>
                  </a:lnTo>
                  <a:lnTo>
                    <a:pt x="1909963" y="31307"/>
                  </a:lnTo>
                  <a:lnTo>
                    <a:pt x="1862983" y="39488"/>
                  </a:lnTo>
                  <a:lnTo>
                    <a:pt x="1816340" y="48584"/>
                  </a:lnTo>
                  <a:lnTo>
                    <a:pt x="1770043" y="58585"/>
                  </a:lnTo>
                  <a:lnTo>
                    <a:pt x="1724104" y="69481"/>
                  </a:lnTo>
                  <a:lnTo>
                    <a:pt x="1678531" y="81261"/>
                  </a:lnTo>
                  <a:lnTo>
                    <a:pt x="1633337" y="93917"/>
                  </a:lnTo>
                  <a:lnTo>
                    <a:pt x="1588531" y="107438"/>
                  </a:lnTo>
                  <a:lnTo>
                    <a:pt x="1544123" y="121814"/>
                  </a:lnTo>
                  <a:lnTo>
                    <a:pt x="1500124" y="137035"/>
                  </a:lnTo>
                  <a:lnTo>
                    <a:pt x="1456544" y="153090"/>
                  </a:lnTo>
                  <a:lnTo>
                    <a:pt x="1413394" y="169971"/>
                  </a:lnTo>
                  <a:lnTo>
                    <a:pt x="1370684" y="187667"/>
                  </a:lnTo>
                  <a:lnTo>
                    <a:pt x="1328424" y="206167"/>
                  </a:lnTo>
                  <a:lnTo>
                    <a:pt x="1286624" y="225463"/>
                  </a:lnTo>
                  <a:lnTo>
                    <a:pt x="1245296" y="245543"/>
                  </a:lnTo>
                  <a:lnTo>
                    <a:pt x="1204449" y="266398"/>
                  </a:lnTo>
                  <a:lnTo>
                    <a:pt x="1164093" y="288019"/>
                  </a:lnTo>
                  <a:lnTo>
                    <a:pt x="1124240" y="310394"/>
                  </a:lnTo>
                  <a:lnTo>
                    <a:pt x="1084899" y="333514"/>
                  </a:lnTo>
                  <a:lnTo>
                    <a:pt x="1046081" y="357369"/>
                  </a:lnTo>
                  <a:lnTo>
                    <a:pt x="1007796" y="381949"/>
                  </a:lnTo>
                  <a:lnTo>
                    <a:pt x="970054" y="407244"/>
                  </a:lnTo>
                  <a:lnTo>
                    <a:pt x="932866" y="433243"/>
                  </a:lnTo>
                  <a:lnTo>
                    <a:pt x="896242" y="459938"/>
                  </a:lnTo>
                  <a:lnTo>
                    <a:pt x="860193" y="487317"/>
                  </a:lnTo>
                  <a:lnTo>
                    <a:pt x="824729" y="515372"/>
                  </a:lnTo>
                  <a:lnTo>
                    <a:pt x="789860" y="544091"/>
                  </a:lnTo>
                  <a:lnTo>
                    <a:pt x="755596" y="573465"/>
                  </a:lnTo>
                  <a:lnTo>
                    <a:pt x="721949" y="603484"/>
                  </a:lnTo>
                  <a:lnTo>
                    <a:pt x="688928" y="634138"/>
                  </a:lnTo>
                  <a:lnTo>
                    <a:pt x="656543" y="665417"/>
                  </a:lnTo>
                  <a:lnTo>
                    <a:pt x="624805" y="697310"/>
                  </a:lnTo>
                  <a:lnTo>
                    <a:pt x="593725" y="729809"/>
                  </a:lnTo>
                  <a:lnTo>
                    <a:pt x="563313" y="762902"/>
                  </a:lnTo>
                  <a:lnTo>
                    <a:pt x="533578" y="796580"/>
                  </a:lnTo>
                  <a:lnTo>
                    <a:pt x="504532" y="830833"/>
                  </a:lnTo>
                  <a:lnTo>
                    <a:pt x="476185" y="865651"/>
                  </a:lnTo>
                  <a:lnTo>
                    <a:pt x="448547" y="901023"/>
                  </a:lnTo>
                  <a:lnTo>
                    <a:pt x="421629" y="936940"/>
                  </a:lnTo>
                  <a:lnTo>
                    <a:pt x="395440" y="973393"/>
                  </a:lnTo>
                  <a:lnTo>
                    <a:pt x="369991" y="1010370"/>
                  </a:lnTo>
                  <a:lnTo>
                    <a:pt x="345294" y="1047862"/>
                  </a:lnTo>
                  <a:lnTo>
                    <a:pt x="321357" y="1085858"/>
                  </a:lnTo>
                  <a:lnTo>
                    <a:pt x="298191" y="1124350"/>
                  </a:lnTo>
                  <a:lnTo>
                    <a:pt x="275807" y="1163326"/>
                  </a:lnTo>
                  <a:lnTo>
                    <a:pt x="254215" y="1202777"/>
                  </a:lnTo>
                  <a:lnTo>
                    <a:pt x="233425" y="1242693"/>
                  </a:lnTo>
                  <a:lnTo>
                    <a:pt x="213448" y="1283063"/>
                  </a:lnTo>
                  <a:lnTo>
                    <a:pt x="194294" y="1323879"/>
                  </a:lnTo>
                  <a:lnTo>
                    <a:pt x="175973" y="1365129"/>
                  </a:lnTo>
                  <a:lnTo>
                    <a:pt x="158496" y="1406804"/>
                  </a:lnTo>
                  <a:lnTo>
                    <a:pt x="141873" y="1448893"/>
                  </a:lnTo>
                  <a:lnTo>
                    <a:pt x="126115" y="1491388"/>
                  </a:lnTo>
                  <a:lnTo>
                    <a:pt x="111232" y="1534277"/>
                  </a:lnTo>
                  <a:lnTo>
                    <a:pt x="97233" y="1577551"/>
                  </a:lnTo>
                  <a:lnTo>
                    <a:pt x="84130" y="1621199"/>
                  </a:lnTo>
                  <a:lnTo>
                    <a:pt x="71934" y="1665213"/>
                  </a:lnTo>
                  <a:lnTo>
                    <a:pt x="60653" y="1709581"/>
                  </a:lnTo>
                  <a:lnTo>
                    <a:pt x="50299" y="1754294"/>
                  </a:lnTo>
                  <a:lnTo>
                    <a:pt x="40882" y="1799341"/>
                  </a:lnTo>
                  <a:lnTo>
                    <a:pt x="32412" y="1844714"/>
                  </a:lnTo>
                  <a:lnTo>
                    <a:pt x="24900" y="1890401"/>
                  </a:lnTo>
                  <a:lnTo>
                    <a:pt x="18356" y="1936392"/>
                  </a:lnTo>
                  <a:lnTo>
                    <a:pt x="12790" y="1982679"/>
                  </a:lnTo>
                  <a:lnTo>
                    <a:pt x="8213" y="2029250"/>
                  </a:lnTo>
                  <a:lnTo>
                    <a:pt x="4635" y="2076096"/>
                  </a:lnTo>
                  <a:lnTo>
                    <a:pt x="2067" y="2123206"/>
                  </a:lnTo>
                  <a:lnTo>
                    <a:pt x="518" y="2170572"/>
                  </a:lnTo>
                  <a:lnTo>
                    <a:pt x="0" y="2218182"/>
                  </a:lnTo>
                  <a:lnTo>
                    <a:pt x="518" y="2265791"/>
                  </a:lnTo>
                  <a:lnTo>
                    <a:pt x="2067" y="2313157"/>
                  </a:lnTo>
                  <a:lnTo>
                    <a:pt x="4635" y="2360267"/>
                  </a:lnTo>
                  <a:lnTo>
                    <a:pt x="8213" y="2407113"/>
                  </a:lnTo>
                  <a:lnTo>
                    <a:pt x="12790" y="2453684"/>
                  </a:lnTo>
                  <a:lnTo>
                    <a:pt x="18356" y="2499971"/>
                  </a:lnTo>
                  <a:lnTo>
                    <a:pt x="24900" y="2545962"/>
                  </a:lnTo>
                  <a:lnTo>
                    <a:pt x="32412" y="2591649"/>
                  </a:lnTo>
                  <a:lnTo>
                    <a:pt x="40882" y="2637022"/>
                  </a:lnTo>
                  <a:lnTo>
                    <a:pt x="50299" y="2682069"/>
                  </a:lnTo>
                  <a:lnTo>
                    <a:pt x="60653" y="2726782"/>
                  </a:lnTo>
                  <a:lnTo>
                    <a:pt x="71934" y="2771150"/>
                  </a:lnTo>
                  <a:lnTo>
                    <a:pt x="84130" y="2815164"/>
                  </a:lnTo>
                  <a:lnTo>
                    <a:pt x="97233" y="2858812"/>
                  </a:lnTo>
                  <a:lnTo>
                    <a:pt x="111232" y="2902086"/>
                  </a:lnTo>
                  <a:lnTo>
                    <a:pt x="126115" y="2944975"/>
                  </a:lnTo>
                  <a:lnTo>
                    <a:pt x="141873" y="2987470"/>
                  </a:lnTo>
                  <a:lnTo>
                    <a:pt x="158496" y="3029559"/>
                  </a:lnTo>
                  <a:lnTo>
                    <a:pt x="175973" y="3071234"/>
                  </a:lnTo>
                  <a:lnTo>
                    <a:pt x="194294" y="3112484"/>
                  </a:lnTo>
                  <a:lnTo>
                    <a:pt x="213448" y="3153300"/>
                  </a:lnTo>
                  <a:lnTo>
                    <a:pt x="233425" y="3193670"/>
                  </a:lnTo>
                  <a:lnTo>
                    <a:pt x="254215" y="3233586"/>
                  </a:lnTo>
                  <a:lnTo>
                    <a:pt x="275807" y="3273037"/>
                  </a:lnTo>
                  <a:lnTo>
                    <a:pt x="298191" y="3312013"/>
                  </a:lnTo>
                  <a:lnTo>
                    <a:pt x="321357" y="3350505"/>
                  </a:lnTo>
                  <a:lnTo>
                    <a:pt x="345294" y="3388501"/>
                  </a:lnTo>
                  <a:lnTo>
                    <a:pt x="369991" y="3425993"/>
                  </a:lnTo>
                  <a:lnTo>
                    <a:pt x="395440" y="3462970"/>
                  </a:lnTo>
                  <a:lnTo>
                    <a:pt x="421629" y="3499423"/>
                  </a:lnTo>
                  <a:lnTo>
                    <a:pt x="448547" y="3535340"/>
                  </a:lnTo>
                  <a:lnTo>
                    <a:pt x="476185" y="3570712"/>
                  </a:lnTo>
                  <a:lnTo>
                    <a:pt x="504532" y="3605530"/>
                  </a:lnTo>
                  <a:lnTo>
                    <a:pt x="533578" y="3639783"/>
                  </a:lnTo>
                  <a:lnTo>
                    <a:pt x="563313" y="3673461"/>
                  </a:lnTo>
                  <a:lnTo>
                    <a:pt x="593725" y="3706554"/>
                  </a:lnTo>
                  <a:lnTo>
                    <a:pt x="624805" y="3739053"/>
                  </a:lnTo>
                  <a:lnTo>
                    <a:pt x="656543" y="3770946"/>
                  </a:lnTo>
                  <a:lnTo>
                    <a:pt x="688928" y="3802225"/>
                  </a:lnTo>
                  <a:lnTo>
                    <a:pt x="721949" y="3832879"/>
                  </a:lnTo>
                  <a:lnTo>
                    <a:pt x="755596" y="3862898"/>
                  </a:lnTo>
                  <a:lnTo>
                    <a:pt x="789860" y="3892272"/>
                  </a:lnTo>
                  <a:lnTo>
                    <a:pt x="824729" y="3920991"/>
                  </a:lnTo>
                  <a:lnTo>
                    <a:pt x="860193" y="3949046"/>
                  </a:lnTo>
                  <a:lnTo>
                    <a:pt x="896242" y="3976425"/>
                  </a:lnTo>
                  <a:lnTo>
                    <a:pt x="932866" y="4003120"/>
                  </a:lnTo>
                  <a:lnTo>
                    <a:pt x="970054" y="4029119"/>
                  </a:lnTo>
                  <a:lnTo>
                    <a:pt x="1007796" y="4054414"/>
                  </a:lnTo>
                  <a:lnTo>
                    <a:pt x="1046081" y="4078994"/>
                  </a:lnTo>
                  <a:lnTo>
                    <a:pt x="1084899" y="4102849"/>
                  </a:lnTo>
                  <a:lnTo>
                    <a:pt x="1124240" y="4125969"/>
                  </a:lnTo>
                  <a:lnTo>
                    <a:pt x="1164093" y="4148344"/>
                  </a:lnTo>
                  <a:lnTo>
                    <a:pt x="1204449" y="4169965"/>
                  </a:lnTo>
                  <a:lnTo>
                    <a:pt x="1245296" y="4190820"/>
                  </a:lnTo>
                  <a:lnTo>
                    <a:pt x="1286624" y="4210900"/>
                  </a:lnTo>
                  <a:lnTo>
                    <a:pt x="1328424" y="4230196"/>
                  </a:lnTo>
                  <a:lnTo>
                    <a:pt x="1370684" y="4248696"/>
                  </a:lnTo>
                  <a:lnTo>
                    <a:pt x="1413394" y="4266392"/>
                  </a:lnTo>
                  <a:lnTo>
                    <a:pt x="1456544" y="4283273"/>
                  </a:lnTo>
                  <a:lnTo>
                    <a:pt x="1500124" y="4299328"/>
                  </a:lnTo>
                  <a:lnTo>
                    <a:pt x="1544123" y="4314549"/>
                  </a:lnTo>
                  <a:lnTo>
                    <a:pt x="1588531" y="4328925"/>
                  </a:lnTo>
                  <a:lnTo>
                    <a:pt x="1633337" y="4342446"/>
                  </a:lnTo>
                  <a:lnTo>
                    <a:pt x="1678531" y="4355102"/>
                  </a:lnTo>
                  <a:lnTo>
                    <a:pt x="1724104" y="4366882"/>
                  </a:lnTo>
                  <a:lnTo>
                    <a:pt x="1770043" y="4377778"/>
                  </a:lnTo>
                  <a:lnTo>
                    <a:pt x="1816340" y="4387779"/>
                  </a:lnTo>
                  <a:lnTo>
                    <a:pt x="1862983" y="4396875"/>
                  </a:lnTo>
                  <a:lnTo>
                    <a:pt x="1909963" y="4405056"/>
                  </a:lnTo>
                  <a:lnTo>
                    <a:pt x="1957269" y="4412312"/>
                  </a:lnTo>
                  <a:lnTo>
                    <a:pt x="2004890" y="4418633"/>
                  </a:lnTo>
                  <a:lnTo>
                    <a:pt x="2052817" y="4424009"/>
                  </a:lnTo>
                  <a:lnTo>
                    <a:pt x="2101039" y="4428430"/>
                  </a:lnTo>
                  <a:lnTo>
                    <a:pt x="2149545" y="4431886"/>
                  </a:lnTo>
                  <a:lnTo>
                    <a:pt x="2198325" y="4434367"/>
                  </a:lnTo>
                  <a:lnTo>
                    <a:pt x="2247370" y="4435863"/>
                  </a:lnTo>
                  <a:lnTo>
                    <a:pt x="2296667" y="4436364"/>
                  </a:lnTo>
                  <a:lnTo>
                    <a:pt x="2345965" y="4435863"/>
                  </a:lnTo>
                  <a:lnTo>
                    <a:pt x="2395010" y="4434367"/>
                  </a:lnTo>
                  <a:lnTo>
                    <a:pt x="2443790" y="4431886"/>
                  </a:lnTo>
                  <a:lnTo>
                    <a:pt x="2492296" y="4428430"/>
                  </a:lnTo>
                  <a:lnTo>
                    <a:pt x="2540518" y="4424009"/>
                  </a:lnTo>
                  <a:lnTo>
                    <a:pt x="2588445" y="4418633"/>
                  </a:lnTo>
                  <a:lnTo>
                    <a:pt x="2636066" y="4412312"/>
                  </a:lnTo>
                  <a:lnTo>
                    <a:pt x="2683372" y="4405056"/>
                  </a:lnTo>
                  <a:lnTo>
                    <a:pt x="2730352" y="4396875"/>
                  </a:lnTo>
                  <a:lnTo>
                    <a:pt x="2776995" y="4387779"/>
                  </a:lnTo>
                  <a:lnTo>
                    <a:pt x="2823292" y="4377778"/>
                  </a:lnTo>
                  <a:lnTo>
                    <a:pt x="2869231" y="4366882"/>
                  </a:lnTo>
                  <a:lnTo>
                    <a:pt x="2914804" y="4355102"/>
                  </a:lnTo>
                  <a:lnTo>
                    <a:pt x="2959998" y="4342446"/>
                  </a:lnTo>
                  <a:lnTo>
                    <a:pt x="3004804" y="4328925"/>
                  </a:lnTo>
                  <a:lnTo>
                    <a:pt x="3049212" y="4314549"/>
                  </a:lnTo>
                  <a:lnTo>
                    <a:pt x="3093211" y="4299328"/>
                  </a:lnTo>
                  <a:lnTo>
                    <a:pt x="3136791" y="4283273"/>
                  </a:lnTo>
                  <a:lnTo>
                    <a:pt x="3179941" y="4266392"/>
                  </a:lnTo>
                  <a:lnTo>
                    <a:pt x="3222651" y="4248696"/>
                  </a:lnTo>
                  <a:lnTo>
                    <a:pt x="3264911" y="4230196"/>
                  </a:lnTo>
                  <a:lnTo>
                    <a:pt x="3306711" y="4210900"/>
                  </a:lnTo>
                  <a:lnTo>
                    <a:pt x="3348039" y="4190820"/>
                  </a:lnTo>
                  <a:lnTo>
                    <a:pt x="3388886" y="4169965"/>
                  </a:lnTo>
                  <a:lnTo>
                    <a:pt x="3429242" y="4148344"/>
                  </a:lnTo>
                  <a:lnTo>
                    <a:pt x="3469095" y="4125969"/>
                  </a:lnTo>
                  <a:lnTo>
                    <a:pt x="3508436" y="4102849"/>
                  </a:lnTo>
                  <a:lnTo>
                    <a:pt x="3547254" y="4078994"/>
                  </a:lnTo>
                  <a:lnTo>
                    <a:pt x="3585539" y="4054414"/>
                  </a:lnTo>
                  <a:lnTo>
                    <a:pt x="3623281" y="4029119"/>
                  </a:lnTo>
                  <a:lnTo>
                    <a:pt x="3660469" y="4003120"/>
                  </a:lnTo>
                  <a:lnTo>
                    <a:pt x="3697093" y="3976425"/>
                  </a:lnTo>
                  <a:lnTo>
                    <a:pt x="3733142" y="3949046"/>
                  </a:lnTo>
                  <a:lnTo>
                    <a:pt x="3768606" y="3920991"/>
                  </a:lnTo>
                  <a:lnTo>
                    <a:pt x="3803475" y="3892272"/>
                  </a:lnTo>
                  <a:lnTo>
                    <a:pt x="3837739" y="3862898"/>
                  </a:lnTo>
                  <a:lnTo>
                    <a:pt x="3871386" y="3832879"/>
                  </a:lnTo>
                  <a:lnTo>
                    <a:pt x="3904407" y="3802225"/>
                  </a:lnTo>
                  <a:lnTo>
                    <a:pt x="3936792" y="3770946"/>
                  </a:lnTo>
                  <a:lnTo>
                    <a:pt x="3968530" y="3739053"/>
                  </a:lnTo>
                  <a:lnTo>
                    <a:pt x="3999610" y="3706554"/>
                  </a:lnTo>
                  <a:lnTo>
                    <a:pt x="4030022" y="3673461"/>
                  </a:lnTo>
                  <a:lnTo>
                    <a:pt x="4059757" y="3639783"/>
                  </a:lnTo>
                  <a:lnTo>
                    <a:pt x="4088803" y="3605530"/>
                  </a:lnTo>
                  <a:lnTo>
                    <a:pt x="4117150" y="3570712"/>
                  </a:lnTo>
                  <a:lnTo>
                    <a:pt x="4144788" y="3535340"/>
                  </a:lnTo>
                  <a:lnTo>
                    <a:pt x="4171706" y="3499423"/>
                  </a:lnTo>
                  <a:lnTo>
                    <a:pt x="4197895" y="3462970"/>
                  </a:lnTo>
                  <a:lnTo>
                    <a:pt x="4223344" y="3425993"/>
                  </a:lnTo>
                  <a:lnTo>
                    <a:pt x="4248041" y="3388501"/>
                  </a:lnTo>
                  <a:lnTo>
                    <a:pt x="4271978" y="3350505"/>
                  </a:lnTo>
                  <a:lnTo>
                    <a:pt x="4295144" y="3312013"/>
                  </a:lnTo>
                  <a:lnTo>
                    <a:pt x="4317528" y="3273037"/>
                  </a:lnTo>
                  <a:lnTo>
                    <a:pt x="4339120" y="3233586"/>
                  </a:lnTo>
                  <a:lnTo>
                    <a:pt x="4359910" y="3193670"/>
                  </a:lnTo>
                  <a:lnTo>
                    <a:pt x="4379887" y="3153300"/>
                  </a:lnTo>
                  <a:lnTo>
                    <a:pt x="4399041" y="3112484"/>
                  </a:lnTo>
                  <a:lnTo>
                    <a:pt x="4417362" y="3071234"/>
                  </a:lnTo>
                  <a:lnTo>
                    <a:pt x="4434839" y="3029559"/>
                  </a:lnTo>
                  <a:lnTo>
                    <a:pt x="4451462" y="2987470"/>
                  </a:lnTo>
                  <a:lnTo>
                    <a:pt x="4467220" y="2944975"/>
                  </a:lnTo>
                  <a:lnTo>
                    <a:pt x="4482103" y="2902086"/>
                  </a:lnTo>
                  <a:lnTo>
                    <a:pt x="4496102" y="2858812"/>
                  </a:lnTo>
                  <a:lnTo>
                    <a:pt x="4509205" y="2815164"/>
                  </a:lnTo>
                  <a:lnTo>
                    <a:pt x="4521401" y="2771150"/>
                  </a:lnTo>
                  <a:lnTo>
                    <a:pt x="4532682" y="2726782"/>
                  </a:lnTo>
                  <a:lnTo>
                    <a:pt x="4543036" y="2682069"/>
                  </a:lnTo>
                  <a:lnTo>
                    <a:pt x="4552453" y="2637022"/>
                  </a:lnTo>
                  <a:lnTo>
                    <a:pt x="4560923" y="2591649"/>
                  </a:lnTo>
                  <a:lnTo>
                    <a:pt x="4568435" y="2545962"/>
                  </a:lnTo>
                  <a:lnTo>
                    <a:pt x="4574979" y="2499971"/>
                  </a:lnTo>
                  <a:lnTo>
                    <a:pt x="4580545" y="2453684"/>
                  </a:lnTo>
                  <a:lnTo>
                    <a:pt x="4585122" y="2407113"/>
                  </a:lnTo>
                  <a:lnTo>
                    <a:pt x="4588700" y="2360267"/>
                  </a:lnTo>
                  <a:lnTo>
                    <a:pt x="4591268" y="2313157"/>
                  </a:lnTo>
                  <a:lnTo>
                    <a:pt x="4592817" y="2265791"/>
                  </a:lnTo>
                  <a:lnTo>
                    <a:pt x="4593336" y="2218182"/>
                  </a:lnTo>
                  <a:lnTo>
                    <a:pt x="4592817" y="2170572"/>
                  </a:lnTo>
                  <a:lnTo>
                    <a:pt x="4591268" y="2123206"/>
                  </a:lnTo>
                  <a:lnTo>
                    <a:pt x="4588700" y="2076096"/>
                  </a:lnTo>
                  <a:lnTo>
                    <a:pt x="4585122" y="2029250"/>
                  </a:lnTo>
                  <a:lnTo>
                    <a:pt x="4580545" y="1982679"/>
                  </a:lnTo>
                  <a:lnTo>
                    <a:pt x="4574979" y="1936392"/>
                  </a:lnTo>
                  <a:lnTo>
                    <a:pt x="4568435" y="1890401"/>
                  </a:lnTo>
                  <a:lnTo>
                    <a:pt x="4560923" y="1844714"/>
                  </a:lnTo>
                  <a:lnTo>
                    <a:pt x="4552453" y="1799341"/>
                  </a:lnTo>
                  <a:lnTo>
                    <a:pt x="4543036" y="1754294"/>
                  </a:lnTo>
                  <a:lnTo>
                    <a:pt x="4532682" y="1709581"/>
                  </a:lnTo>
                  <a:lnTo>
                    <a:pt x="4521401" y="1665213"/>
                  </a:lnTo>
                  <a:lnTo>
                    <a:pt x="4509205" y="1621199"/>
                  </a:lnTo>
                  <a:lnTo>
                    <a:pt x="4496102" y="1577551"/>
                  </a:lnTo>
                  <a:lnTo>
                    <a:pt x="4482103" y="1534277"/>
                  </a:lnTo>
                  <a:lnTo>
                    <a:pt x="4467220" y="1491388"/>
                  </a:lnTo>
                  <a:lnTo>
                    <a:pt x="4451462" y="1448893"/>
                  </a:lnTo>
                  <a:lnTo>
                    <a:pt x="4434839" y="1406804"/>
                  </a:lnTo>
                  <a:lnTo>
                    <a:pt x="4417362" y="1365129"/>
                  </a:lnTo>
                  <a:lnTo>
                    <a:pt x="4399041" y="1323879"/>
                  </a:lnTo>
                  <a:lnTo>
                    <a:pt x="4379887" y="1283063"/>
                  </a:lnTo>
                  <a:lnTo>
                    <a:pt x="4359910" y="1242693"/>
                  </a:lnTo>
                  <a:lnTo>
                    <a:pt x="4339120" y="1202777"/>
                  </a:lnTo>
                  <a:lnTo>
                    <a:pt x="4317528" y="1163326"/>
                  </a:lnTo>
                  <a:lnTo>
                    <a:pt x="4295144" y="1124350"/>
                  </a:lnTo>
                  <a:lnTo>
                    <a:pt x="4271978" y="1085858"/>
                  </a:lnTo>
                  <a:lnTo>
                    <a:pt x="4248041" y="1047862"/>
                  </a:lnTo>
                  <a:lnTo>
                    <a:pt x="4223344" y="1010370"/>
                  </a:lnTo>
                  <a:lnTo>
                    <a:pt x="4197895" y="973393"/>
                  </a:lnTo>
                  <a:lnTo>
                    <a:pt x="4171706" y="936940"/>
                  </a:lnTo>
                  <a:lnTo>
                    <a:pt x="4144788" y="901023"/>
                  </a:lnTo>
                  <a:lnTo>
                    <a:pt x="4117150" y="865651"/>
                  </a:lnTo>
                  <a:lnTo>
                    <a:pt x="4088803" y="830833"/>
                  </a:lnTo>
                  <a:lnTo>
                    <a:pt x="4059757" y="796580"/>
                  </a:lnTo>
                  <a:lnTo>
                    <a:pt x="4030022" y="762902"/>
                  </a:lnTo>
                  <a:lnTo>
                    <a:pt x="3999610" y="729809"/>
                  </a:lnTo>
                  <a:lnTo>
                    <a:pt x="3968530" y="697310"/>
                  </a:lnTo>
                  <a:lnTo>
                    <a:pt x="3936792" y="665417"/>
                  </a:lnTo>
                  <a:lnTo>
                    <a:pt x="3904407" y="634138"/>
                  </a:lnTo>
                  <a:lnTo>
                    <a:pt x="3871386" y="603484"/>
                  </a:lnTo>
                  <a:lnTo>
                    <a:pt x="3837739" y="573465"/>
                  </a:lnTo>
                  <a:lnTo>
                    <a:pt x="3803475" y="544091"/>
                  </a:lnTo>
                  <a:lnTo>
                    <a:pt x="3768606" y="515372"/>
                  </a:lnTo>
                  <a:lnTo>
                    <a:pt x="3733142" y="487317"/>
                  </a:lnTo>
                  <a:lnTo>
                    <a:pt x="3697093" y="459938"/>
                  </a:lnTo>
                  <a:lnTo>
                    <a:pt x="3660469" y="433243"/>
                  </a:lnTo>
                  <a:lnTo>
                    <a:pt x="3623281" y="407244"/>
                  </a:lnTo>
                  <a:lnTo>
                    <a:pt x="3585539" y="381949"/>
                  </a:lnTo>
                  <a:lnTo>
                    <a:pt x="3547254" y="357369"/>
                  </a:lnTo>
                  <a:lnTo>
                    <a:pt x="3508436" y="333514"/>
                  </a:lnTo>
                  <a:lnTo>
                    <a:pt x="3469095" y="310394"/>
                  </a:lnTo>
                  <a:lnTo>
                    <a:pt x="3429242" y="288019"/>
                  </a:lnTo>
                  <a:lnTo>
                    <a:pt x="3388886" y="266398"/>
                  </a:lnTo>
                  <a:lnTo>
                    <a:pt x="3348039" y="245543"/>
                  </a:lnTo>
                  <a:lnTo>
                    <a:pt x="3306711" y="225463"/>
                  </a:lnTo>
                  <a:lnTo>
                    <a:pt x="3264911" y="206167"/>
                  </a:lnTo>
                  <a:lnTo>
                    <a:pt x="3222651" y="187667"/>
                  </a:lnTo>
                  <a:lnTo>
                    <a:pt x="3179941" y="169971"/>
                  </a:lnTo>
                  <a:lnTo>
                    <a:pt x="3136791" y="153090"/>
                  </a:lnTo>
                  <a:lnTo>
                    <a:pt x="3093211" y="137035"/>
                  </a:lnTo>
                  <a:lnTo>
                    <a:pt x="3049212" y="121814"/>
                  </a:lnTo>
                  <a:lnTo>
                    <a:pt x="3004804" y="107438"/>
                  </a:lnTo>
                  <a:lnTo>
                    <a:pt x="2959998" y="93917"/>
                  </a:lnTo>
                  <a:lnTo>
                    <a:pt x="2914804" y="81261"/>
                  </a:lnTo>
                  <a:lnTo>
                    <a:pt x="2869231" y="69481"/>
                  </a:lnTo>
                  <a:lnTo>
                    <a:pt x="2823292" y="58585"/>
                  </a:lnTo>
                  <a:lnTo>
                    <a:pt x="2776995" y="48584"/>
                  </a:lnTo>
                  <a:lnTo>
                    <a:pt x="2730352" y="39488"/>
                  </a:lnTo>
                  <a:lnTo>
                    <a:pt x="2683372" y="31307"/>
                  </a:lnTo>
                  <a:lnTo>
                    <a:pt x="2636066" y="24051"/>
                  </a:lnTo>
                  <a:lnTo>
                    <a:pt x="2588445" y="17730"/>
                  </a:lnTo>
                  <a:lnTo>
                    <a:pt x="2540518" y="12354"/>
                  </a:lnTo>
                  <a:lnTo>
                    <a:pt x="2492296" y="7933"/>
                  </a:lnTo>
                  <a:lnTo>
                    <a:pt x="2443790" y="4477"/>
                  </a:lnTo>
                  <a:lnTo>
                    <a:pt x="2395010" y="1996"/>
                  </a:lnTo>
                  <a:lnTo>
                    <a:pt x="2345965" y="500"/>
                  </a:lnTo>
                  <a:lnTo>
                    <a:pt x="2296667" y="0"/>
                  </a:lnTo>
                  <a:close/>
                </a:path>
              </a:pathLst>
            </a:custGeom>
            <a:solidFill>
              <a:srgbClr val="DFD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5" name="object 25"/>
            <p:cNvPicPr/>
            <p:nvPr/>
          </p:nvPicPr>
          <p:blipFill>
            <a:blip r:embed="rId12" cstate="screen">
              <a:extLst>
                <a:ext uri="{28A0092B-C50C-407E-A947-70E740481C1C}">
                  <a14:useLocalDpi xmlns:a14="http://schemas.microsoft.com/office/drawing/2010/main"/>
                </a:ext>
              </a:extLst>
            </a:blip>
            <a:stretch>
              <a:fillRect/>
            </a:stretch>
          </p:blipFill>
          <p:spPr>
            <a:xfrm>
              <a:off x="8026907" y="1056132"/>
              <a:ext cx="552119" cy="228600"/>
            </a:xfrm>
            <a:prstGeom prst="rect">
              <a:avLst/>
            </a:prstGeom>
          </p:spPr>
        </p:pic>
        <p:sp>
          <p:nvSpPr>
            <p:cNvPr id="26" name="object 26"/>
            <p:cNvSpPr/>
            <p:nvPr/>
          </p:nvSpPr>
          <p:spPr>
            <a:xfrm>
              <a:off x="5457444" y="4943855"/>
              <a:ext cx="1836420" cy="1781810"/>
            </a:xfrm>
            <a:custGeom>
              <a:avLst/>
              <a:gdLst/>
              <a:ahLst/>
              <a:cxnLst/>
              <a:rect l="l" t="t" r="r" b="b"/>
              <a:pathLst>
                <a:path w="1836420" h="1781809">
                  <a:moveTo>
                    <a:pt x="918209" y="0"/>
                  </a:moveTo>
                  <a:lnTo>
                    <a:pt x="869445" y="1234"/>
                  </a:lnTo>
                  <a:lnTo>
                    <a:pt x="821342" y="4897"/>
                  </a:lnTo>
                  <a:lnTo>
                    <a:pt x="773967" y="10927"/>
                  </a:lnTo>
                  <a:lnTo>
                    <a:pt x="727381" y="19261"/>
                  </a:lnTo>
                  <a:lnTo>
                    <a:pt x="681648" y="29840"/>
                  </a:lnTo>
                  <a:lnTo>
                    <a:pt x="636833" y="42600"/>
                  </a:lnTo>
                  <a:lnTo>
                    <a:pt x="592997" y="57481"/>
                  </a:lnTo>
                  <a:lnTo>
                    <a:pt x="550205" y="74421"/>
                  </a:lnTo>
                  <a:lnTo>
                    <a:pt x="508520" y="93358"/>
                  </a:lnTo>
                  <a:lnTo>
                    <a:pt x="468006" y="114232"/>
                  </a:lnTo>
                  <a:lnTo>
                    <a:pt x="428726" y="136979"/>
                  </a:lnTo>
                  <a:lnTo>
                    <a:pt x="390743" y="161540"/>
                  </a:lnTo>
                  <a:lnTo>
                    <a:pt x="354121" y="187852"/>
                  </a:lnTo>
                  <a:lnTo>
                    <a:pt x="318924" y="215853"/>
                  </a:lnTo>
                  <a:lnTo>
                    <a:pt x="285215" y="245483"/>
                  </a:lnTo>
                  <a:lnTo>
                    <a:pt x="253057" y="276679"/>
                  </a:lnTo>
                  <a:lnTo>
                    <a:pt x="222513" y="309381"/>
                  </a:lnTo>
                  <a:lnTo>
                    <a:pt x="193648" y="343526"/>
                  </a:lnTo>
                  <a:lnTo>
                    <a:pt x="166525" y="379053"/>
                  </a:lnTo>
                  <a:lnTo>
                    <a:pt x="141207" y="415901"/>
                  </a:lnTo>
                  <a:lnTo>
                    <a:pt x="117758" y="454008"/>
                  </a:lnTo>
                  <a:lnTo>
                    <a:pt x="96240" y="493312"/>
                  </a:lnTo>
                  <a:lnTo>
                    <a:pt x="76719" y="533752"/>
                  </a:lnTo>
                  <a:lnTo>
                    <a:pt x="59256" y="575266"/>
                  </a:lnTo>
                  <a:lnTo>
                    <a:pt x="43915" y="617793"/>
                  </a:lnTo>
                  <a:lnTo>
                    <a:pt x="30761" y="661271"/>
                  </a:lnTo>
                  <a:lnTo>
                    <a:pt x="19856" y="705639"/>
                  </a:lnTo>
                  <a:lnTo>
                    <a:pt x="11264" y="750835"/>
                  </a:lnTo>
                  <a:lnTo>
                    <a:pt x="5048" y="796798"/>
                  </a:lnTo>
                  <a:lnTo>
                    <a:pt x="1272" y="843466"/>
                  </a:lnTo>
                  <a:lnTo>
                    <a:pt x="0" y="890778"/>
                  </a:lnTo>
                  <a:lnTo>
                    <a:pt x="1272" y="938085"/>
                  </a:lnTo>
                  <a:lnTo>
                    <a:pt x="5048" y="984750"/>
                  </a:lnTo>
                  <a:lnTo>
                    <a:pt x="11264" y="1030711"/>
                  </a:lnTo>
                  <a:lnTo>
                    <a:pt x="19856" y="1075905"/>
                  </a:lnTo>
                  <a:lnTo>
                    <a:pt x="30761" y="1120271"/>
                  </a:lnTo>
                  <a:lnTo>
                    <a:pt x="43915" y="1163748"/>
                  </a:lnTo>
                  <a:lnTo>
                    <a:pt x="59256" y="1206274"/>
                  </a:lnTo>
                  <a:lnTo>
                    <a:pt x="76719" y="1247787"/>
                  </a:lnTo>
                  <a:lnTo>
                    <a:pt x="96240" y="1288227"/>
                  </a:lnTo>
                  <a:lnTo>
                    <a:pt x="117758" y="1327531"/>
                  </a:lnTo>
                  <a:lnTo>
                    <a:pt x="141207" y="1365637"/>
                  </a:lnTo>
                  <a:lnTo>
                    <a:pt x="166525" y="1402485"/>
                  </a:lnTo>
                  <a:lnTo>
                    <a:pt x="193648" y="1438013"/>
                  </a:lnTo>
                  <a:lnTo>
                    <a:pt x="222513" y="1472158"/>
                  </a:lnTo>
                  <a:lnTo>
                    <a:pt x="253057" y="1504861"/>
                  </a:lnTo>
                  <a:lnTo>
                    <a:pt x="285215" y="1536058"/>
                  </a:lnTo>
                  <a:lnTo>
                    <a:pt x="318924" y="1565689"/>
                  </a:lnTo>
                  <a:lnTo>
                    <a:pt x="354121" y="1593692"/>
                  </a:lnTo>
                  <a:lnTo>
                    <a:pt x="390743" y="1620005"/>
                  </a:lnTo>
                  <a:lnTo>
                    <a:pt x="428726" y="1644566"/>
                  </a:lnTo>
                  <a:lnTo>
                    <a:pt x="468006" y="1667315"/>
                  </a:lnTo>
                  <a:lnTo>
                    <a:pt x="508520" y="1688190"/>
                  </a:lnTo>
                  <a:lnTo>
                    <a:pt x="550205" y="1707128"/>
                  </a:lnTo>
                  <a:lnTo>
                    <a:pt x="592997" y="1724069"/>
                  </a:lnTo>
                  <a:lnTo>
                    <a:pt x="636833" y="1738951"/>
                  </a:lnTo>
                  <a:lnTo>
                    <a:pt x="681648" y="1751713"/>
                  </a:lnTo>
                  <a:lnTo>
                    <a:pt x="727381" y="1762292"/>
                  </a:lnTo>
                  <a:lnTo>
                    <a:pt x="773967" y="1770627"/>
                  </a:lnTo>
                  <a:lnTo>
                    <a:pt x="821342" y="1776658"/>
                  </a:lnTo>
                  <a:lnTo>
                    <a:pt x="869445" y="1780321"/>
                  </a:lnTo>
                  <a:lnTo>
                    <a:pt x="918209" y="1781556"/>
                  </a:lnTo>
                  <a:lnTo>
                    <a:pt x="966974" y="1780321"/>
                  </a:lnTo>
                  <a:lnTo>
                    <a:pt x="1015077" y="1776658"/>
                  </a:lnTo>
                  <a:lnTo>
                    <a:pt x="1062452" y="1770627"/>
                  </a:lnTo>
                  <a:lnTo>
                    <a:pt x="1109038" y="1762292"/>
                  </a:lnTo>
                  <a:lnTo>
                    <a:pt x="1154771" y="1751713"/>
                  </a:lnTo>
                  <a:lnTo>
                    <a:pt x="1199586" y="1738951"/>
                  </a:lnTo>
                  <a:lnTo>
                    <a:pt x="1243422" y="1724069"/>
                  </a:lnTo>
                  <a:lnTo>
                    <a:pt x="1286214" y="1707128"/>
                  </a:lnTo>
                  <a:lnTo>
                    <a:pt x="1327899" y="1688190"/>
                  </a:lnTo>
                  <a:lnTo>
                    <a:pt x="1368413" y="1667315"/>
                  </a:lnTo>
                  <a:lnTo>
                    <a:pt x="1407693" y="1644566"/>
                  </a:lnTo>
                  <a:lnTo>
                    <a:pt x="1445676" y="1620005"/>
                  </a:lnTo>
                  <a:lnTo>
                    <a:pt x="1482298" y="1593692"/>
                  </a:lnTo>
                  <a:lnTo>
                    <a:pt x="1517495" y="1565689"/>
                  </a:lnTo>
                  <a:lnTo>
                    <a:pt x="1551204" y="1536058"/>
                  </a:lnTo>
                  <a:lnTo>
                    <a:pt x="1583362" y="1504861"/>
                  </a:lnTo>
                  <a:lnTo>
                    <a:pt x="1613906" y="1472158"/>
                  </a:lnTo>
                  <a:lnTo>
                    <a:pt x="1642771" y="1438013"/>
                  </a:lnTo>
                  <a:lnTo>
                    <a:pt x="1669894" y="1402485"/>
                  </a:lnTo>
                  <a:lnTo>
                    <a:pt x="1695212" y="1365637"/>
                  </a:lnTo>
                  <a:lnTo>
                    <a:pt x="1718661" y="1327531"/>
                  </a:lnTo>
                  <a:lnTo>
                    <a:pt x="1740179" y="1288227"/>
                  </a:lnTo>
                  <a:lnTo>
                    <a:pt x="1759700" y="1247787"/>
                  </a:lnTo>
                  <a:lnTo>
                    <a:pt x="1777163" y="1206274"/>
                  </a:lnTo>
                  <a:lnTo>
                    <a:pt x="1792504" y="1163748"/>
                  </a:lnTo>
                  <a:lnTo>
                    <a:pt x="1805658" y="1120271"/>
                  </a:lnTo>
                  <a:lnTo>
                    <a:pt x="1816563" y="1075905"/>
                  </a:lnTo>
                  <a:lnTo>
                    <a:pt x="1825155" y="1030711"/>
                  </a:lnTo>
                  <a:lnTo>
                    <a:pt x="1831371" y="984750"/>
                  </a:lnTo>
                  <a:lnTo>
                    <a:pt x="1835147" y="938085"/>
                  </a:lnTo>
                  <a:lnTo>
                    <a:pt x="1836420" y="890778"/>
                  </a:lnTo>
                  <a:lnTo>
                    <a:pt x="1835147" y="843466"/>
                  </a:lnTo>
                  <a:lnTo>
                    <a:pt x="1831371" y="796798"/>
                  </a:lnTo>
                  <a:lnTo>
                    <a:pt x="1825155" y="750835"/>
                  </a:lnTo>
                  <a:lnTo>
                    <a:pt x="1816563" y="705639"/>
                  </a:lnTo>
                  <a:lnTo>
                    <a:pt x="1805658" y="661271"/>
                  </a:lnTo>
                  <a:lnTo>
                    <a:pt x="1792504" y="617793"/>
                  </a:lnTo>
                  <a:lnTo>
                    <a:pt x="1777163" y="575266"/>
                  </a:lnTo>
                  <a:lnTo>
                    <a:pt x="1759700" y="533752"/>
                  </a:lnTo>
                  <a:lnTo>
                    <a:pt x="1740179" y="493312"/>
                  </a:lnTo>
                  <a:lnTo>
                    <a:pt x="1718661" y="454008"/>
                  </a:lnTo>
                  <a:lnTo>
                    <a:pt x="1695212" y="415901"/>
                  </a:lnTo>
                  <a:lnTo>
                    <a:pt x="1669894" y="379053"/>
                  </a:lnTo>
                  <a:lnTo>
                    <a:pt x="1642771" y="343526"/>
                  </a:lnTo>
                  <a:lnTo>
                    <a:pt x="1613906" y="309381"/>
                  </a:lnTo>
                  <a:lnTo>
                    <a:pt x="1583362" y="276679"/>
                  </a:lnTo>
                  <a:lnTo>
                    <a:pt x="1551204" y="245483"/>
                  </a:lnTo>
                  <a:lnTo>
                    <a:pt x="1517495" y="215853"/>
                  </a:lnTo>
                  <a:lnTo>
                    <a:pt x="1482298" y="187852"/>
                  </a:lnTo>
                  <a:lnTo>
                    <a:pt x="1445676" y="161540"/>
                  </a:lnTo>
                  <a:lnTo>
                    <a:pt x="1407693" y="136979"/>
                  </a:lnTo>
                  <a:lnTo>
                    <a:pt x="1368413" y="114232"/>
                  </a:lnTo>
                  <a:lnTo>
                    <a:pt x="1327899" y="93358"/>
                  </a:lnTo>
                  <a:lnTo>
                    <a:pt x="1286214" y="74421"/>
                  </a:lnTo>
                  <a:lnTo>
                    <a:pt x="1243422" y="57481"/>
                  </a:lnTo>
                  <a:lnTo>
                    <a:pt x="1199586" y="42600"/>
                  </a:lnTo>
                  <a:lnTo>
                    <a:pt x="1154771" y="29840"/>
                  </a:lnTo>
                  <a:lnTo>
                    <a:pt x="1109038" y="19261"/>
                  </a:lnTo>
                  <a:lnTo>
                    <a:pt x="1062452" y="10927"/>
                  </a:lnTo>
                  <a:lnTo>
                    <a:pt x="1015077" y="4897"/>
                  </a:lnTo>
                  <a:lnTo>
                    <a:pt x="966974" y="1234"/>
                  </a:lnTo>
                  <a:lnTo>
                    <a:pt x="918209" y="0"/>
                  </a:lnTo>
                  <a:close/>
                </a:path>
              </a:pathLst>
            </a:custGeom>
            <a:solidFill>
              <a:srgbClr val="FFFFCC"/>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7" name="object 27"/>
            <p:cNvPicPr/>
            <p:nvPr/>
          </p:nvPicPr>
          <p:blipFill>
            <a:blip r:embed="rId13" cstate="screen">
              <a:extLst>
                <a:ext uri="{28A0092B-C50C-407E-A947-70E740481C1C}">
                  <a14:useLocalDpi xmlns:a14="http://schemas.microsoft.com/office/drawing/2010/main"/>
                </a:ext>
              </a:extLst>
            </a:blip>
            <a:stretch>
              <a:fillRect/>
            </a:stretch>
          </p:blipFill>
          <p:spPr>
            <a:xfrm>
              <a:off x="6030214" y="5010658"/>
              <a:ext cx="765390" cy="228599"/>
            </a:xfrm>
            <a:prstGeom prst="rect">
              <a:avLst/>
            </a:prstGeom>
          </p:spPr>
        </p:pic>
        <p:pic>
          <p:nvPicPr>
            <p:cNvPr id="28" name="object 28"/>
            <p:cNvPicPr/>
            <p:nvPr/>
          </p:nvPicPr>
          <p:blipFill>
            <a:blip r:embed="rId14" cstate="screen">
              <a:extLst>
                <a:ext uri="{28A0092B-C50C-407E-A947-70E740481C1C}">
                  <a14:useLocalDpi xmlns:a14="http://schemas.microsoft.com/office/drawing/2010/main"/>
                </a:ext>
              </a:extLst>
            </a:blip>
            <a:stretch>
              <a:fillRect/>
            </a:stretch>
          </p:blipFill>
          <p:spPr>
            <a:xfrm>
              <a:off x="6012815" y="5730544"/>
              <a:ext cx="767080" cy="195072"/>
            </a:xfrm>
            <a:prstGeom prst="rect">
              <a:avLst/>
            </a:prstGeom>
          </p:spPr>
        </p:pic>
        <p:pic>
          <p:nvPicPr>
            <p:cNvPr id="29" name="object 29"/>
            <p:cNvPicPr/>
            <p:nvPr/>
          </p:nvPicPr>
          <p:blipFill>
            <a:blip r:embed="rId15" cstate="screen">
              <a:extLst>
                <a:ext uri="{28A0092B-C50C-407E-A947-70E740481C1C}">
                  <a14:useLocalDpi xmlns:a14="http://schemas.microsoft.com/office/drawing/2010/main"/>
                </a:ext>
              </a:extLst>
            </a:blip>
            <a:stretch>
              <a:fillRect/>
            </a:stretch>
          </p:blipFill>
          <p:spPr>
            <a:xfrm>
              <a:off x="5794883" y="5989624"/>
              <a:ext cx="1224534" cy="195072"/>
            </a:xfrm>
            <a:prstGeom prst="rect">
              <a:avLst/>
            </a:prstGeom>
          </p:spPr>
        </p:pic>
        <p:pic>
          <p:nvPicPr>
            <p:cNvPr id="30" name="object 30"/>
            <p:cNvPicPr/>
            <p:nvPr/>
          </p:nvPicPr>
          <p:blipFill>
            <a:blip r:embed="rId16" cstate="screen">
              <a:extLst>
                <a:ext uri="{28A0092B-C50C-407E-A947-70E740481C1C}">
                  <a14:useLocalDpi xmlns:a14="http://schemas.microsoft.com/office/drawing/2010/main"/>
                </a:ext>
              </a:extLst>
            </a:blip>
            <a:stretch>
              <a:fillRect/>
            </a:stretch>
          </p:blipFill>
          <p:spPr>
            <a:xfrm>
              <a:off x="5898515" y="6172504"/>
              <a:ext cx="1007173" cy="195072"/>
            </a:xfrm>
            <a:prstGeom prst="rect">
              <a:avLst/>
            </a:prstGeom>
          </p:spPr>
        </p:pic>
        <p:pic>
          <p:nvPicPr>
            <p:cNvPr id="31" name="object 31"/>
            <p:cNvPicPr/>
            <p:nvPr/>
          </p:nvPicPr>
          <p:blipFill>
            <a:blip r:embed="rId17" cstate="screen">
              <a:extLst>
                <a:ext uri="{28A0092B-C50C-407E-A947-70E740481C1C}">
                  <a14:useLocalDpi xmlns:a14="http://schemas.microsoft.com/office/drawing/2010/main"/>
                </a:ext>
              </a:extLst>
            </a:blip>
            <a:stretch>
              <a:fillRect/>
            </a:stretch>
          </p:blipFill>
          <p:spPr>
            <a:xfrm>
              <a:off x="6099683" y="6355384"/>
              <a:ext cx="579501" cy="195072"/>
            </a:xfrm>
            <a:prstGeom prst="rect">
              <a:avLst/>
            </a:prstGeom>
          </p:spPr>
        </p:pic>
        <p:pic>
          <p:nvPicPr>
            <p:cNvPr id="32" name="object 32"/>
            <p:cNvPicPr/>
            <p:nvPr/>
          </p:nvPicPr>
          <p:blipFill>
            <a:blip r:embed="rId18" cstate="screen">
              <a:extLst>
                <a:ext uri="{28A0092B-C50C-407E-A947-70E740481C1C}">
                  <a14:useLocalDpi xmlns:a14="http://schemas.microsoft.com/office/drawing/2010/main"/>
                </a:ext>
              </a:extLst>
            </a:blip>
            <a:stretch>
              <a:fillRect/>
            </a:stretch>
          </p:blipFill>
          <p:spPr>
            <a:xfrm>
              <a:off x="6082284" y="5286755"/>
              <a:ext cx="548639" cy="348996"/>
            </a:xfrm>
            <a:prstGeom prst="rect">
              <a:avLst/>
            </a:prstGeom>
          </p:spPr>
        </p:pic>
        <p:sp>
          <p:nvSpPr>
            <p:cNvPr id="33" name="object 33"/>
            <p:cNvSpPr/>
            <p:nvPr/>
          </p:nvSpPr>
          <p:spPr>
            <a:xfrm>
              <a:off x="9038843" y="5029200"/>
              <a:ext cx="1836420" cy="1781810"/>
            </a:xfrm>
            <a:custGeom>
              <a:avLst/>
              <a:gdLst/>
              <a:ahLst/>
              <a:cxnLst/>
              <a:rect l="l" t="t" r="r" b="b"/>
              <a:pathLst>
                <a:path w="1836420" h="1781809">
                  <a:moveTo>
                    <a:pt x="918209" y="0"/>
                  </a:moveTo>
                  <a:lnTo>
                    <a:pt x="869445" y="1234"/>
                  </a:lnTo>
                  <a:lnTo>
                    <a:pt x="821342" y="4897"/>
                  </a:lnTo>
                  <a:lnTo>
                    <a:pt x="773967" y="10927"/>
                  </a:lnTo>
                  <a:lnTo>
                    <a:pt x="727381" y="19261"/>
                  </a:lnTo>
                  <a:lnTo>
                    <a:pt x="681648" y="29840"/>
                  </a:lnTo>
                  <a:lnTo>
                    <a:pt x="636833" y="42600"/>
                  </a:lnTo>
                  <a:lnTo>
                    <a:pt x="592997" y="57481"/>
                  </a:lnTo>
                  <a:lnTo>
                    <a:pt x="550205" y="74421"/>
                  </a:lnTo>
                  <a:lnTo>
                    <a:pt x="508520" y="93358"/>
                  </a:lnTo>
                  <a:lnTo>
                    <a:pt x="468006" y="114232"/>
                  </a:lnTo>
                  <a:lnTo>
                    <a:pt x="428726" y="136979"/>
                  </a:lnTo>
                  <a:lnTo>
                    <a:pt x="390743" y="161540"/>
                  </a:lnTo>
                  <a:lnTo>
                    <a:pt x="354121" y="187852"/>
                  </a:lnTo>
                  <a:lnTo>
                    <a:pt x="318924" y="215853"/>
                  </a:lnTo>
                  <a:lnTo>
                    <a:pt x="285215" y="245483"/>
                  </a:lnTo>
                  <a:lnTo>
                    <a:pt x="253057" y="276679"/>
                  </a:lnTo>
                  <a:lnTo>
                    <a:pt x="222513" y="309381"/>
                  </a:lnTo>
                  <a:lnTo>
                    <a:pt x="193648" y="343526"/>
                  </a:lnTo>
                  <a:lnTo>
                    <a:pt x="166525" y="379053"/>
                  </a:lnTo>
                  <a:lnTo>
                    <a:pt x="141207" y="415901"/>
                  </a:lnTo>
                  <a:lnTo>
                    <a:pt x="117758" y="454008"/>
                  </a:lnTo>
                  <a:lnTo>
                    <a:pt x="96240" y="493312"/>
                  </a:lnTo>
                  <a:lnTo>
                    <a:pt x="76719" y="533752"/>
                  </a:lnTo>
                  <a:lnTo>
                    <a:pt x="59256" y="575266"/>
                  </a:lnTo>
                  <a:lnTo>
                    <a:pt x="43915" y="617793"/>
                  </a:lnTo>
                  <a:lnTo>
                    <a:pt x="30761" y="661271"/>
                  </a:lnTo>
                  <a:lnTo>
                    <a:pt x="19856" y="705639"/>
                  </a:lnTo>
                  <a:lnTo>
                    <a:pt x="11264" y="750835"/>
                  </a:lnTo>
                  <a:lnTo>
                    <a:pt x="5048" y="796798"/>
                  </a:lnTo>
                  <a:lnTo>
                    <a:pt x="1272" y="843466"/>
                  </a:lnTo>
                  <a:lnTo>
                    <a:pt x="0" y="890778"/>
                  </a:lnTo>
                  <a:lnTo>
                    <a:pt x="1272" y="938085"/>
                  </a:lnTo>
                  <a:lnTo>
                    <a:pt x="5048" y="984750"/>
                  </a:lnTo>
                  <a:lnTo>
                    <a:pt x="11264" y="1030711"/>
                  </a:lnTo>
                  <a:lnTo>
                    <a:pt x="19856" y="1075905"/>
                  </a:lnTo>
                  <a:lnTo>
                    <a:pt x="30761" y="1120271"/>
                  </a:lnTo>
                  <a:lnTo>
                    <a:pt x="43915" y="1163748"/>
                  </a:lnTo>
                  <a:lnTo>
                    <a:pt x="59256" y="1206274"/>
                  </a:lnTo>
                  <a:lnTo>
                    <a:pt x="76719" y="1247787"/>
                  </a:lnTo>
                  <a:lnTo>
                    <a:pt x="96240" y="1288227"/>
                  </a:lnTo>
                  <a:lnTo>
                    <a:pt x="117758" y="1327531"/>
                  </a:lnTo>
                  <a:lnTo>
                    <a:pt x="141207" y="1365637"/>
                  </a:lnTo>
                  <a:lnTo>
                    <a:pt x="166525" y="1402485"/>
                  </a:lnTo>
                  <a:lnTo>
                    <a:pt x="193648" y="1438013"/>
                  </a:lnTo>
                  <a:lnTo>
                    <a:pt x="222513" y="1472158"/>
                  </a:lnTo>
                  <a:lnTo>
                    <a:pt x="253057" y="1504861"/>
                  </a:lnTo>
                  <a:lnTo>
                    <a:pt x="285215" y="1536058"/>
                  </a:lnTo>
                  <a:lnTo>
                    <a:pt x="318924" y="1565689"/>
                  </a:lnTo>
                  <a:lnTo>
                    <a:pt x="354121" y="1593692"/>
                  </a:lnTo>
                  <a:lnTo>
                    <a:pt x="390743" y="1620005"/>
                  </a:lnTo>
                  <a:lnTo>
                    <a:pt x="428726" y="1644566"/>
                  </a:lnTo>
                  <a:lnTo>
                    <a:pt x="468006" y="1667315"/>
                  </a:lnTo>
                  <a:lnTo>
                    <a:pt x="508520" y="1688190"/>
                  </a:lnTo>
                  <a:lnTo>
                    <a:pt x="550205" y="1707128"/>
                  </a:lnTo>
                  <a:lnTo>
                    <a:pt x="592997" y="1724069"/>
                  </a:lnTo>
                  <a:lnTo>
                    <a:pt x="636833" y="1738951"/>
                  </a:lnTo>
                  <a:lnTo>
                    <a:pt x="681648" y="1751713"/>
                  </a:lnTo>
                  <a:lnTo>
                    <a:pt x="727381" y="1762292"/>
                  </a:lnTo>
                  <a:lnTo>
                    <a:pt x="773967" y="1770627"/>
                  </a:lnTo>
                  <a:lnTo>
                    <a:pt x="821342" y="1776658"/>
                  </a:lnTo>
                  <a:lnTo>
                    <a:pt x="869445" y="1780321"/>
                  </a:lnTo>
                  <a:lnTo>
                    <a:pt x="918209" y="1781556"/>
                  </a:lnTo>
                  <a:lnTo>
                    <a:pt x="966974" y="1780321"/>
                  </a:lnTo>
                  <a:lnTo>
                    <a:pt x="1015077" y="1776658"/>
                  </a:lnTo>
                  <a:lnTo>
                    <a:pt x="1062452" y="1770627"/>
                  </a:lnTo>
                  <a:lnTo>
                    <a:pt x="1109038" y="1762292"/>
                  </a:lnTo>
                  <a:lnTo>
                    <a:pt x="1154771" y="1751713"/>
                  </a:lnTo>
                  <a:lnTo>
                    <a:pt x="1199586" y="1738951"/>
                  </a:lnTo>
                  <a:lnTo>
                    <a:pt x="1243422" y="1724069"/>
                  </a:lnTo>
                  <a:lnTo>
                    <a:pt x="1286214" y="1707128"/>
                  </a:lnTo>
                  <a:lnTo>
                    <a:pt x="1327899" y="1688190"/>
                  </a:lnTo>
                  <a:lnTo>
                    <a:pt x="1368413" y="1667315"/>
                  </a:lnTo>
                  <a:lnTo>
                    <a:pt x="1407693" y="1644566"/>
                  </a:lnTo>
                  <a:lnTo>
                    <a:pt x="1445676" y="1620005"/>
                  </a:lnTo>
                  <a:lnTo>
                    <a:pt x="1482298" y="1593692"/>
                  </a:lnTo>
                  <a:lnTo>
                    <a:pt x="1517495" y="1565689"/>
                  </a:lnTo>
                  <a:lnTo>
                    <a:pt x="1551204" y="1536058"/>
                  </a:lnTo>
                  <a:lnTo>
                    <a:pt x="1583362" y="1504861"/>
                  </a:lnTo>
                  <a:lnTo>
                    <a:pt x="1613906" y="1472158"/>
                  </a:lnTo>
                  <a:lnTo>
                    <a:pt x="1642771" y="1438013"/>
                  </a:lnTo>
                  <a:lnTo>
                    <a:pt x="1669894" y="1402485"/>
                  </a:lnTo>
                  <a:lnTo>
                    <a:pt x="1695212" y="1365637"/>
                  </a:lnTo>
                  <a:lnTo>
                    <a:pt x="1718661" y="1327531"/>
                  </a:lnTo>
                  <a:lnTo>
                    <a:pt x="1740179" y="1288227"/>
                  </a:lnTo>
                  <a:lnTo>
                    <a:pt x="1759700" y="1247787"/>
                  </a:lnTo>
                  <a:lnTo>
                    <a:pt x="1777163" y="1206274"/>
                  </a:lnTo>
                  <a:lnTo>
                    <a:pt x="1792504" y="1163748"/>
                  </a:lnTo>
                  <a:lnTo>
                    <a:pt x="1805658" y="1120271"/>
                  </a:lnTo>
                  <a:lnTo>
                    <a:pt x="1816563" y="1075905"/>
                  </a:lnTo>
                  <a:lnTo>
                    <a:pt x="1825155" y="1030711"/>
                  </a:lnTo>
                  <a:lnTo>
                    <a:pt x="1831371" y="984750"/>
                  </a:lnTo>
                  <a:lnTo>
                    <a:pt x="1835147" y="938085"/>
                  </a:lnTo>
                  <a:lnTo>
                    <a:pt x="1836420" y="890778"/>
                  </a:lnTo>
                  <a:lnTo>
                    <a:pt x="1835147" y="843466"/>
                  </a:lnTo>
                  <a:lnTo>
                    <a:pt x="1831371" y="796798"/>
                  </a:lnTo>
                  <a:lnTo>
                    <a:pt x="1825155" y="750835"/>
                  </a:lnTo>
                  <a:lnTo>
                    <a:pt x="1816563" y="705639"/>
                  </a:lnTo>
                  <a:lnTo>
                    <a:pt x="1805658" y="661271"/>
                  </a:lnTo>
                  <a:lnTo>
                    <a:pt x="1792504" y="617793"/>
                  </a:lnTo>
                  <a:lnTo>
                    <a:pt x="1777163" y="575266"/>
                  </a:lnTo>
                  <a:lnTo>
                    <a:pt x="1759700" y="533752"/>
                  </a:lnTo>
                  <a:lnTo>
                    <a:pt x="1740179" y="493312"/>
                  </a:lnTo>
                  <a:lnTo>
                    <a:pt x="1718661" y="454008"/>
                  </a:lnTo>
                  <a:lnTo>
                    <a:pt x="1695212" y="415901"/>
                  </a:lnTo>
                  <a:lnTo>
                    <a:pt x="1669894" y="379053"/>
                  </a:lnTo>
                  <a:lnTo>
                    <a:pt x="1642771" y="343526"/>
                  </a:lnTo>
                  <a:lnTo>
                    <a:pt x="1613906" y="309381"/>
                  </a:lnTo>
                  <a:lnTo>
                    <a:pt x="1583362" y="276679"/>
                  </a:lnTo>
                  <a:lnTo>
                    <a:pt x="1551204" y="245483"/>
                  </a:lnTo>
                  <a:lnTo>
                    <a:pt x="1517495" y="215853"/>
                  </a:lnTo>
                  <a:lnTo>
                    <a:pt x="1482298" y="187852"/>
                  </a:lnTo>
                  <a:lnTo>
                    <a:pt x="1445676" y="161540"/>
                  </a:lnTo>
                  <a:lnTo>
                    <a:pt x="1407693" y="136979"/>
                  </a:lnTo>
                  <a:lnTo>
                    <a:pt x="1368413" y="114232"/>
                  </a:lnTo>
                  <a:lnTo>
                    <a:pt x="1327899" y="93358"/>
                  </a:lnTo>
                  <a:lnTo>
                    <a:pt x="1286214" y="74421"/>
                  </a:lnTo>
                  <a:lnTo>
                    <a:pt x="1243422" y="57481"/>
                  </a:lnTo>
                  <a:lnTo>
                    <a:pt x="1199586" y="42600"/>
                  </a:lnTo>
                  <a:lnTo>
                    <a:pt x="1154771" y="29840"/>
                  </a:lnTo>
                  <a:lnTo>
                    <a:pt x="1109038" y="19261"/>
                  </a:lnTo>
                  <a:lnTo>
                    <a:pt x="1062452" y="10927"/>
                  </a:lnTo>
                  <a:lnTo>
                    <a:pt x="1015077" y="4897"/>
                  </a:lnTo>
                  <a:lnTo>
                    <a:pt x="966974" y="1234"/>
                  </a:lnTo>
                  <a:lnTo>
                    <a:pt x="918209"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34" name="object 34"/>
            <p:cNvPicPr/>
            <p:nvPr/>
          </p:nvPicPr>
          <p:blipFill>
            <a:blip r:embed="rId19" cstate="screen">
              <a:extLst>
                <a:ext uri="{28A0092B-C50C-407E-A947-70E740481C1C}">
                  <a14:useLocalDpi xmlns:a14="http://schemas.microsoft.com/office/drawing/2010/main"/>
                </a:ext>
              </a:extLst>
            </a:blip>
            <a:stretch>
              <a:fillRect/>
            </a:stretch>
          </p:blipFill>
          <p:spPr>
            <a:xfrm>
              <a:off x="9707626" y="5095621"/>
              <a:ext cx="602742" cy="228599"/>
            </a:xfrm>
            <a:prstGeom prst="rect">
              <a:avLst/>
            </a:prstGeom>
          </p:spPr>
        </p:pic>
        <p:pic>
          <p:nvPicPr>
            <p:cNvPr id="35" name="object 35"/>
            <p:cNvPicPr/>
            <p:nvPr/>
          </p:nvPicPr>
          <p:blipFill>
            <a:blip r:embed="rId20" cstate="screen">
              <a:extLst>
                <a:ext uri="{28A0092B-C50C-407E-A947-70E740481C1C}">
                  <a14:useLocalDpi xmlns:a14="http://schemas.microsoft.com/office/drawing/2010/main"/>
                </a:ext>
              </a:extLst>
            </a:blip>
            <a:stretch>
              <a:fillRect/>
            </a:stretch>
          </p:blipFill>
          <p:spPr>
            <a:xfrm>
              <a:off x="9620377" y="5820460"/>
              <a:ext cx="752182" cy="195072"/>
            </a:xfrm>
            <a:prstGeom prst="rect">
              <a:avLst/>
            </a:prstGeom>
          </p:spPr>
        </p:pic>
        <p:pic>
          <p:nvPicPr>
            <p:cNvPr id="36" name="object 36"/>
            <p:cNvPicPr/>
            <p:nvPr/>
          </p:nvPicPr>
          <p:blipFill>
            <a:blip r:embed="rId21" cstate="screen">
              <a:extLst>
                <a:ext uri="{28A0092B-C50C-407E-A947-70E740481C1C}">
                  <a14:useLocalDpi xmlns:a14="http://schemas.microsoft.com/office/drawing/2010/main"/>
                </a:ext>
              </a:extLst>
            </a:blip>
            <a:stretch>
              <a:fillRect/>
            </a:stretch>
          </p:blipFill>
          <p:spPr>
            <a:xfrm>
              <a:off x="9295765" y="6079540"/>
              <a:ext cx="1415669" cy="195072"/>
            </a:xfrm>
            <a:prstGeom prst="rect">
              <a:avLst/>
            </a:prstGeom>
          </p:spPr>
        </p:pic>
        <p:pic>
          <p:nvPicPr>
            <p:cNvPr id="37" name="object 37"/>
            <p:cNvPicPr/>
            <p:nvPr/>
          </p:nvPicPr>
          <p:blipFill>
            <a:blip r:embed="rId22" cstate="screen">
              <a:extLst>
                <a:ext uri="{28A0092B-C50C-407E-A947-70E740481C1C}">
                  <a14:useLocalDpi xmlns:a14="http://schemas.microsoft.com/office/drawing/2010/main"/>
                </a:ext>
              </a:extLst>
            </a:blip>
            <a:stretch>
              <a:fillRect/>
            </a:stretch>
          </p:blipFill>
          <p:spPr>
            <a:xfrm>
              <a:off x="9446641" y="6262420"/>
              <a:ext cx="1113523" cy="195072"/>
            </a:xfrm>
            <a:prstGeom prst="rect">
              <a:avLst/>
            </a:prstGeom>
          </p:spPr>
        </p:pic>
        <p:pic>
          <p:nvPicPr>
            <p:cNvPr id="38" name="object 38"/>
            <p:cNvPicPr/>
            <p:nvPr/>
          </p:nvPicPr>
          <p:blipFill>
            <a:blip r:embed="rId23" cstate="screen">
              <a:extLst>
                <a:ext uri="{28A0092B-C50C-407E-A947-70E740481C1C}">
                  <a14:useLocalDpi xmlns:a14="http://schemas.microsoft.com/office/drawing/2010/main"/>
                </a:ext>
              </a:extLst>
            </a:blip>
            <a:stretch>
              <a:fillRect/>
            </a:stretch>
          </p:blipFill>
          <p:spPr>
            <a:xfrm>
              <a:off x="9686290" y="6445300"/>
              <a:ext cx="598474" cy="195071"/>
            </a:xfrm>
            <a:prstGeom prst="rect">
              <a:avLst/>
            </a:prstGeom>
          </p:spPr>
        </p:pic>
        <p:pic>
          <p:nvPicPr>
            <p:cNvPr id="39" name="object 39"/>
            <p:cNvPicPr/>
            <p:nvPr/>
          </p:nvPicPr>
          <p:blipFill>
            <a:blip r:embed="rId24" cstate="screen">
              <a:extLst>
                <a:ext uri="{28A0092B-C50C-407E-A947-70E740481C1C}">
                  <a14:useLocalDpi xmlns:a14="http://schemas.microsoft.com/office/drawing/2010/main"/>
                </a:ext>
              </a:extLst>
            </a:blip>
            <a:stretch>
              <a:fillRect/>
            </a:stretch>
          </p:blipFill>
          <p:spPr>
            <a:xfrm>
              <a:off x="9515856" y="5458967"/>
              <a:ext cx="882396" cy="239268"/>
            </a:xfrm>
            <a:prstGeom prst="rect">
              <a:avLst/>
            </a:prstGeom>
          </p:spPr>
        </p:pic>
        <p:sp>
          <p:nvSpPr>
            <p:cNvPr id="40" name="object 40"/>
            <p:cNvSpPr/>
            <p:nvPr/>
          </p:nvSpPr>
          <p:spPr>
            <a:xfrm>
              <a:off x="10311383" y="3633215"/>
              <a:ext cx="1836420" cy="1781810"/>
            </a:xfrm>
            <a:custGeom>
              <a:avLst/>
              <a:gdLst/>
              <a:ahLst/>
              <a:cxnLst/>
              <a:rect l="l" t="t" r="r" b="b"/>
              <a:pathLst>
                <a:path w="1836420" h="1781810">
                  <a:moveTo>
                    <a:pt x="918210" y="0"/>
                  </a:moveTo>
                  <a:lnTo>
                    <a:pt x="869445" y="1234"/>
                  </a:lnTo>
                  <a:lnTo>
                    <a:pt x="821342" y="4897"/>
                  </a:lnTo>
                  <a:lnTo>
                    <a:pt x="773967" y="10927"/>
                  </a:lnTo>
                  <a:lnTo>
                    <a:pt x="727381" y="19261"/>
                  </a:lnTo>
                  <a:lnTo>
                    <a:pt x="681648" y="29840"/>
                  </a:lnTo>
                  <a:lnTo>
                    <a:pt x="636833" y="42600"/>
                  </a:lnTo>
                  <a:lnTo>
                    <a:pt x="592997" y="57481"/>
                  </a:lnTo>
                  <a:lnTo>
                    <a:pt x="550205" y="74421"/>
                  </a:lnTo>
                  <a:lnTo>
                    <a:pt x="508520" y="93358"/>
                  </a:lnTo>
                  <a:lnTo>
                    <a:pt x="468006" y="114232"/>
                  </a:lnTo>
                  <a:lnTo>
                    <a:pt x="428726" y="136979"/>
                  </a:lnTo>
                  <a:lnTo>
                    <a:pt x="390743" y="161540"/>
                  </a:lnTo>
                  <a:lnTo>
                    <a:pt x="354121" y="187852"/>
                  </a:lnTo>
                  <a:lnTo>
                    <a:pt x="318924" y="215853"/>
                  </a:lnTo>
                  <a:lnTo>
                    <a:pt x="285215" y="245483"/>
                  </a:lnTo>
                  <a:lnTo>
                    <a:pt x="253057" y="276679"/>
                  </a:lnTo>
                  <a:lnTo>
                    <a:pt x="222513" y="309381"/>
                  </a:lnTo>
                  <a:lnTo>
                    <a:pt x="193648" y="343526"/>
                  </a:lnTo>
                  <a:lnTo>
                    <a:pt x="166525" y="379053"/>
                  </a:lnTo>
                  <a:lnTo>
                    <a:pt x="141207" y="415901"/>
                  </a:lnTo>
                  <a:lnTo>
                    <a:pt x="117758" y="454008"/>
                  </a:lnTo>
                  <a:lnTo>
                    <a:pt x="96240" y="493312"/>
                  </a:lnTo>
                  <a:lnTo>
                    <a:pt x="76719" y="533752"/>
                  </a:lnTo>
                  <a:lnTo>
                    <a:pt x="59256" y="575266"/>
                  </a:lnTo>
                  <a:lnTo>
                    <a:pt x="43915" y="617793"/>
                  </a:lnTo>
                  <a:lnTo>
                    <a:pt x="30761" y="661271"/>
                  </a:lnTo>
                  <a:lnTo>
                    <a:pt x="19856" y="705639"/>
                  </a:lnTo>
                  <a:lnTo>
                    <a:pt x="11264" y="750835"/>
                  </a:lnTo>
                  <a:lnTo>
                    <a:pt x="5048" y="796798"/>
                  </a:lnTo>
                  <a:lnTo>
                    <a:pt x="1272" y="843466"/>
                  </a:lnTo>
                  <a:lnTo>
                    <a:pt x="0" y="890777"/>
                  </a:lnTo>
                  <a:lnTo>
                    <a:pt x="1272" y="938089"/>
                  </a:lnTo>
                  <a:lnTo>
                    <a:pt x="5048" y="984757"/>
                  </a:lnTo>
                  <a:lnTo>
                    <a:pt x="11264" y="1030720"/>
                  </a:lnTo>
                  <a:lnTo>
                    <a:pt x="19856" y="1075916"/>
                  </a:lnTo>
                  <a:lnTo>
                    <a:pt x="30761" y="1120284"/>
                  </a:lnTo>
                  <a:lnTo>
                    <a:pt x="43915" y="1163762"/>
                  </a:lnTo>
                  <a:lnTo>
                    <a:pt x="59256" y="1206289"/>
                  </a:lnTo>
                  <a:lnTo>
                    <a:pt x="76719" y="1247803"/>
                  </a:lnTo>
                  <a:lnTo>
                    <a:pt x="96240" y="1288243"/>
                  </a:lnTo>
                  <a:lnTo>
                    <a:pt x="117758" y="1327547"/>
                  </a:lnTo>
                  <a:lnTo>
                    <a:pt x="141207" y="1365654"/>
                  </a:lnTo>
                  <a:lnTo>
                    <a:pt x="166525" y="1402502"/>
                  </a:lnTo>
                  <a:lnTo>
                    <a:pt x="193648" y="1438029"/>
                  </a:lnTo>
                  <a:lnTo>
                    <a:pt x="222513" y="1472174"/>
                  </a:lnTo>
                  <a:lnTo>
                    <a:pt x="253057" y="1504876"/>
                  </a:lnTo>
                  <a:lnTo>
                    <a:pt x="285215" y="1536072"/>
                  </a:lnTo>
                  <a:lnTo>
                    <a:pt x="318924" y="1565702"/>
                  </a:lnTo>
                  <a:lnTo>
                    <a:pt x="354121" y="1593703"/>
                  </a:lnTo>
                  <a:lnTo>
                    <a:pt x="390743" y="1620015"/>
                  </a:lnTo>
                  <a:lnTo>
                    <a:pt x="428726" y="1644576"/>
                  </a:lnTo>
                  <a:lnTo>
                    <a:pt x="468006" y="1667323"/>
                  </a:lnTo>
                  <a:lnTo>
                    <a:pt x="508520" y="1688197"/>
                  </a:lnTo>
                  <a:lnTo>
                    <a:pt x="550205" y="1707134"/>
                  </a:lnTo>
                  <a:lnTo>
                    <a:pt x="592997" y="1724074"/>
                  </a:lnTo>
                  <a:lnTo>
                    <a:pt x="636833" y="1738955"/>
                  </a:lnTo>
                  <a:lnTo>
                    <a:pt x="681648" y="1751715"/>
                  </a:lnTo>
                  <a:lnTo>
                    <a:pt x="727381" y="1762294"/>
                  </a:lnTo>
                  <a:lnTo>
                    <a:pt x="773967" y="1770628"/>
                  </a:lnTo>
                  <a:lnTo>
                    <a:pt x="821342" y="1776658"/>
                  </a:lnTo>
                  <a:lnTo>
                    <a:pt x="869445" y="1780321"/>
                  </a:lnTo>
                  <a:lnTo>
                    <a:pt x="918210" y="1781555"/>
                  </a:lnTo>
                  <a:lnTo>
                    <a:pt x="966974" y="1780321"/>
                  </a:lnTo>
                  <a:lnTo>
                    <a:pt x="1015077" y="1776658"/>
                  </a:lnTo>
                  <a:lnTo>
                    <a:pt x="1062452" y="1770628"/>
                  </a:lnTo>
                  <a:lnTo>
                    <a:pt x="1109038" y="1762294"/>
                  </a:lnTo>
                  <a:lnTo>
                    <a:pt x="1154771" y="1751715"/>
                  </a:lnTo>
                  <a:lnTo>
                    <a:pt x="1199586" y="1738955"/>
                  </a:lnTo>
                  <a:lnTo>
                    <a:pt x="1243422" y="1724074"/>
                  </a:lnTo>
                  <a:lnTo>
                    <a:pt x="1286214" y="1707134"/>
                  </a:lnTo>
                  <a:lnTo>
                    <a:pt x="1327899" y="1688197"/>
                  </a:lnTo>
                  <a:lnTo>
                    <a:pt x="1368413" y="1667323"/>
                  </a:lnTo>
                  <a:lnTo>
                    <a:pt x="1407693" y="1644576"/>
                  </a:lnTo>
                  <a:lnTo>
                    <a:pt x="1445676" y="1620015"/>
                  </a:lnTo>
                  <a:lnTo>
                    <a:pt x="1482298" y="1593703"/>
                  </a:lnTo>
                  <a:lnTo>
                    <a:pt x="1517495" y="1565702"/>
                  </a:lnTo>
                  <a:lnTo>
                    <a:pt x="1551204" y="1536072"/>
                  </a:lnTo>
                  <a:lnTo>
                    <a:pt x="1583362" y="1504876"/>
                  </a:lnTo>
                  <a:lnTo>
                    <a:pt x="1613906" y="1472174"/>
                  </a:lnTo>
                  <a:lnTo>
                    <a:pt x="1642771" y="1438029"/>
                  </a:lnTo>
                  <a:lnTo>
                    <a:pt x="1669894" y="1402502"/>
                  </a:lnTo>
                  <a:lnTo>
                    <a:pt x="1695212" y="1365654"/>
                  </a:lnTo>
                  <a:lnTo>
                    <a:pt x="1718661" y="1327547"/>
                  </a:lnTo>
                  <a:lnTo>
                    <a:pt x="1740179" y="1288243"/>
                  </a:lnTo>
                  <a:lnTo>
                    <a:pt x="1759700" y="1247803"/>
                  </a:lnTo>
                  <a:lnTo>
                    <a:pt x="1777163" y="1206289"/>
                  </a:lnTo>
                  <a:lnTo>
                    <a:pt x="1792504" y="1163762"/>
                  </a:lnTo>
                  <a:lnTo>
                    <a:pt x="1805658" y="1120284"/>
                  </a:lnTo>
                  <a:lnTo>
                    <a:pt x="1816563" y="1075916"/>
                  </a:lnTo>
                  <a:lnTo>
                    <a:pt x="1825155" y="1030720"/>
                  </a:lnTo>
                  <a:lnTo>
                    <a:pt x="1831371" y="984757"/>
                  </a:lnTo>
                  <a:lnTo>
                    <a:pt x="1835147" y="938089"/>
                  </a:lnTo>
                  <a:lnTo>
                    <a:pt x="1836420" y="890777"/>
                  </a:lnTo>
                  <a:lnTo>
                    <a:pt x="1835147" y="843466"/>
                  </a:lnTo>
                  <a:lnTo>
                    <a:pt x="1831371" y="796798"/>
                  </a:lnTo>
                  <a:lnTo>
                    <a:pt x="1825155" y="750835"/>
                  </a:lnTo>
                  <a:lnTo>
                    <a:pt x="1816563" y="705639"/>
                  </a:lnTo>
                  <a:lnTo>
                    <a:pt x="1805658" y="661271"/>
                  </a:lnTo>
                  <a:lnTo>
                    <a:pt x="1792504" y="617793"/>
                  </a:lnTo>
                  <a:lnTo>
                    <a:pt x="1777163" y="575266"/>
                  </a:lnTo>
                  <a:lnTo>
                    <a:pt x="1759700" y="533752"/>
                  </a:lnTo>
                  <a:lnTo>
                    <a:pt x="1740179" y="493312"/>
                  </a:lnTo>
                  <a:lnTo>
                    <a:pt x="1718661" y="454008"/>
                  </a:lnTo>
                  <a:lnTo>
                    <a:pt x="1695212" y="415901"/>
                  </a:lnTo>
                  <a:lnTo>
                    <a:pt x="1669894" y="379053"/>
                  </a:lnTo>
                  <a:lnTo>
                    <a:pt x="1642771" y="343526"/>
                  </a:lnTo>
                  <a:lnTo>
                    <a:pt x="1613906" y="309381"/>
                  </a:lnTo>
                  <a:lnTo>
                    <a:pt x="1583362" y="276679"/>
                  </a:lnTo>
                  <a:lnTo>
                    <a:pt x="1551204" y="245483"/>
                  </a:lnTo>
                  <a:lnTo>
                    <a:pt x="1517495" y="215853"/>
                  </a:lnTo>
                  <a:lnTo>
                    <a:pt x="1482298" y="187852"/>
                  </a:lnTo>
                  <a:lnTo>
                    <a:pt x="1445676" y="161540"/>
                  </a:lnTo>
                  <a:lnTo>
                    <a:pt x="1407693" y="136979"/>
                  </a:lnTo>
                  <a:lnTo>
                    <a:pt x="1368413" y="114232"/>
                  </a:lnTo>
                  <a:lnTo>
                    <a:pt x="1327899" y="93358"/>
                  </a:lnTo>
                  <a:lnTo>
                    <a:pt x="1286214" y="74421"/>
                  </a:lnTo>
                  <a:lnTo>
                    <a:pt x="1243422" y="57481"/>
                  </a:lnTo>
                  <a:lnTo>
                    <a:pt x="1199586" y="42600"/>
                  </a:lnTo>
                  <a:lnTo>
                    <a:pt x="1154771" y="29840"/>
                  </a:lnTo>
                  <a:lnTo>
                    <a:pt x="1109038" y="19261"/>
                  </a:lnTo>
                  <a:lnTo>
                    <a:pt x="1062452" y="10927"/>
                  </a:lnTo>
                  <a:lnTo>
                    <a:pt x="1015077" y="4897"/>
                  </a:lnTo>
                  <a:lnTo>
                    <a:pt x="966974" y="1234"/>
                  </a:lnTo>
                  <a:lnTo>
                    <a:pt x="918210" y="0"/>
                  </a:lnTo>
                  <a:close/>
                </a:path>
              </a:pathLst>
            </a:custGeom>
            <a:solidFill>
              <a:srgbClr val="9EE1F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1" name="object 41"/>
            <p:cNvPicPr/>
            <p:nvPr/>
          </p:nvPicPr>
          <p:blipFill>
            <a:blip r:embed="rId25" cstate="screen">
              <a:extLst>
                <a:ext uri="{28A0092B-C50C-407E-A947-70E740481C1C}">
                  <a14:useLocalDpi xmlns:a14="http://schemas.microsoft.com/office/drawing/2010/main"/>
                </a:ext>
              </a:extLst>
            </a:blip>
            <a:stretch>
              <a:fillRect/>
            </a:stretch>
          </p:blipFill>
          <p:spPr>
            <a:xfrm>
              <a:off x="11009121" y="3699002"/>
              <a:ext cx="552665" cy="228600"/>
            </a:xfrm>
            <a:prstGeom prst="rect">
              <a:avLst/>
            </a:prstGeom>
          </p:spPr>
        </p:pic>
        <p:pic>
          <p:nvPicPr>
            <p:cNvPr id="42" name="object 42"/>
            <p:cNvPicPr/>
            <p:nvPr/>
          </p:nvPicPr>
          <p:blipFill>
            <a:blip r:embed="rId26" cstate="screen">
              <a:extLst>
                <a:ext uri="{28A0092B-C50C-407E-A947-70E740481C1C}">
                  <a14:useLocalDpi xmlns:a14="http://schemas.microsoft.com/office/drawing/2010/main"/>
                </a:ext>
              </a:extLst>
            </a:blip>
            <a:stretch>
              <a:fillRect/>
            </a:stretch>
          </p:blipFill>
          <p:spPr>
            <a:xfrm>
              <a:off x="10881359" y="4454093"/>
              <a:ext cx="777240" cy="195376"/>
            </a:xfrm>
            <a:prstGeom prst="rect">
              <a:avLst/>
            </a:prstGeom>
          </p:spPr>
        </p:pic>
        <p:pic>
          <p:nvPicPr>
            <p:cNvPr id="43" name="object 43"/>
            <p:cNvPicPr/>
            <p:nvPr/>
          </p:nvPicPr>
          <p:blipFill>
            <a:blip r:embed="rId27" cstate="screen">
              <a:extLst>
                <a:ext uri="{28A0092B-C50C-407E-A947-70E740481C1C}">
                  <a14:useLocalDpi xmlns:a14="http://schemas.microsoft.com/office/drawing/2010/main"/>
                </a:ext>
              </a:extLst>
            </a:blip>
            <a:stretch>
              <a:fillRect/>
            </a:stretch>
          </p:blipFill>
          <p:spPr>
            <a:xfrm>
              <a:off x="10704576" y="4713732"/>
              <a:ext cx="1136764" cy="195071"/>
            </a:xfrm>
            <a:prstGeom prst="rect">
              <a:avLst/>
            </a:prstGeom>
          </p:spPr>
        </p:pic>
        <p:pic>
          <p:nvPicPr>
            <p:cNvPr id="44" name="object 44"/>
            <p:cNvPicPr/>
            <p:nvPr/>
          </p:nvPicPr>
          <p:blipFill>
            <a:blip r:embed="rId28" cstate="screen">
              <a:extLst>
                <a:ext uri="{28A0092B-C50C-407E-A947-70E740481C1C}">
                  <a14:useLocalDpi xmlns:a14="http://schemas.microsoft.com/office/drawing/2010/main"/>
                </a:ext>
              </a:extLst>
            </a:blip>
            <a:stretch>
              <a:fillRect/>
            </a:stretch>
          </p:blipFill>
          <p:spPr>
            <a:xfrm>
              <a:off x="10768583" y="4896611"/>
              <a:ext cx="986739" cy="195071"/>
            </a:xfrm>
            <a:prstGeom prst="rect">
              <a:avLst/>
            </a:prstGeom>
          </p:spPr>
        </p:pic>
        <p:pic>
          <p:nvPicPr>
            <p:cNvPr id="45" name="object 45"/>
            <p:cNvPicPr/>
            <p:nvPr/>
          </p:nvPicPr>
          <p:blipFill>
            <a:blip r:embed="rId29" cstate="screen">
              <a:extLst>
                <a:ext uri="{28A0092B-C50C-407E-A947-70E740481C1C}">
                  <a14:useLocalDpi xmlns:a14="http://schemas.microsoft.com/office/drawing/2010/main"/>
                </a:ext>
              </a:extLst>
            </a:blip>
            <a:stretch>
              <a:fillRect/>
            </a:stretch>
          </p:blipFill>
          <p:spPr>
            <a:xfrm>
              <a:off x="10948416" y="4061459"/>
              <a:ext cx="676655" cy="379475"/>
            </a:xfrm>
            <a:prstGeom prst="rect">
              <a:avLst/>
            </a:prstGeom>
          </p:spPr>
        </p:pic>
        <p:pic>
          <p:nvPicPr>
            <p:cNvPr id="46" name="object 46"/>
            <p:cNvPicPr/>
            <p:nvPr/>
          </p:nvPicPr>
          <p:blipFill>
            <a:blip r:embed="rId30" cstate="screen">
              <a:extLst>
                <a:ext uri="{28A0092B-C50C-407E-A947-70E740481C1C}">
                  <a14:useLocalDpi xmlns:a14="http://schemas.microsoft.com/office/drawing/2010/main"/>
                </a:ext>
              </a:extLst>
            </a:blip>
            <a:stretch>
              <a:fillRect/>
            </a:stretch>
          </p:blipFill>
          <p:spPr>
            <a:xfrm>
              <a:off x="1722120" y="3055620"/>
              <a:ext cx="182880" cy="195072"/>
            </a:xfrm>
            <a:prstGeom prst="rect">
              <a:avLst/>
            </a:prstGeom>
          </p:spPr>
        </p:pic>
        <p:pic>
          <p:nvPicPr>
            <p:cNvPr id="47" name="object 47"/>
            <p:cNvPicPr/>
            <p:nvPr/>
          </p:nvPicPr>
          <p:blipFill>
            <a:blip r:embed="rId31" cstate="screen">
              <a:extLst>
                <a:ext uri="{28A0092B-C50C-407E-A947-70E740481C1C}">
                  <a14:useLocalDpi xmlns:a14="http://schemas.microsoft.com/office/drawing/2010/main"/>
                </a:ext>
              </a:extLst>
            </a:blip>
            <a:stretch>
              <a:fillRect/>
            </a:stretch>
          </p:blipFill>
          <p:spPr>
            <a:xfrm>
              <a:off x="1813560" y="3055620"/>
              <a:ext cx="357631" cy="195072"/>
            </a:xfrm>
            <a:prstGeom prst="rect">
              <a:avLst/>
            </a:prstGeom>
          </p:spPr>
        </p:pic>
        <p:pic>
          <p:nvPicPr>
            <p:cNvPr id="48" name="object 48"/>
            <p:cNvPicPr/>
            <p:nvPr/>
          </p:nvPicPr>
          <p:blipFill>
            <a:blip r:embed="rId32" cstate="screen">
              <a:extLst>
                <a:ext uri="{28A0092B-C50C-407E-A947-70E740481C1C}">
                  <a14:useLocalDpi xmlns:a14="http://schemas.microsoft.com/office/drawing/2010/main"/>
                </a:ext>
              </a:extLst>
            </a:blip>
            <a:stretch>
              <a:fillRect/>
            </a:stretch>
          </p:blipFill>
          <p:spPr>
            <a:xfrm>
              <a:off x="2081783" y="3055620"/>
              <a:ext cx="600075" cy="195072"/>
            </a:xfrm>
            <a:prstGeom prst="rect">
              <a:avLst/>
            </a:prstGeom>
          </p:spPr>
        </p:pic>
        <p:pic>
          <p:nvPicPr>
            <p:cNvPr id="49" name="object 49"/>
            <p:cNvPicPr/>
            <p:nvPr/>
          </p:nvPicPr>
          <p:blipFill>
            <a:blip r:embed="rId33" cstate="screen">
              <a:extLst>
                <a:ext uri="{28A0092B-C50C-407E-A947-70E740481C1C}">
                  <a14:useLocalDpi xmlns:a14="http://schemas.microsoft.com/office/drawing/2010/main"/>
                </a:ext>
              </a:extLst>
            </a:blip>
            <a:stretch>
              <a:fillRect/>
            </a:stretch>
          </p:blipFill>
          <p:spPr>
            <a:xfrm>
              <a:off x="1735835" y="3314700"/>
              <a:ext cx="927468" cy="195072"/>
            </a:xfrm>
            <a:prstGeom prst="rect">
              <a:avLst/>
            </a:prstGeom>
          </p:spPr>
        </p:pic>
        <p:pic>
          <p:nvPicPr>
            <p:cNvPr id="50" name="object 50"/>
            <p:cNvPicPr/>
            <p:nvPr/>
          </p:nvPicPr>
          <p:blipFill>
            <a:blip r:embed="rId34" cstate="screen">
              <a:extLst>
                <a:ext uri="{28A0092B-C50C-407E-A947-70E740481C1C}">
                  <a14:useLocalDpi xmlns:a14="http://schemas.microsoft.com/office/drawing/2010/main"/>
                </a:ext>
              </a:extLst>
            </a:blip>
            <a:stretch>
              <a:fillRect/>
            </a:stretch>
          </p:blipFill>
          <p:spPr>
            <a:xfrm>
              <a:off x="1816607" y="2778251"/>
              <a:ext cx="717804" cy="240791"/>
            </a:xfrm>
            <a:prstGeom prst="rect">
              <a:avLst/>
            </a:prstGeom>
          </p:spPr>
        </p:pic>
        <p:pic>
          <p:nvPicPr>
            <p:cNvPr id="51" name="object 51"/>
            <p:cNvPicPr/>
            <p:nvPr/>
          </p:nvPicPr>
          <p:blipFill>
            <a:blip r:embed="rId35" cstate="screen">
              <a:extLst>
                <a:ext uri="{28A0092B-C50C-407E-A947-70E740481C1C}">
                  <a14:useLocalDpi xmlns:a14="http://schemas.microsoft.com/office/drawing/2010/main"/>
                </a:ext>
              </a:extLst>
            </a:blip>
            <a:stretch>
              <a:fillRect/>
            </a:stretch>
          </p:blipFill>
          <p:spPr>
            <a:xfrm>
              <a:off x="570585" y="3055620"/>
              <a:ext cx="866190" cy="195072"/>
            </a:xfrm>
            <a:prstGeom prst="rect">
              <a:avLst/>
            </a:prstGeom>
          </p:spPr>
        </p:pic>
        <p:pic>
          <p:nvPicPr>
            <p:cNvPr id="52" name="object 52"/>
            <p:cNvPicPr/>
            <p:nvPr/>
          </p:nvPicPr>
          <p:blipFill>
            <a:blip r:embed="rId36" cstate="screen">
              <a:extLst>
                <a:ext uri="{28A0092B-C50C-407E-A947-70E740481C1C}">
                  <a14:useLocalDpi xmlns:a14="http://schemas.microsoft.com/office/drawing/2010/main"/>
                </a:ext>
              </a:extLst>
            </a:blip>
            <a:stretch>
              <a:fillRect/>
            </a:stretch>
          </p:blipFill>
          <p:spPr>
            <a:xfrm>
              <a:off x="733653" y="3314700"/>
              <a:ext cx="562356" cy="195072"/>
            </a:xfrm>
            <a:prstGeom prst="rect">
              <a:avLst/>
            </a:prstGeom>
          </p:spPr>
        </p:pic>
        <p:pic>
          <p:nvPicPr>
            <p:cNvPr id="53" name="object 53"/>
            <p:cNvPicPr/>
            <p:nvPr/>
          </p:nvPicPr>
          <p:blipFill>
            <a:blip r:embed="rId37" cstate="screen">
              <a:extLst>
                <a:ext uri="{28A0092B-C50C-407E-A947-70E740481C1C}">
                  <a14:useLocalDpi xmlns:a14="http://schemas.microsoft.com/office/drawing/2010/main"/>
                </a:ext>
              </a:extLst>
            </a:blip>
            <a:stretch>
              <a:fillRect/>
            </a:stretch>
          </p:blipFill>
          <p:spPr>
            <a:xfrm>
              <a:off x="594969" y="3497579"/>
              <a:ext cx="807339" cy="195072"/>
            </a:xfrm>
            <a:prstGeom prst="rect">
              <a:avLst/>
            </a:prstGeom>
          </p:spPr>
        </p:pic>
        <p:pic>
          <p:nvPicPr>
            <p:cNvPr id="54" name="object 54"/>
            <p:cNvPicPr/>
            <p:nvPr/>
          </p:nvPicPr>
          <p:blipFill>
            <a:blip r:embed="rId38" cstate="screen">
              <a:extLst>
                <a:ext uri="{28A0092B-C50C-407E-A947-70E740481C1C}">
                  <a14:useLocalDpi xmlns:a14="http://schemas.microsoft.com/office/drawing/2010/main"/>
                </a:ext>
              </a:extLst>
            </a:blip>
            <a:stretch>
              <a:fillRect/>
            </a:stretch>
          </p:blipFill>
          <p:spPr>
            <a:xfrm>
              <a:off x="601980" y="2703576"/>
              <a:ext cx="746759" cy="323088"/>
            </a:xfrm>
            <a:prstGeom prst="rect">
              <a:avLst/>
            </a:prstGeom>
          </p:spPr>
        </p:pic>
        <p:pic>
          <p:nvPicPr>
            <p:cNvPr id="55" name="object 55"/>
            <p:cNvPicPr/>
            <p:nvPr/>
          </p:nvPicPr>
          <p:blipFill>
            <a:blip r:embed="rId30" cstate="screen">
              <a:extLst>
                <a:ext uri="{28A0092B-C50C-407E-A947-70E740481C1C}">
                  <a14:useLocalDpi xmlns:a14="http://schemas.microsoft.com/office/drawing/2010/main"/>
                </a:ext>
              </a:extLst>
            </a:blip>
            <a:stretch>
              <a:fillRect/>
            </a:stretch>
          </p:blipFill>
          <p:spPr>
            <a:xfrm>
              <a:off x="4145279" y="2570733"/>
              <a:ext cx="182879" cy="195072"/>
            </a:xfrm>
            <a:prstGeom prst="rect">
              <a:avLst/>
            </a:prstGeom>
          </p:spPr>
        </p:pic>
        <p:pic>
          <p:nvPicPr>
            <p:cNvPr id="56" name="object 56"/>
            <p:cNvPicPr/>
            <p:nvPr/>
          </p:nvPicPr>
          <p:blipFill>
            <a:blip r:embed="rId39" cstate="screen">
              <a:extLst>
                <a:ext uri="{28A0092B-C50C-407E-A947-70E740481C1C}">
                  <a14:useLocalDpi xmlns:a14="http://schemas.microsoft.com/office/drawing/2010/main"/>
                </a:ext>
              </a:extLst>
            </a:blip>
            <a:stretch>
              <a:fillRect/>
            </a:stretch>
          </p:blipFill>
          <p:spPr>
            <a:xfrm>
              <a:off x="4236720" y="2570733"/>
              <a:ext cx="274320" cy="195072"/>
            </a:xfrm>
            <a:prstGeom prst="rect">
              <a:avLst/>
            </a:prstGeom>
          </p:spPr>
        </p:pic>
        <p:pic>
          <p:nvPicPr>
            <p:cNvPr id="57" name="object 57"/>
            <p:cNvPicPr/>
            <p:nvPr/>
          </p:nvPicPr>
          <p:blipFill>
            <a:blip r:embed="rId40" cstate="screen">
              <a:extLst>
                <a:ext uri="{28A0092B-C50C-407E-A947-70E740481C1C}">
                  <a14:useLocalDpi xmlns:a14="http://schemas.microsoft.com/office/drawing/2010/main"/>
                </a:ext>
              </a:extLst>
            </a:blip>
            <a:stretch>
              <a:fillRect/>
            </a:stretch>
          </p:blipFill>
          <p:spPr>
            <a:xfrm>
              <a:off x="4419600" y="2570733"/>
              <a:ext cx="496062" cy="195072"/>
            </a:xfrm>
            <a:prstGeom prst="rect">
              <a:avLst/>
            </a:prstGeom>
          </p:spPr>
        </p:pic>
        <p:pic>
          <p:nvPicPr>
            <p:cNvPr id="58" name="object 58"/>
            <p:cNvPicPr/>
            <p:nvPr/>
          </p:nvPicPr>
          <p:blipFill>
            <a:blip r:embed="rId41" cstate="screen">
              <a:extLst>
                <a:ext uri="{28A0092B-C50C-407E-A947-70E740481C1C}">
                  <a14:useLocalDpi xmlns:a14="http://schemas.microsoft.com/office/drawing/2010/main"/>
                </a:ext>
              </a:extLst>
            </a:blip>
            <a:stretch>
              <a:fillRect/>
            </a:stretch>
          </p:blipFill>
          <p:spPr>
            <a:xfrm>
              <a:off x="4030979" y="2829814"/>
              <a:ext cx="1024978" cy="195072"/>
            </a:xfrm>
            <a:prstGeom prst="rect">
              <a:avLst/>
            </a:prstGeom>
          </p:spPr>
        </p:pic>
        <p:pic>
          <p:nvPicPr>
            <p:cNvPr id="59" name="object 59"/>
            <p:cNvPicPr/>
            <p:nvPr/>
          </p:nvPicPr>
          <p:blipFill>
            <a:blip r:embed="rId42" cstate="screen">
              <a:extLst>
                <a:ext uri="{28A0092B-C50C-407E-A947-70E740481C1C}">
                  <a14:useLocalDpi xmlns:a14="http://schemas.microsoft.com/office/drawing/2010/main"/>
                </a:ext>
              </a:extLst>
            </a:blip>
            <a:stretch>
              <a:fillRect/>
            </a:stretch>
          </p:blipFill>
          <p:spPr>
            <a:xfrm>
              <a:off x="4363211" y="3012694"/>
              <a:ext cx="331470" cy="195072"/>
            </a:xfrm>
            <a:prstGeom prst="rect">
              <a:avLst/>
            </a:prstGeom>
          </p:spPr>
        </p:pic>
        <p:pic>
          <p:nvPicPr>
            <p:cNvPr id="60" name="object 60"/>
            <p:cNvPicPr/>
            <p:nvPr/>
          </p:nvPicPr>
          <p:blipFill>
            <a:blip r:embed="rId43" cstate="screen">
              <a:extLst>
                <a:ext uri="{28A0092B-C50C-407E-A947-70E740481C1C}">
                  <a14:useLocalDpi xmlns:a14="http://schemas.microsoft.com/office/drawing/2010/main"/>
                </a:ext>
              </a:extLst>
            </a:blip>
            <a:stretch>
              <a:fillRect/>
            </a:stretch>
          </p:blipFill>
          <p:spPr>
            <a:xfrm>
              <a:off x="4070603" y="2250948"/>
              <a:ext cx="854963" cy="252984"/>
            </a:xfrm>
            <a:prstGeom prst="rect">
              <a:avLst/>
            </a:prstGeom>
          </p:spPr>
        </p:pic>
        <p:pic>
          <p:nvPicPr>
            <p:cNvPr id="61" name="object 61"/>
            <p:cNvPicPr/>
            <p:nvPr/>
          </p:nvPicPr>
          <p:blipFill>
            <a:blip r:embed="rId44" cstate="screen">
              <a:extLst>
                <a:ext uri="{28A0092B-C50C-407E-A947-70E740481C1C}">
                  <a14:useLocalDpi xmlns:a14="http://schemas.microsoft.com/office/drawing/2010/main"/>
                </a:ext>
              </a:extLst>
            </a:blip>
            <a:stretch>
              <a:fillRect/>
            </a:stretch>
          </p:blipFill>
          <p:spPr>
            <a:xfrm>
              <a:off x="4652517" y="3622243"/>
              <a:ext cx="962863" cy="195376"/>
            </a:xfrm>
            <a:prstGeom prst="rect">
              <a:avLst/>
            </a:prstGeom>
          </p:spPr>
        </p:pic>
        <p:pic>
          <p:nvPicPr>
            <p:cNvPr id="62" name="object 62"/>
            <p:cNvPicPr/>
            <p:nvPr/>
          </p:nvPicPr>
          <p:blipFill>
            <a:blip r:embed="rId45" cstate="screen">
              <a:extLst>
                <a:ext uri="{28A0092B-C50C-407E-A947-70E740481C1C}">
                  <a14:useLocalDpi xmlns:a14="http://schemas.microsoft.com/office/drawing/2010/main"/>
                </a:ext>
              </a:extLst>
            </a:blip>
            <a:stretch>
              <a:fillRect/>
            </a:stretch>
          </p:blipFill>
          <p:spPr>
            <a:xfrm>
              <a:off x="4753102" y="3881882"/>
              <a:ext cx="779602" cy="195071"/>
            </a:xfrm>
            <a:prstGeom prst="rect">
              <a:avLst/>
            </a:prstGeom>
          </p:spPr>
        </p:pic>
        <p:pic>
          <p:nvPicPr>
            <p:cNvPr id="63" name="object 63"/>
            <p:cNvPicPr/>
            <p:nvPr/>
          </p:nvPicPr>
          <p:blipFill>
            <a:blip r:embed="rId46" cstate="screen">
              <a:extLst>
                <a:ext uri="{28A0092B-C50C-407E-A947-70E740481C1C}">
                  <a14:useLocalDpi xmlns:a14="http://schemas.microsoft.com/office/drawing/2010/main"/>
                </a:ext>
              </a:extLst>
            </a:blip>
            <a:stretch>
              <a:fillRect/>
            </a:stretch>
          </p:blipFill>
          <p:spPr>
            <a:xfrm>
              <a:off x="4721097" y="4064761"/>
              <a:ext cx="806958" cy="195071"/>
            </a:xfrm>
            <a:prstGeom prst="rect">
              <a:avLst/>
            </a:prstGeom>
          </p:spPr>
        </p:pic>
        <p:pic>
          <p:nvPicPr>
            <p:cNvPr id="64" name="object 64"/>
            <p:cNvPicPr/>
            <p:nvPr/>
          </p:nvPicPr>
          <p:blipFill>
            <a:blip r:embed="rId47" cstate="screen">
              <a:extLst>
                <a:ext uri="{28A0092B-C50C-407E-A947-70E740481C1C}">
                  <a14:useLocalDpi xmlns:a14="http://schemas.microsoft.com/office/drawing/2010/main"/>
                </a:ext>
              </a:extLst>
            </a:blip>
            <a:stretch>
              <a:fillRect/>
            </a:stretch>
          </p:blipFill>
          <p:spPr>
            <a:xfrm>
              <a:off x="4764023" y="3270503"/>
              <a:ext cx="647700" cy="187451"/>
            </a:xfrm>
            <a:prstGeom prst="rect">
              <a:avLst/>
            </a:prstGeom>
          </p:spPr>
        </p:pic>
        <p:pic>
          <p:nvPicPr>
            <p:cNvPr id="65" name="object 65"/>
            <p:cNvPicPr/>
            <p:nvPr/>
          </p:nvPicPr>
          <p:blipFill>
            <a:blip r:embed="rId48" cstate="screen">
              <a:extLst>
                <a:ext uri="{28A0092B-C50C-407E-A947-70E740481C1C}">
                  <a14:useLocalDpi xmlns:a14="http://schemas.microsoft.com/office/drawing/2010/main"/>
                </a:ext>
              </a:extLst>
            </a:blip>
            <a:stretch>
              <a:fillRect/>
            </a:stretch>
          </p:blipFill>
          <p:spPr>
            <a:xfrm>
              <a:off x="4668011" y="3454908"/>
              <a:ext cx="931163" cy="185927"/>
            </a:xfrm>
            <a:prstGeom prst="rect">
              <a:avLst/>
            </a:prstGeom>
          </p:spPr>
        </p:pic>
        <p:pic>
          <p:nvPicPr>
            <p:cNvPr id="66" name="object 66"/>
            <p:cNvPicPr/>
            <p:nvPr/>
          </p:nvPicPr>
          <p:blipFill>
            <a:blip r:embed="rId49" cstate="screen">
              <a:extLst>
                <a:ext uri="{28A0092B-C50C-407E-A947-70E740481C1C}">
                  <a14:useLocalDpi xmlns:a14="http://schemas.microsoft.com/office/drawing/2010/main"/>
                </a:ext>
              </a:extLst>
            </a:blip>
            <a:stretch>
              <a:fillRect/>
            </a:stretch>
          </p:blipFill>
          <p:spPr>
            <a:xfrm>
              <a:off x="1524000" y="1453896"/>
              <a:ext cx="992124" cy="521208"/>
            </a:xfrm>
            <a:prstGeom prst="rect">
              <a:avLst/>
            </a:prstGeom>
          </p:spPr>
        </p:pic>
        <p:pic>
          <p:nvPicPr>
            <p:cNvPr id="67" name="object 67"/>
            <p:cNvPicPr/>
            <p:nvPr/>
          </p:nvPicPr>
          <p:blipFill>
            <a:blip r:embed="rId50" cstate="screen">
              <a:extLst>
                <a:ext uri="{28A0092B-C50C-407E-A947-70E740481C1C}">
                  <a14:useLocalDpi xmlns:a14="http://schemas.microsoft.com/office/drawing/2010/main"/>
                </a:ext>
              </a:extLst>
            </a:blip>
            <a:stretch>
              <a:fillRect/>
            </a:stretch>
          </p:blipFill>
          <p:spPr>
            <a:xfrm>
              <a:off x="1700783" y="1901063"/>
              <a:ext cx="768769" cy="195072"/>
            </a:xfrm>
            <a:prstGeom prst="rect">
              <a:avLst/>
            </a:prstGeom>
          </p:spPr>
        </p:pic>
        <p:pic>
          <p:nvPicPr>
            <p:cNvPr id="68" name="object 68"/>
            <p:cNvPicPr/>
            <p:nvPr/>
          </p:nvPicPr>
          <p:blipFill>
            <a:blip r:embed="rId51" cstate="screen">
              <a:extLst>
                <a:ext uri="{28A0092B-C50C-407E-A947-70E740481C1C}">
                  <a14:useLocalDpi xmlns:a14="http://schemas.microsoft.com/office/drawing/2010/main"/>
                </a:ext>
              </a:extLst>
            </a:blip>
            <a:stretch>
              <a:fillRect/>
            </a:stretch>
          </p:blipFill>
          <p:spPr>
            <a:xfrm>
              <a:off x="1499616" y="2160142"/>
              <a:ext cx="1183906" cy="195072"/>
            </a:xfrm>
            <a:prstGeom prst="rect">
              <a:avLst/>
            </a:prstGeom>
          </p:spPr>
        </p:pic>
        <p:pic>
          <p:nvPicPr>
            <p:cNvPr id="69" name="object 69"/>
            <p:cNvPicPr/>
            <p:nvPr/>
          </p:nvPicPr>
          <p:blipFill>
            <a:blip r:embed="rId52" cstate="screen">
              <a:extLst>
                <a:ext uri="{28A0092B-C50C-407E-A947-70E740481C1C}">
                  <a14:useLocalDpi xmlns:a14="http://schemas.microsoft.com/office/drawing/2010/main"/>
                </a:ext>
              </a:extLst>
            </a:blip>
            <a:stretch>
              <a:fillRect/>
            </a:stretch>
          </p:blipFill>
          <p:spPr>
            <a:xfrm>
              <a:off x="1499616" y="2343023"/>
              <a:ext cx="1155026" cy="195072"/>
            </a:xfrm>
            <a:prstGeom prst="rect">
              <a:avLst/>
            </a:prstGeom>
          </p:spPr>
        </p:pic>
        <p:pic>
          <p:nvPicPr>
            <p:cNvPr id="70" name="object 70"/>
            <p:cNvPicPr/>
            <p:nvPr/>
          </p:nvPicPr>
          <p:blipFill>
            <a:blip r:embed="rId53" cstate="screen">
              <a:extLst>
                <a:ext uri="{28A0092B-C50C-407E-A947-70E740481C1C}">
                  <a14:useLocalDpi xmlns:a14="http://schemas.microsoft.com/office/drawing/2010/main"/>
                </a:ext>
              </a:extLst>
            </a:blip>
            <a:stretch>
              <a:fillRect/>
            </a:stretch>
          </p:blipFill>
          <p:spPr>
            <a:xfrm>
              <a:off x="626668" y="4313173"/>
              <a:ext cx="956259" cy="195071"/>
            </a:xfrm>
            <a:prstGeom prst="rect">
              <a:avLst/>
            </a:prstGeom>
          </p:spPr>
        </p:pic>
        <p:pic>
          <p:nvPicPr>
            <p:cNvPr id="71" name="object 71"/>
            <p:cNvPicPr/>
            <p:nvPr/>
          </p:nvPicPr>
          <p:blipFill>
            <a:blip r:embed="rId54" cstate="screen">
              <a:extLst>
                <a:ext uri="{28A0092B-C50C-407E-A947-70E740481C1C}">
                  <a14:useLocalDpi xmlns:a14="http://schemas.microsoft.com/office/drawing/2010/main"/>
                </a:ext>
              </a:extLst>
            </a:blip>
            <a:stretch>
              <a:fillRect/>
            </a:stretch>
          </p:blipFill>
          <p:spPr>
            <a:xfrm>
              <a:off x="649528" y="4572253"/>
              <a:ext cx="931049" cy="195072"/>
            </a:xfrm>
            <a:prstGeom prst="rect">
              <a:avLst/>
            </a:prstGeom>
          </p:spPr>
        </p:pic>
        <p:pic>
          <p:nvPicPr>
            <p:cNvPr id="72" name="object 72"/>
            <p:cNvPicPr/>
            <p:nvPr/>
          </p:nvPicPr>
          <p:blipFill>
            <a:blip r:embed="rId55" cstate="screen">
              <a:extLst>
                <a:ext uri="{28A0092B-C50C-407E-A947-70E740481C1C}">
                  <a14:useLocalDpi xmlns:a14="http://schemas.microsoft.com/office/drawing/2010/main"/>
                </a:ext>
              </a:extLst>
            </a:blip>
            <a:stretch>
              <a:fillRect/>
            </a:stretch>
          </p:blipFill>
          <p:spPr>
            <a:xfrm>
              <a:off x="891844" y="4755134"/>
              <a:ext cx="409295" cy="195071"/>
            </a:xfrm>
            <a:prstGeom prst="rect">
              <a:avLst/>
            </a:prstGeom>
          </p:spPr>
        </p:pic>
        <p:pic>
          <p:nvPicPr>
            <p:cNvPr id="73" name="object 73"/>
            <p:cNvPicPr/>
            <p:nvPr/>
          </p:nvPicPr>
          <p:blipFill>
            <a:blip r:embed="rId56" cstate="screen">
              <a:extLst>
                <a:ext uri="{28A0092B-C50C-407E-A947-70E740481C1C}">
                  <a14:useLocalDpi xmlns:a14="http://schemas.microsoft.com/office/drawing/2010/main"/>
                </a:ext>
              </a:extLst>
            </a:blip>
            <a:stretch>
              <a:fillRect/>
            </a:stretch>
          </p:blipFill>
          <p:spPr>
            <a:xfrm>
              <a:off x="903732" y="3870959"/>
              <a:ext cx="338328" cy="335280"/>
            </a:xfrm>
            <a:prstGeom prst="rect">
              <a:avLst/>
            </a:prstGeom>
          </p:spPr>
        </p:pic>
        <p:pic>
          <p:nvPicPr>
            <p:cNvPr id="74" name="object 74"/>
            <p:cNvPicPr/>
            <p:nvPr/>
          </p:nvPicPr>
          <p:blipFill>
            <a:blip r:embed="rId57" cstate="screen">
              <a:extLst>
                <a:ext uri="{28A0092B-C50C-407E-A947-70E740481C1C}">
                  <a14:useLocalDpi xmlns:a14="http://schemas.microsoft.com/office/drawing/2010/main"/>
                </a:ext>
              </a:extLst>
            </a:blip>
            <a:stretch>
              <a:fillRect/>
            </a:stretch>
          </p:blipFill>
          <p:spPr>
            <a:xfrm>
              <a:off x="1177442" y="5378780"/>
              <a:ext cx="883145" cy="195376"/>
            </a:xfrm>
            <a:prstGeom prst="rect">
              <a:avLst/>
            </a:prstGeom>
          </p:spPr>
        </p:pic>
        <p:pic>
          <p:nvPicPr>
            <p:cNvPr id="75" name="object 75"/>
            <p:cNvPicPr/>
            <p:nvPr/>
          </p:nvPicPr>
          <p:blipFill>
            <a:blip r:embed="rId58" cstate="screen">
              <a:extLst>
                <a:ext uri="{28A0092B-C50C-407E-A947-70E740481C1C}">
                  <a14:useLocalDpi xmlns:a14="http://schemas.microsoft.com/office/drawing/2010/main"/>
                </a:ext>
              </a:extLst>
            </a:blip>
            <a:stretch>
              <a:fillRect/>
            </a:stretch>
          </p:blipFill>
          <p:spPr>
            <a:xfrm>
              <a:off x="1209446" y="5638495"/>
              <a:ext cx="540283" cy="195072"/>
            </a:xfrm>
            <a:prstGeom prst="rect">
              <a:avLst/>
            </a:prstGeom>
          </p:spPr>
        </p:pic>
        <p:pic>
          <p:nvPicPr>
            <p:cNvPr id="76" name="object 76"/>
            <p:cNvPicPr/>
            <p:nvPr/>
          </p:nvPicPr>
          <p:blipFill>
            <a:blip r:embed="rId59" cstate="screen">
              <a:extLst>
                <a:ext uri="{28A0092B-C50C-407E-A947-70E740481C1C}">
                  <a14:useLocalDpi xmlns:a14="http://schemas.microsoft.com/office/drawing/2010/main"/>
                </a:ext>
              </a:extLst>
            </a:blip>
            <a:stretch>
              <a:fillRect/>
            </a:stretch>
          </p:blipFill>
          <p:spPr>
            <a:xfrm>
              <a:off x="1682242" y="5638495"/>
              <a:ext cx="97536" cy="195072"/>
            </a:xfrm>
            <a:prstGeom prst="rect">
              <a:avLst/>
            </a:prstGeom>
          </p:spPr>
        </p:pic>
        <p:pic>
          <p:nvPicPr>
            <p:cNvPr id="77" name="object 77"/>
            <p:cNvPicPr/>
            <p:nvPr/>
          </p:nvPicPr>
          <p:blipFill>
            <a:blip r:embed="rId60" cstate="screen">
              <a:extLst>
                <a:ext uri="{28A0092B-C50C-407E-A947-70E740481C1C}">
                  <a14:useLocalDpi xmlns:a14="http://schemas.microsoft.com/office/drawing/2010/main"/>
                </a:ext>
              </a:extLst>
            </a:blip>
            <a:stretch>
              <a:fillRect/>
            </a:stretch>
          </p:blipFill>
          <p:spPr>
            <a:xfrm>
              <a:off x="1731010" y="5638495"/>
              <a:ext cx="307238" cy="195072"/>
            </a:xfrm>
            <a:prstGeom prst="rect">
              <a:avLst/>
            </a:prstGeom>
          </p:spPr>
        </p:pic>
        <p:pic>
          <p:nvPicPr>
            <p:cNvPr id="78" name="object 78"/>
            <p:cNvPicPr/>
            <p:nvPr/>
          </p:nvPicPr>
          <p:blipFill>
            <a:blip r:embed="rId61" cstate="screen">
              <a:extLst>
                <a:ext uri="{28A0092B-C50C-407E-A947-70E740481C1C}">
                  <a14:useLocalDpi xmlns:a14="http://schemas.microsoft.com/office/drawing/2010/main"/>
                </a:ext>
              </a:extLst>
            </a:blip>
            <a:stretch>
              <a:fillRect/>
            </a:stretch>
          </p:blipFill>
          <p:spPr>
            <a:xfrm>
              <a:off x="1259738" y="5821375"/>
              <a:ext cx="703592" cy="195072"/>
            </a:xfrm>
            <a:prstGeom prst="rect">
              <a:avLst/>
            </a:prstGeom>
          </p:spPr>
        </p:pic>
        <p:pic>
          <p:nvPicPr>
            <p:cNvPr id="79" name="object 79"/>
            <p:cNvPicPr/>
            <p:nvPr/>
          </p:nvPicPr>
          <p:blipFill>
            <a:blip r:embed="rId34" cstate="screen">
              <a:extLst>
                <a:ext uri="{28A0092B-C50C-407E-A947-70E740481C1C}">
                  <a14:useLocalDpi xmlns:a14="http://schemas.microsoft.com/office/drawing/2010/main"/>
                </a:ext>
              </a:extLst>
            </a:blip>
            <a:stretch>
              <a:fillRect/>
            </a:stretch>
          </p:blipFill>
          <p:spPr>
            <a:xfrm>
              <a:off x="1232916" y="5079491"/>
              <a:ext cx="717804" cy="242315"/>
            </a:xfrm>
            <a:prstGeom prst="rect">
              <a:avLst/>
            </a:prstGeom>
          </p:spPr>
        </p:pic>
        <p:pic>
          <p:nvPicPr>
            <p:cNvPr id="80" name="object 80"/>
            <p:cNvPicPr/>
            <p:nvPr/>
          </p:nvPicPr>
          <p:blipFill>
            <a:blip r:embed="rId62" cstate="screen">
              <a:extLst>
                <a:ext uri="{28A0092B-C50C-407E-A947-70E740481C1C}">
                  <a14:useLocalDpi xmlns:a14="http://schemas.microsoft.com/office/drawing/2010/main"/>
                </a:ext>
              </a:extLst>
            </a:blip>
            <a:stretch>
              <a:fillRect/>
            </a:stretch>
          </p:blipFill>
          <p:spPr>
            <a:xfrm>
              <a:off x="3902709" y="4892040"/>
              <a:ext cx="848258" cy="195072"/>
            </a:xfrm>
            <a:prstGeom prst="rect">
              <a:avLst/>
            </a:prstGeom>
          </p:spPr>
        </p:pic>
        <p:pic>
          <p:nvPicPr>
            <p:cNvPr id="81" name="object 81"/>
            <p:cNvPicPr/>
            <p:nvPr/>
          </p:nvPicPr>
          <p:blipFill>
            <a:blip r:embed="rId63" cstate="screen">
              <a:extLst>
                <a:ext uri="{28A0092B-C50C-407E-A947-70E740481C1C}">
                  <a14:useLocalDpi xmlns:a14="http://schemas.microsoft.com/office/drawing/2010/main"/>
                </a:ext>
              </a:extLst>
            </a:blip>
            <a:stretch>
              <a:fillRect/>
            </a:stretch>
          </p:blipFill>
          <p:spPr>
            <a:xfrm>
              <a:off x="3917950" y="5151120"/>
              <a:ext cx="827862" cy="195072"/>
            </a:xfrm>
            <a:prstGeom prst="rect">
              <a:avLst/>
            </a:prstGeom>
          </p:spPr>
        </p:pic>
        <p:pic>
          <p:nvPicPr>
            <p:cNvPr id="82" name="object 82"/>
            <p:cNvPicPr/>
            <p:nvPr/>
          </p:nvPicPr>
          <p:blipFill>
            <a:blip r:embed="rId64" cstate="screen">
              <a:extLst>
                <a:ext uri="{28A0092B-C50C-407E-A947-70E740481C1C}">
                  <a14:useLocalDpi xmlns:a14="http://schemas.microsoft.com/office/drawing/2010/main"/>
                </a:ext>
              </a:extLst>
            </a:blip>
            <a:stretch>
              <a:fillRect/>
            </a:stretch>
          </p:blipFill>
          <p:spPr>
            <a:xfrm>
              <a:off x="3736594" y="5334000"/>
              <a:ext cx="1195235" cy="195072"/>
            </a:xfrm>
            <a:prstGeom prst="rect">
              <a:avLst/>
            </a:prstGeom>
          </p:spPr>
        </p:pic>
        <p:pic>
          <p:nvPicPr>
            <p:cNvPr id="83" name="object 83"/>
            <p:cNvPicPr/>
            <p:nvPr/>
          </p:nvPicPr>
          <p:blipFill>
            <a:blip r:embed="rId65" cstate="screen">
              <a:extLst>
                <a:ext uri="{28A0092B-C50C-407E-A947-70E740481C1C}">
                  <a14:useLocalDpi xmlns:a14="http://schemas.microsoft.com/office/drawing/2010/main"/>
                </a:ext>
              </a:extLst>
            </a:blip>
            <a:stretch>
              <a:fillRect/>
            </a:stretch>
          </p:blipFill>
          <p:spPr>
            <a:xfrm>
              <a:off x="3677158" y="5516879"/>
              <a:ext cx="1076058" cy="195072"/>
            </a:xfrm>
            <a:prstGeom prst="rect">
              <a:avLst/>
            </a:prstGeom>
          </p:spPr>
        </p:pic>
        <p:pic>
          <p:nvPicPr>
            <p:cNvPr id="84" name="object 84"/>
            <p:cNvPicPr/>
            <p:nvPr/>
          </p:nvPicPr>
          <p:blipFill>
            <a:blip r:embed="rId59" cstate="screen">
              <a:extLst>
                <a:ext uri="{28A0092B-C50C-407E-A947-70E740481C1C}">
                  <a14:useLocalDpi xmlns:a14="http://schemas.microsoft.com/office/drawing/2010/main"/>
                </a:ext>
              </a:extLst>
            </a:blip>
            <a:stretch>
              <a:fillRect/>
            </a:stretch>
          </p:blipFill>
          <p:spPr>
            <a:xfrm>
              <a:off x="4681473" y="5516879"/>
              <a:ext cx="97536" cy="195072"/>
            </a:xfrm>
            <a:prstGeom prst="rect">
              <a:avLst/>
            </a:prstGeom>
          </p:spPr>
        </p:pic>
        <p:pic>
          <p:nvPicPr>
            <p:cNvPr id="85" name="object 85"/>
            <p:cNvPicPr/>
            <p:nvPr/>
          </p:nvPicPr>
          <p:blipFill>
            <a:blip r:embed="rId66" cstate="screen">
              <a:extLst>
                <a:ext uri="{28A0092B-C50C-407E-A947-70E740481C1C}">
                  <a14:useLocalDpi xmlns:a14="http://schemas.microsoft.com/office/drawing/2010/main"/>
                </a:ext>
              </a:extLst>
            </a:blip>
            <a:stretch>
              <a:fillRect/>
            </a:stretch>
          </p:blipFill>
          <p:spPr>
            <a:xfrm>
              <a:off x="4730241" y="5516879"/>
              <a:ext cx="274320" cy="195072"/>
            </a:xfrm>
            <a:prstGeom prst="rect">
              <a:avLst/>
            </a:prstGeom>
          </p:spPr>
        </p:pic>
        <p:pic>
          <p:nvPicPr>
            <p:cNvPr id="86" name="object 86"/>
            <p:cNvPicPr/>
            <p:nvPr/>
          </p:nvPicPr>
          <p:blipFill>
            <a:blip r:embed="rId67" cstate="screen">
              <a:extLst>
                <a:ext uri="{28A0092B-C50C-407E-A947-70E740481C1C}">
                  <a14:useLocalDpi xmlns:a14="http://schemas.microsoft.com/office/drawing/2010/main"/>
                </a:ext>
              </a:extLst>
            </a:blip>
            <a:stretch>
              <a:fillRect/>
            </a:stretch>
          </p:blipFill>
          <p:spPr>
            <a:xfrm>
              <a:off x="3866134" y="5699759"/>
              <a:ext cx="904608" cy="195072"/>
            </a:xfrm>
            <a:prstGeom prst="rect">
              <a:avLst/>
            </a:prstGeom>
          </p:spPr>
        </p:pic>
        <p:pic>
          <p:nvPicPr>
            <p:cNvPr id="87" name="object 87"/>
            <p:cNvPicPr/>
            <p:nvPr/>
          </p:nvPicPr>
          <p:blipFill>
            <a:blip r:embed="rId68" cstate="screen">
              <a:extLst>
                <a:ext uri="{28A0092B-C50C-407E-A947-70E740481C1C}">
                  <a14:useLocalDpi xmlns:a14="http://schemas.microsoft.com/office/drawing/2010/main"/>
                </a:ext>
              </a:extLst>
            </a:blip>
            <a:stretch>
              <a:fillRect/>
            </a:stretch>
          </p:blipFill>
          <p:spPr>
            <a:xfrm>
              <a:off x="3806952" y="4678679"/>
              <a:ext cx="961644" cy="134112"/>
            </a:xfrm>
            <a:prstGeom prst="rect">
              <a:avLst/>
            </a:prstGeom>
          </p:spPr>
        </p:pic>
        <p:pic>
          <p:nvPicPr>
            <p:cNvPr id="88" name="object 88"/>
            <p:cNvPicPr/>
            <p:nvPr/>
          </p:nvPicPr>
          <p:blipFill>
            <a:blip r:embed="rId69" cstate="screen">
              <a:extLst>
                <a:ext uri="{28A0092B-C50C-407E-A947-70E740481C1C}">
                  <a14:useLocalDpi xmlns:a14="http://schemas.microsoft.com/office/drawing/2010/main"/>
                </a:ext>
              </a:extLst>
            </a:blip>
            <a:stretch>
              <a:fillRect/>
            </a:stretch>
          </p:blipFill>
          <p:spPr>
            <a:xfrm>
              <a:off x="3069589" y="3416808"/>
              <a:ext cx="942721" cy="195071"/>
            </a:xfrm>
            <a:prstGeom prst="rect">
              <a:avLst/>
            </a:prstGeom>
          </p:spPr>
        </p:pic>
        <p:pic>
          <p:nvPicPr>
            <p:cNvPr id="89" name="object 89"/>
            <p:cNvPicPr/>
            <p:nvPr/>
          </p:nvPicPr>
          <p:blipFill>
            <a:blip r:embed="rId36" cstate="screen">
              <a:extLst>
                <a:ext uri="{28A0092B-C50C-407E-A947-70E740481C1C}">
                  <a14:useLocalDpi xmlns:a14="http://schemas.microsoft.com/office/drawing/2010/main"/>
                </a:ext>
              </a:extLst>
            </a:blip>
            <a:stretch>
              <a:fillRect/>
            </a:stretch>
          </p:blipFill>
          <p:spPr>
            <a:xfrm>
              <a:off x="3270758" y="3675888"/>
              <a:ext cx="562356" cy="195072"/>
            </a:xfrm>
            <a:prstGeom prst="rect">
              <a:avLst/>
            </a:prstGeom>
          </p:spPr>
        </p:pic>
        <p:pic>
          <p:nvPicPr>
            <p:cNvPr id="90" name="object 90"/>
            <p:cNvPicPr/>
            <p:nvPr/>
          </p:nvPicPr>
          <p:blipFill>
            <a:blip r:embed="rId37" cstate="screen">
              <a:extLst>
                <a:ext uri="{28A0092B-C50C-407E-A947-70E740481C1C}">
                  <a14:useLocalDpi xmlns:a14="http://schemas.microsoft.com/office/drawing/2010/main"/>
                </a:ext>
              </a:extLst>
            </a:blip>
            <a:stretch>
              <a:fillRect/>
            </a:stretch>
          </p:blipFill>
          <p:spPr>
            <a:xfrm>
              <a:off x="3132073" y="3858767"/>
              <a:ext cx="807338" cy="195072"/>
            </a:xfrm>
            <a:prstGeom prst="rect">
              <a:avLst/>
            </a:prstGeom>
          </p:spPr>
        </p:pic>
        <p:pic>
          <p:nvPicPr>
            <p:cNvPr id="91" name="object 91"/>
            <p:cNvPicPr/>
            <p:nvPr/>
          </p:nvPicPr>
          <p:blipFill>
            <a:blip r:embed="rId70" cstate="screen">
              <a:extLst>
                <a:ext uri="{28A0092B-C50C-407E-A947-70E740481C1C}">
                  <a14:useLocalDpi xmlns:a14="http://schemas.microsoft.com/office/drawing/2010/main"/>
                </a:ext>
              </a:extLst>
            </a:blip>
            <a:stretch>
              <a:fillRect/>
            </a:stretch>
          </p:blipFill>
          <p:spPr>
            <a:xfrm>
              <a:off x="3130295" y="3070860"/>
              <a:ext cx="696468" cy="281939"/>
            </a:xfrm>
            <a:prstGeom prst="rect">
              <a:avLst/>
            </a:prstGeom>
          </p:spPr>
        </p:pic>
        <p:pic>
          <p:nvPicPr>
            <p:cNvPr id="92" name="object 92"/>
            <p:cNvPicPr/>
            <p:nvPr/>
          </p:nvPicPr>
          <p:blipFill>
            <a:blip r:embed="rId30" cstate="screen">
              <a:extLst>
                <a:ext uri="{28A0092B-C50C-407E-A947-70E740481C1C}">
                  <a14:useLocalDpi xmlns:a14="http://schemas.microsoft.com/office/drawing/2010/main"/>
                </a:ext>
              </a:extLst>
            </a:blip>
            <a:stretch>
              <a:fillRect/>
            </a:stretch>
          </p:blipFill>
          <p:spPr>
            <a:xfrm>
              <a:off x="2061717" y="4180078"/>
              <a:ext cx="182880" cy="195072"/>
            </a:xfrm>
            <a:prstGeom prst="rect">
              <a:avLst/>
            </a:prstGeom>
          </p:spPr>
        </p:pic>
        <p:pic>
          <p:nvPicPr>
            <p:cNvPr id="93" name="object 93"/>
            <p:cNvPicPr/>
            <p:nvPr/>
          </p:nvPicPr>
          <p:blipFill>
            <a:blip r:embed="rId71" cstate="screen">
              <a:extLst>
                <a:ext uri="{28A0092B-C50C-407E-A947-70E740481C1C}">
                  <a14:useLocalDpi xmlns:a14="http://schemas.microsoft.com/office/drawing/2010/main"/>
                </a:ext>
              </a:extLst>
            </a:blip>
            <a:stretch>
              <a:fillRect/>
            </a:stretch>
          </p:blipFill>
          <p:spPr>
            <a:xfrm>
              <a:off x="2153157" y="4180078"/>
              <a:ext cx="390525" cy="195072"/>
            </a:xfrm>
            <a:prstGeom prst="rect">
              <a:avLst/>
            </a:prstGeom>
          </p:spPr>
        </p:pic>
        <p:pic>
          <p:nvPicPr>
            <p:cNvPr id="94" name="object 94"/>
            <p:cNvPicPr/>
            <p:nvPr/>
          </p:nvPicPr>
          <p:blipFill>
            <a:blip r:embed="rId72" cstate="screen">
              <a:extLst>
                <a:ext uri="{28A0092B-C50C-407E-A947-70E740481C1C}">
                  <a14:useLocalDpi xmlns:a14="http://schemas.microsoft.com/office/drawing/2010/main"/>
                </a:ext>
              </a:extLst>
            </a:blip>
            <a:stretch>
              <a:fillRect/>
            </a:stretch>
          </p:blipFill>
          <p:spPr>
            <a:xfrm>
              <a:off x="2465577" y="4180078"/>
              <a:ext cx="496417" cy="195072"/>
            </a:xfrm>
            <a:prstGeom prst="rect">
              <a:avLst/>
            </a:prstGeom>
          </p:spPr>
        </p:pic>
        <p:pic>
          <p:nvPicPr>
            <p:cNvPr id="95" name="object 95"/>
            <p:cNvPicPr/>
            <p:nvPr/>
          </p:nvPicPr>
          <p:blipFill>
            <a:blip r:embed="rId73" cstate="screen">
              <a:extLst>
                <a:ext uri="{28A0092B-C50C-407E-A947-70E740481C1C}">
                  <a14:useLocalDpi xmlns:a14="http://schemas.microsoft.com/office/drawing/2010/main"/>
                </a:ext>
              </a:extLst>
            </a:blip>
            <a:stretch>
              <a:fillRect/>
            </a:stretch>
          </p:blipFill>
          <p:spPr>
            <a:xfrm>
              <a:off x="2041905" y="4439158"/>
              <a:ext cx="962380" cy="377951"/>
            </a:xfrm>
            <a:prstGeom prst="rect">
              <a:avLst/>
            </a:prstGeom>
          </p:spPr>
        </p:pic>
        <p:pic>
          <p:nvPicPr>
            <p:cNvPr id="96" name="object 96"/>
            <p:cNvPicPr/>
            <p:nvPr/>
          </p:nvPicPr>
          <p:blipFill>
            <a:blip r:embed="rId74" cstate="screen">
              <a:extLst>
                <a:ext uri="{28A0092B-C50C-407E-A947-70E740481C1C}">
                  <a14:useLocalDpi xmlns:a14="http://schemas.microsoft.com/office/drawing/2010/main"/>
                </a:ext>
              </a:extLst>
            </a:blip>
            <a:stretch>
              <a:fillRect/>
            </a:stretch>
          </p:blipFill>
          <p:spPr>
            <a:xfrm>
              <a:off x="2218689" y="4804613"/>
              <a:ext cx="579843" cy="195376"/>
            </a:xfrm>
            <a:prstGeom prst="rect">
              <a:avLst/>
            </a:prstGeom>
          </p:spPr>
        </p:pic>
        <p:pic>
          <p:nvPicPr>
            <p:cNvPr id="97" name="object 97"/>
            <p:cNvPicPr/>
            <p:nvPr/>
          </p:nvPicPr>
          <p:blipFill>
            <a:blip r:embed="rId75" cstate="screen">
              <a:extLst>
                <a:ext uri="{28A0092B-C50C-407E-A947-70E740481C1C}">
                  <a14:useLocalDpi xmlns:a14="http://schemas.microsoft.com/office/drawing/2010/main"/>
                </a:ext>
              </a:extLst>
            </a:blip>
            <a:stretch>
              <a:fillRect/>
            </a:stretch>
          </p:blipFill>
          <p:spPr>
            <a:xfrm>
              <a:off x="2087879" y="3712464"/>
              <a:ext cx="766571" cy="370331"/>
            </a:xfrm>
            <a:prstGeom prst="rect">
              <a:avLst/>
            </a:prstGeom>
          </p:spPr>
        </p:pic>
        <p:pic>
          <p:nvPicPr>
            <p:cNvPr id="98" name="object 98"/>
            <p:cNvPicPr/>
            <p:nvPr/>
          </p:nvPicPr>
          <p:blipFill>
            <a:blip r:embed="rId76" cstate="screen">
              <a:extLst>
                <a:ext uri="{28A0092B-C50C-407E-A947-70E740481C1C}">
                  <a14:useLocalDpi xmlns:a14="http://schemas.microsoft.com/office/drawing/2010/main"/>
                </a:ext>
              </a:extLst>
            </a:blip>
            <a:stretch>
              <a:fillRect/>
            </a:stretch>
          </p:blipFill>
          <p:spPr>
            <a:xfrm>
              <a:off x="3035173" y="2044954"/>
              <a:ext cx="777239" cy="195072"/>
            </a:xfrm>
            <a:prstGeom prst="rect">
              <a:avLst/>
            </a:prstGeom>
          </p:spPr>
        </p:pic>
        <p:pic>
          <p:nvPicPr>
            <p:cNvPr id="99" name="object 99"/>
            <p:cNvPicPr/>
            <p:nvPr/>
          </p:nvPicPr>
          <p:blipFill>
            <a:blip r:embed="rId77" cstate="screen">
              <a:extLst>
                <a:ext uri="{28A0092B-C50C-407E-A947-70E740481C1C}">
                  <a14:useLocalDpi xmlns:a14="http://schemas.microsoft.com/office/drawing/2010/main"/>
                </a:ext>
              </a:extLst>
            </a:blip>
            <a:stretch>
              <a:fillRect/>
            </a:stretch>
          </p:blipFill>
          <p:spPr>
            <a:xfrm>
              <a:off x="3027552" y="2304033"/>
              <a:ext cx="808989" cy="195072"/>
            </a:xfrm>
            <a:prstGeom prst="rect">
              <a:avLst/>
            </a:prstGeom>
          </p:spPr>
        </p:pic>
        <p:pic>
          <p:nvPicPr>
            <p:cNvPr id="100" name="object 100"/>
            <p:cNvPicPr/>
            <p:nvPr/>
          </p:nvPicPr>
          <p:blipFill>
            <a:blip r:embed="rId78" cstate="screen">
              <a:extLst>
                <a:ext uri="{28A0092B-C50C-407E-A947-70E740481C1C}">
                  <a14:useLocalDpi xmlns:a14="http://schemas.microsoft.com/office/drawing/2010/main"/>
                </a:ext>
              </a:extLst>
            </a:blip>
            <a:stretch>
              <a:fillRect/>
            </a:stretch>
          </p:blipFill>
          <p:spPr>
            <a:xfrm>
              <a:off x="3009264" y="2486914"/>
              <a:ext cx="806627" cy="195072"/>
            </a:xfrm>
            <a:prstGeom prst="rect">
              <a:avLst/>
            </a:prstGeom>
          </p:spPr>
        </p:pic>
        <p:pic>
          <p:nvPicPr>
            <p:cNvPr id="101" name="object 101"/>
            <p:cNvPicPr/>
            <p:nvPr/>
          </p:nvPicPr>
          <p:blipFill>
            <a:blip r:embed="rId79" cstate="screen">
              <a:extLst>
                <a:ext uri="{28A0092B-C50C-407E-A947-70E740481C1C}">
                  <a14:useLocalDpi xmlns:a14="http://schemas.microsoft.com/office/drawing/2010/main"/>
                </a:ext>
              </a:extLst>
            </a:blip>
            <a:stretch>
              <a:fillRect/>
            </a:stretch>
          </p:blipFill>
          <p:spPr>
            <a:xfrm>
              <a:off x="2863595" y="1633727"/>
              <a:ext cx="1043940" cy="315467"/>
            </a:xfrm>
            <a:prstGeom prst="rect">
              <a:avLst/>
            </a:prstGeom>
          </p:spPr>
        </p:pic>
        <p:pic>
          <p:nvPicPr>
            <p:cNvPr id="102" name="object 102"/>
            <p:cNvPicPr/>
            <p:nvPr/>
          </p:nvPicPr>
          <p:blipFill>
            <a:blip r:embed="rId80" cstate="screen">
              <a:extLst>
                <a:ext uri="{28A0092B-C50C-407E-A947-70E740481C1C}">
                  <a14:useLocalDpi xmlns:a14="http://schemas.microsoft.com/office/drawing/2010/main"/>
                </a:ext>
              </a:extLst>
            </a:blip>
            <a:stretch>
              <a:fillRect/>
            </a:stretch>
          </p:blipFill>
          <p:spPr>
            <a:xfrm>
              <a:off x="6760464" y="3810634"/>
              <a:ext cx="858647" cy="195071"/>
            </a:xfrm>
            <a:prstGeom prst="rect">
              <a:avLst/>
            </a:prstGeom>
          </p:spPr>
        </p:pic>
        <p:pic>
          <p:nvPicPr>
            <p:cNvPr id="103" name="object 103"/>
            <p:cNvPicPr/>
            <p:nvPr/>
          </p:nvPicPr>
          <p:blipFill>
            <a:blip r:embed="rId81" cstate="screen">
              <a:extLst>
                <a:ext uri="{28A0092B-C50C-407E-A947-70E740481C1C}">
                  <a14:useLocalDpi xmlns:a14="http://schemas.microsoft.com/office/drawing/2010/main"/>
                </a:ext>
              </a:extLst>
            </a:blip>
            <a:stretch>
              <a:fillRect/>
            </a:stretch>
          </p:blipFill>
          <p:spPr>
            <a:xfrm>
              <a:off x="6726935" y="4069715"/>
              <a:ext cx="356234" cy="195072"/>
            </a:xfrm>
            <a:prstGeom prst="rect">
              <a:avLst/>
            </a:prstGeom>
          </p:spPr>
        </p:pic>
        <p:pic>
          <p:nvPicPr>
            <p:cNvPr id="104" name="object 104"/>
            <p:cNvPicPr/>
            <p:nvPr/>
          </p:nvPicPr>
          <p:blipFill>
            <a:blip r:embed="rId59" cstate="screen">
              <a:extLst>
                <a:ext uri="{28A0092B-C50C-407E-A947-70E740481C1C}">
                  <a14:useLocalDpi xmlns:a14="http://schemas.microsoft.com/office/drawing/2010/main"/>
                </a:ext>
              </a:extLst>
            </a:blip>
            <a:stretch>
              <a:fillRect/>
            </a:stretch>
          </p:blipFill>
          <p:spPr>
            <a:xfrm>
              <a:off x="7011923" y="4069715"/>
              <a:ext cx="97535" cy="195072"/>
            </a:xfrm>
            <a:prstGeom prst="rect">
              <a:avLst/>
            </a:prstGeom>
          </p:spPr>
        </p:pic>
        <p:pic>
          <p:nvPicPr>
            <p:cNvPr id="105" name="object 105"/>
            <p:cNvPicPr/>
            <p:nvPr/>
          </p:nvPicPr>
          <p:blipFill>
            <a:blip r:embed="rId82" cstate="screen">
              <a:extLst>
                <a:ext uri="{28A0092B-C50C-407E-A947-70E740481C1C}">
                  <a14:useLocalDpi xmlns:a14="http://schemas.microsoft.com/office/drawing/2010/main"/>
                </a:ext>
              </a:extLst>
            </a:blip>
            <a:stretch>
              <a:fillRect/>
            </a:stretch>
          </p:blipFill>
          <p:spPr>
            <a:xfrm>
              <a:off x="7060692" y="4069715"/>
              <a:ext cx="606551" cy="195072"/>
            </a:xfrm>
            <a:prstGeom prst="rect">
              <a:avLst/>
            </a:prstGeom>
          </p:spPr>
        </p:pic>
        <p:pic>
          <p:nvPicPr>
            <p:cNvPr id="106" name="object 106"/>
            <p:cNvPicPr/>
            <p:nvPr/>
          </p:nvPicPr>
          <p:blipFill>
            <a:blip r:embed="rId83" cstate="screen">
              <a:extLst>
                <a:ext uri="{28A0092B-C50C-407E-A947-70E740481C1C}">
                  <a14:useLocalDpi xmlns:a14="http://schemas.microsoft.com/office/drawing/2010/main"/>
                </a:ext>
              </a:extLst>
            </a:blip>
            <a:stretch>
              <a:fillRect/>
            </a:stretch>
          </p:blipFill>
          <p:spPr>
            <a:xfrm>
              <a:off x="6743700" y="4252595"/>
              <a:ext cx="916139" cy="195071"/>
            </a:xfrm>
            <a:prstGeom prst="rect">
              <a:avLst/>
            </a:prstGeom>
          </p:spPr>
        </p:pic>
        <p:pic>
          <p:nvPicPr>
            <p:cNvPr id="107" name="object 107"/>
            <p:cNvPicPr/>
            <p:nvPr/>
          </p:nvPicPr>
          <p:blipFill>
            <a:blip r:embed="rId84" cstate="screen">
              <a:extLst>
                <a:ext uri="{28A0092B-C50C-407E-A947-70E740481C1C}">
                  <a14:useLocalDpi xmlns:a14="http://schemas.microsoft.com/office/drawing/2010/main"/>
                </a:ext>
              </a:extLst>
            </a:blip>
            <a:stretch>
              <a:fillRect/>
            </a:stretch>
          </p:blipFill>
          <p:spPr>
            <a:xfrm>
              <a:off x="6740652" y="4435475"/>
              <a:ext cx="344804" cy="195072"/>
            </a:xfrm>
            <a:prstGeom prst="rect">
              <a:avLst/>
            </a:prstGeom>
          </p:spPr>
        </p:pic>
        <p:pic>
          <p:nvPicPr>
            <p:cNvPr id="108" name="object 108"/>
            <p:cNvPicPr/>
            <p:nvPr/>
          </p:nvPicPr>
          <p:blipFill>
            <a:blip r:embed="rId59" cstate="screen">
              <a:extLst>
                <a:ext uri="{28A0092B-C50C-407E-A947-70E740481C1C}">
                  <a14:useLocalDpi xmlns:a14="http://schemas.microsoft.com/office/drawing/2010/main"/>
                </a:ext>
              </a:extLst>
            </a:blip>
            <a:stretch>
              <a:fillRect/>
            </a:stretch>
          </p:blipFill>
          <p:spPr>
            <a:xfrm>
              <a:off x="7016495" y="4435475"/>
              <a:ext cx="97535" cy="195072"/>
            </a:xfrm>
            <a:prstGeom prst="rect">
              <a:avLst/>
            </a:prstGeom>
          </p:spPr>
        </p:pic>
        <p:pic>
          <p:nvPicPr>
            <p:cNvPr id="109" name="object 109"/>
            <p:cNvPicPr/>
            <p:nvPr/>
          </p:nvPicPr>
          <p:blipFill>
            <a:blip r:embed="rId85" cstate="screen">
              <a:extLst>
                <a:ext uri="{28A0092B-C50C-407E-A947-70E740481C1C}">
                  <a14:useLocalDpi xmlns:a14="http://schemas.microsoft.com/office/drawing/2010/main"/>
                </a:ext>
              </a:extLst>
            </a:blip>
            <a:stretch>
              <a:fillRect/>
            </a:stretch>
          </p:blipFill>
          <p:spPr>
            <a:xfrm>
              <a:off x="7065264" y="4435475"/>
              <a:ext cx="166877" cy="195072"/>
            </a:xfrm>
            <a:prstGeom prst="rect">
              <a:avLst/>
            </a:prstGeom>
          </p:spPr>
        </p:pic>
        <p:pic>
          <p:nvPicPr>
            <p:cNvPr id="110" name="object 110"/>
            <p:cNvPicPr/>
            <p:nvPr/>
          </p:nvPicPr>
          <p:blipFill>
            <a:blip r:embed="rId59" cstate="screen">
              <a:extLst>
                <a:ext uri="{28A0092B-C50C-407E-A947-70E740481C1C}">
                  <a14:useLocalDpi xmlns:a14="http://schemas.microsoft.com/office/drawing/2010/main"/>
                </a:ext>
              </a:extLst>
            </a:blip>
            <a:stretch>
              <a:fillRect/>
            </a:stretch>
          </p:blipFill>
          <p:spPr>
            <a:xfrm>
              <a:off x="7176516" y="4435475"/>
              <a:ext cx="97535" cy="195072"/>
            </a:xfrm>
            <a:prstGeom prst="rect">
              <a:avLst/>
            </a:prstGeom>
          </p:spPr>
        </p:pic>
        <p:pic>
          <p:nvPicPr>
            <p:cNvPr id="111" name="object 111"/>
            <p:cNvPicPr/>
            <p:nvPr/>
          </p:nvPicPr>
          <p:blipFill>
            <a:blip r:embed="rId86" cstate="screen">
              <a:extLst>
                <a:ext uri="{28A0092B-C50C-407E-A947-70E740481C1C}">
                  <a14:useLocalDpi xmlns:a14="http://schemas.microsoft.com/office/drawing/2010/main"/>
                </a:ext>
              </a:extLst>
            </a:blip>
            <a:stretch>
              <a:fillRect/>
            </a:stretch>
          </p:blipFill>
          <p:spPr>
            <a:xfrm>
              <a:off x="7225283" y="4435475"/>
              <a:ext cx="425297" cy="195072"/>
            </a:xfrm>
            <a:prstGeom prst="rect">
              <a:avLst/>
            </a:prstGeom>
          </p:spPr>
        </p:pic>
        <p:pic>
          <p:nvPicPr>
            <p:cNvPr id="112" name="object 112"/>
            <p:cNvPicPr/>
            <p:nvPr/>
          </p:nvPicPr>
          <p:blipFill>
            <a:blip r:embed="rId87" cstate="screen">
              <a:extLst>
                <a:ext uri="{28A0092B-C50C-407E-A947-70E740481C1C}">
                  <a14:useLocalDpi xmlns:a14="http://schemas.microsoft.com/office/drawing/2010/main"/>
                </a:ext>
              </a:extLst>
            </a:blip>
            <a:stretch>
              <a:fillRect/>
            </a:stretch>
          </p:blipFill>
          <p:spPr>
            <a:xfrm>
              <a:off x="6783323" y="4618354"/>
              <a:ext cx="801674" cy="195072"/>
            </a:xfrm>
            <a:prstGeom prst="rect">
              <a:avLst/>
            </a:prstGeom>
          </p:spPr>
        </p:pic>
        <p:pic>
          <p:nvPicPr>
            <p:cNvPr id="113" name="object 113"/>
            <p:cNvPicPr/>
            <p:nvPr/>
          </p:nvPicPr>
          <p:blipFill>
            <a:blip r:embed="rId88" cstate="screen">
              <a:extLst>
                <a:ext uri="{28A0092B-C50C-407E-A947-70E740481C1C}">
                  <a14:useLocalDpi xmlns:a14="http://schemas.microsoft.com/office/drawing/2010/main"/>
                </a:ext>
              </a:extLst>
            </a:blip>
            <a:stretch>
              <a:fillRect/>
            </a:stretch>
          </p:blipFill>
          <p:spPr>
            <a:xfrm>
              <a:off x="6734556" y="3543300"/>
              <a:ext cx="856488" cy="158495"/>
            </a:xfrm>
            <a:prstGeom prst="rect">
              <a:avLst/>
            </a:prstGeom>
          </p:spPr>
        </p:pic>
        <p:pic>
          <p:nvPicPr>
            <p:cNvPr id="114" name="object 114"/>
            <p:cNvPicPr/>
            <p:nvPr/>
          </p:nvPicPr>
          <p:blipFill>
            <a:blip r:embed="rId26" cstate="screen">
              <a:extLst>
                <a:ext uri="{28A0092B-C50C-407E-A947-70E740481C1C}">
                  <a14:useLocalDpi xmlns:a14="http://schemas.microsoft.com/office/drawing/2010/main"/>
                </a:ext>
              </a:extLst>
            </a:blip>
            <a:stretch>
              <a:fillRect/>
            </a:stretch>
          </p:blipFill>
          <p:spPr>
            <a:xfrm>
              <a:off x="8042147" y="4240403"/>
              <a:ext cx="777240" cy="195072"/>
            </a:xfrm>
            <a:prstGeom prst="rect">
              <a:avLst/>
            </a:prstGeom>
          </p:spPr>
        </p:pic>
        <p:pic>
          <p:nvPicPr>
            <p:cNvPr id="115" name="object 115"/>
            <p:cNvPicPr/>
            <p:nvPr/>
          </p:nvPicPr>
          <p:blipFill>
            <a:blip r:embed="rId81" cstate="screen">
              <a:extLst>
                <a:ext uri="{28A0092B-C50C-407E-A947-70E740481C1C}">
                  <a14:useLocalDpi xmlns:a14="http://schemas.microsoft.com/office/drawing/2010/main"/>
                </a:ext>
              </a:extLst>
            </a:blip>
            <a:stretch>
              <a:fillRect/>
            </a:stretch>
          </p:blipFill>
          <p:spPr>
            <a:xfrm>
              <a:off x="7968995" y="4499483"/>
              <a:ext cx="356234" cy="195071"/>
            </a:xfrm>
            <a:prstGeom prst="rect">
              <a:avLst/>
            </a:prstGeom>
          </p:spPr>
        </p:pic>
        <p:pic>
          <p:nvPicPr>
            <p:cNvPr id="116" name="object 116"/>
            <p:cNvPicPr/>
            <p:nvPr/>
          </p:nvPicPr>
          <p:blipFill>
            <a:blip r:embed="rId59" cstate="screen">
              <a:extLst>
                <a:ext uri="{28A0092B-C50C-407E-A947-70E740481C1C}">
                  <a14:useLocalDpi xmlns:a14="http://schemas.microsoft.com/office/drawing/2010/main"/>
                </a:ext>
              </a:extLst>
            </a:blip>
            <a:stretch>
              <a:fillRect/>
            </a:stretch>
          </p:blipFill>
          <p:spPr>
            <a:xfrm>
              <a:off x="8253983" y="4499483"/>
              <a:ext cx="97535" cy="195071"/>
            </a:xfrm>
            <a:prstGeom prst="rect">
              <a:avLst/>
            </a:prstGeom>
          </p:spPr>
        </p:pic>
        <p:pic>
          <p:nvPicPr>
            <p:cNvPr id="117" name="object 117"/>
            <p:cNvPicPr/>
            <p:nvPr/>
          </p:nvPicPr>
          <p:blipFill>
            <a:blip r:embed="rId89" cstate="screen">
              <a:extLst>
                <a:ext uri="{28A0092B-C50C-407E-A947-70E740481C1C}">
                  <a14:useLocalDpi xmlns:a14="http://schemas.microsoft.com/office/drawing/2010/main"/>
                </a:ext>
              </a:extLst>
            </a:blip>
            <a:stretch>
              <a:fillRect/>
            </a:stretch>
          </p:blipFill>
          <p:spPr>
            <a:xfrm>
              <a:off x="8302752" y="4499483"/>
              <a:ext cx="606209" cy="195071"/>
            </a:xfrm>
            <a:prstGeom prst="rect">
              <a:avLst/>
            </a:prstGeom>
          </p:spPr>
        </p:pic>
        <p:pic>
          <p:nvPicPr>
            <p:cNvPr id="118" name="object 118"/>
            <p:cNvPicPr/>
            <p:nvPr/>
          </p:nvPicPr>
          <p:blipFill>
            <a:blip r:embed="rId90" cstate="screen">
              <a:extLst>
                <a:ext uri="{28A0092B-C50C-407E-A947-70E740481C1C}">
                  <a14:useLocalDpi xmlns:a14="http://schemas.microsoft.com/office/drawing/2010/main"/>
                </a:ext>
              </a:extLst>
            </a:blip>
            <a:stretch>
              <a:fillRect/>
            </a:stretch>
          </p:blipFill>
          <p:spPr>
            <a:xfrm>
              <a:off x="7985759" y="4682363"/>
              <a:ext cx="915809" cy="195072"/>
            </a:xfrm>
            <a:prstGeom prst="rect">
              <a:avLst/>
            </a:prstGeom>
          </p:spPr>
        </p:pic>
        <p:pic>
          <p:nvPicPr>
            <p:cNvPr id="119" name="object 119"/>
            <p:cNvPicPr/>
            <p:nvPr/>
          </p:nvPicPr>
          <p:blipFill>
            <a:blip r:embed="rId91" cstate="screen">
              <a:extLst>
                <a:ext uri="{28A0092B-C50C-407E-A947-70E740481C1C}">
                  <a14:useLocalDpi xmlns:a14="http://schemas.microsoft.com/office/drawing/2010/main"/>
                </a:ext>
              </a:extLst>
            </a:blip>
            <a:stretch>
              <a:fillRect/>
            </a:stretch>
          </p:blipFill>
          <p:spPr>
            <a:xfrm>
              <a:off x="7915656" y="4865242"/>
              <a:ext cx="1042416" cy="195072"/>
            </a:xfrm>
            <a:prstGeom prst="rect">
              <a:avLst/>
            </a:prstGeom>
          </p:spPr>
        </p:pic>
        <p:pic>
          <p:nvPicPr>
            <p:cNvPr id="120" name="object 120"/>
            <p:cNvPicPr/>
            <p:nvPr/>
          </p:nvPicPr>
          <p:blipFill>
            <a:blip r:embed="rId92" cstate="screen">
              <a:extLst>
                <a:ext uri="{28A0092B-C50C-407E-A947-70E740481C1C}">
                  <a14:useLocalDpi xmlns:a14="http://schemas.microsoft.com/office/drawing/2010/main"/>
                </a:ext>
              </a:extLst>
            </a:blip>
            <a:stretch>
              <a:fillRect/>
            </a:stretch>
          </p:blipFill>
          <p:spPr>
            <a:xfrm>
              <a:off x="7897368" y="5048122"/>
              <a:ext cx="1050899" cy="195071"/>
            </a:xfrm>
            <a:prstGeom prst="rect">
              <a:avLst/>
            </a:prstGeom>
          </p:spPr>
        </p:pic>
        <p:pic>
          <p:nvPicPr>
            <p:cNvPr id="121" name="object 121"/>
            <p:cNvPicPr/>
            <p:nvPr/>
          </p:nvPicPr>
          <p:blipFill>
            <a:blip r:embed="rId93" cstate="screen">
              <a:extLst>
                <a:ext uri="{28A0092B-C50C-407E-A947-70E740481C1C}">
                  <a14:useLocalDpi xmlns:a14="http://schemas.microsoft.com/office/drawing/2010/main"/>
                </a:ext>
              </a:extLst>
            </a:blip>
            <a:stretch>
              <a:fillRect/>
            </a:stretch>
          </p:blipFill>
          <p:spPr>
            <a:xfrm>
              <a:off x="8028431" y="3880103"/>
              <a:ext cx="745235" cy="358139"/>
            </a:xfrm>
            <a:prstGeom prst="rect">
              <a:avLst/>
            </a:prstGeom>
          </p:spPr>
        </p:pic>
        <p:pic>
          <p:nvPicPr>
            <p:cNvPr id="122" name="object 122"/>
            <p:cNvPicPr/>
            <p:nvPr/>
          </p:nvPicPr>
          <p:blipFill>
            <a:blip r:embed="rId94" cstate="screen">
              <a:extLst>
                <a:ext uri="{28A0092B-C50C-407E-A947-70E740481C1C}">
                  <a14:useLocalDpi xmlns:a14="http://schemas.microsoft.com/office/drawing/2010/main"/>
                </a:ext>
              </a:extLst>
            </a:blip>
            <a:stretch>
              <a:fillRect/>
            </a:stretch>
          </p:blipFill>
          <p:spPr>
            <a:xfrm>
              <a:off x="7947025" y="1845005"/>
              <a:ext cx="865352" cy="195376"/>
            </a:xfrm>
            <a:prstGeom prst="rect">
              <a:avLst/>
            </a:prstGeom>
          </p:spPr>
        </p:pic>
        <p:pic>
          <p:nvPicPr>
            <p:cNvPr id="123" name="object 123"/>
            <p:cNvPicPr/>
            <p:nvPr/>
          </p:nvPicPr>
          <p:blipFill>
            <a:blip r:embed="rId95" cstate="screen">
              <a:extLst>
                <a:ext uri="{28A0092B-C50C-407E-A947-70E740481C1C}">
                  <a14:useLocalDpi xmlns:a14="http://schemas.microsoft.com/office/drawing/2010/main"/>
                </a:ext>
              </a:extLst>
            </a:blip>
            <a:stretch>
              <a:fillRect/>
            </a:stretch>
          </p:blipFill>
          <p:spPr>
            <a:xfrm>
              <a:off x="7896732" y="2104644"/>
              <a:ext cx="886218" cy="195072"/>
            </a:xfrm>
            <a:prstGeom prst="rect">
              <a:avLst/>
            </a:prstGeom>
          </p:spPr>
        </p:pic>
        <p:pic>
          <p:nvPicPr>
            <p:cNvPr id="124" name="object 124"/>
            <p:cNvPicPr/>
            <p:nvPr/>
          </p:nvPicPr>
          <p:blipFill>
            <a:blip r:embed="rId59" cstate="screen">
              <a:extLst>
                <a:ext uri="{28A0092B-C50C-407E-A947-70E740481C1C}">
                  <a14:useLocalDpi xmlns:a14="http://schemas.microsoft.com/office/drawing/2010/main"/>
                </a:ext>
              </a:extLst>
            </a:blip>
            <a:stretch>
              <a:fillRect/>
            </a:stretch>
          </p:blipFill>
          <p:spPr>
            <a:xfrm>
              <a:off x="8733790" y="2104644"/>
              <a:ext cx="97535" cy="195072"/>
            </a:xfrm>
            <a:prstGeom prst="rect">
              <a:avLst/>
            </a:prstGeom>
          </p:spPr>
        </p:pic>
        <p:pic>
          <p:nvPicPr>
            <p:cNvPr id="125" name="object 125"/>
            <p:cNvPicPr/>
            <p:nvPr/>
          </p:nvPicPr>
          <p:blipFill>
            <a:blip r:embed="rId96" cstate="screen">
              <a:extLst>
                <a:ext uri="{28A0092B-C50C-407E-A947-70E740481C1C}">
                  <a14:useLocalDpi xmlns:a14="http://schemas.microsoft.com/office/drawing/2010/main"/>
                </a:ext>
              </a:extLst>
            </a:blip>
            <a:stretch>
              <a:fillRect/>
            </a:stretch>
          </p:blipFill>
          <p:spPr>
            <a:xfrm>
              <a:off x="8007984" y="2287523"/>
              <a:ext cx="715899" cy="195072"/>
            </a:xfrm>
            <a:prstGeom prst="rect">
              <a:avLst/>
            </a:prstGeom>
          </p:spPr>
        </p:pic>
        <p:pic>
          <p:nvPicPr>
            <p:cNvPr id="126" name="object 126"/>
            <p:cNvPicPr/>
            <p:nvPr/>
          </p:nvPicPr>
          <p:blipFill>
            <a:blip r:embed="rId97" cstate="screen">
              <a:extLst>
                <a:ext uri="{28A0092B-C50C-407E-A947-70E740481C1C}">
                  <a14:useLocalDpi xmlns:a14="http://schemas.microsoft.com/office/drawing/2010/main"/>
                </a:ext>
              </a:extLst>
            </a:blip>
            <a:stretch>
              <a:fillRect/>
            </a:stretch>
          </p:blipFill>
          <p:spPr>
            <a:xfrm>
              <a:off x="7985759" y="1597152"/>
              <a:ext cx="726948" cy="198120"/>
            </a:xfrm>
            <a:prstGeom prst="rect">
              <a:avLst/>
            </a:prstGeom>
          </p:spPr>
        </p:pic>
        <p:pic>
          <p:nvPicPr>
            <p:cNvPr id="127" name="object 127"/>
            <p:cNvPicPr/>
            <p:nvPr/>
          </p:nvPicPr>
          <p:blipFill>
            <a:blip r:embed="rId44" cstate="screen">
              <a:extLst>
                <a:ext uri="{28A0092B-C50C-407E-A947-70E740481C1C}">
                  <a14:useLocalDpi xmlns:a14="http://schemas.microsoft.com/office/drawing/2010/main"/>
                </a:ext>
              </a:extLst>
            </a:blip>
            <a:stretch>
              <a:fillRect/>
            </a:stretch>
          </p:blipFill>
          <p:spPr>
            <a:xfrm>
              <a:off x="6597395" y="2472817"/>
              <a:ext cx="962863" cy="195072"/>
            </a:xfrm>
            <a:prstGeom prst="rect">
              <a:avLst/>
            </a:prstGeom>
          </p:spPr>
        </p:pic>
        <p:pic>
          <p:nvPicPr>
            <p:cNvPr id="128" name="object 128"/>
            <p:cNvPicPr/>
            <p:nvPr/>
          </p:nvPicPr>
          <p:blipFill>
            <a:blip r:embed="rId98" cstate="screen">
              <a:extLst>
                <a:ext uri="{28A0092B-C50C-407E-A947-70E740481C1C}">
                  <a14:useLocalDpi xmlns:a14="http://schemas.microsoft.com/office/drawing/2010/main"/>
                </a:ext>
              </a:extLst>
            </a:blip>
            <a:stretch>
              <a:fillRect/>
            </a:stretch>
          </p:blipFill>
          <p:spPr>
            <a:xfrm>
              <a:off x="6694931" y="2731897"/>
              <a:ext cx="780503" cy="195072"/>
            </a:xfrm>
            <a:prstGeom prst="rect">
              <a:avLst/>
            </a:prstGeom>
          </p:spPr>
        </p:pic>
        <p:pic>
          <p:nvPicPr>
            <p:cNvPr id="129" name="object 129"/>
            <p:cNvPicPr/>
            <p:nvPr/>
          </p:nvPicPr>
          <p:blipFill>
            <a:blip r:embed="rId99" cstate="screen">
              <a:extLst>
                <a:ext uri="{28A0092B-C50C-407E-A947-70E740481C1C}">
                  <a14:useLocalDpi xmlns:a14="http://schemas.microsoft.com/office/drawing/2010/main"/>
                </a:ext>
              </a:extLst>
            </a:blip>
            <a:stretch>
              <a:fillRect/>
            </a:stretch>
          </p:blipFill>
          <p:spPr>
            <a:xfrm>
              <a:off x="6537959" y="2914776"/>
              <a:ext cx="1095997" cy="195072"/>
            </a:xfrm>
            <a:prstGeom prst="rect">
              <a:avLst/>
            </a:prstGeom>
          </p:spPr>
        </p:pic>
        <p:pic>
          <p:nvPicPr>
            <p:cNvPr id="130" name="object 130"/>
            <p:cNvPicPr/>
            <p:nvPr/>
          </p:nvPicPr>
          <p:blipFill>
            <a:blip r:embed="rId100" cstate="screen">
              <a:extLst>
                <a:ext uri="{28A0092B-C50C-407E-A947-70E740481C1C}">
                  <a14:useLocalDpi xmlns:a14="http://schemas.microsoft.com/office/drawing/2010/main"/>
                </a:ext>
              </a:extLst>
            </a:blip>
            <a:stretch>
              <a:fillRect/>
            </a:stretch>
          </p:blipFill>
          <p:spPr>
            <a:xfrm>
              <a:off x="6768083" y="3097657"/>
              <a:ext cx="609600" cy="195072"/>
            </a:xfrm>
            <a:prstGeom prst="rect">
              <a:avLst/>
            </a:prstGeom>
          </p:spPr>
        </p:pic>
        <p:pic>
          <p:nvPicPr>
            <p:cNvPr id="131" name="object 131"/>
            <p:cNvPicPr/>
            <p:nvPr/>
          </p:nvPicPr>
          <p:blipFill>
            <a:blip r:embed="rId101" cstate="screen">
              <a:extLst>
                <a:ext uri="{28A0092B-C50C-407E-A947-70E740481C1C}">
                  <a14:useLocalDpi xmlns:a14="http://schemas.microsoft.com/office/drawing/2010/main"/>
                </a:ext>
              </a:extLst>
            </a:blip>
            <a:stretch>
              <a:fillRect/>
            </a:stretch>
          </p:blipFill>
          <p:spPr>
            <a:xfrm>
              <a:off x="6539483" y="2107692"/>
              <a:ext cx="986027" cy="301751"/>
            </a:xfrm>
            <a:prstGeom prst="rect">
              <a:avLst/>
            </a:prstGeom>
          </p:spPr>
        </p:pic>
        <p:pic>
          <p:nvPicPr>
            <p:cNvPr id="132" name="object 132"/>
            <p:cNvPicPr/>
            <p:nvPr/>
          </p:nvPicPr>
          <p:blipFill>
            <a:blip r:embed="rId102" cstate="screen">
              <a:extLst>
                <a:ext uri="{28A0092B-C50C-407E-A947-70E740481C1C}">
                  <a14:useLocalDpi xmlns:a14="http://schemas.microsoft.com/office/drawing/2010/main"/>
                </a:ext>
              </a:extLst>
            </a:blip>
            <a:stretch>
              <a:fillRect/>
            </a:stretch>
          </p:blipFill>
          <p:spPr>
            <a:xfrm>
              <a:off x="9250044" y="2476195"/>
              <a:ext cx="762000" cy="195376"/>
            </a:xfrm>
            <a:prstGeom prst="rect">
              <a:avLst/>
            </a:prstGeom>
          </p:spPr>
        </p:pic>
        <p:pic>
          <p:nvPicPr>
            <p:cNvPr id="133" name="object 133"/>
            <p:cNvPicPr/>
            <p:nvPr/>
          </p:nvPicPr>
          <p:blipFill>
            <a:blip r:embed="rId103" cstate="screen">
              <a:extLst>
                <a:ext uri="{28A0092B-C50C-407E-A947-70E740481C1C}">
                  <a14:useLocalDpi xmlns:a14="http://schemas.microsoft.com/office/drawing/2010/main"/>
                </a:ext>
              </a:extLst>
            </a:blip>
            <a:stretch>
              <a:fillRect/>
            </a:stretch>
          </p:blipFill>
          <p:spPr>
            <a:xfrm>
              <a:off x="9189084" y="2735833"/>
              <a:ext cx="809878" cy="195072"/>
            </a:xfrm>
            <a:prstGeom prst="rect">
              <a:avLst/>
            </a:prstGeom>
          </p:spPr>
        </p:pic>
        <p:pic>
          <p:nvPicPr>
            <p:cNvPr id="134" name="object 134"/>
            <p:cNvPicPr/>
            <p:nvPr/>
          </p:nvPicPr>
          <p:blipFill>
            <a:blip r:embed="rId59" cstate="screen">
              <a:extLst>
                <a:ext uri="{28A0092B-C50C-407E-A947-70E740481C1C}">
                  <a14:useLocalDpi xmlns:a14="http://schemas.microsoft.com/office/drawing/2010/main"/>
                </a:ext>
              </a:extLst>
            </a:blip>
            <a:stretch>
              <a:fillRect/>
            </a:stretch>
          </p:blipFill>
          <p:spPr>
            <a:xfrm>
              <a:off x="9948418" y="2735833"/>
              <a:ext cx="97535" cy="195072"/>
            </a:xfrm>
            <a:prstGeom prst="rect">
              <a:avLst/>
            </a:prstGeom>
          </p:spPr>
        </p:pic>
        <p:pic>
          <p:nvPicPr>
            <p:cNvPr id="135" name="object 135"/>
            <p:cNvPicPr/>
            <p:nvPr/>
          </p:nvPicPr>
          <p:blipFill>
            <a:blip r:embed="rId104" cstate="screen">
              <a:extLst>
                <a:ext uri="{28A0092B-C50C-407E-A947-70E740481C1C}">
                  <a14:useLocalDpi xmlns:a14="http://schemas.microsoft.com/office/drawing/2010/main"/>
                </a:ext>
              </a:extLst>
            </a:blip>
            <a:stretch>
              <a:fillRect/>
            </a:stretch>
          </p:blipFill>
          <p:spPr>
            <a:xfrm>
              <a:off x="9108313" y="2918714"/>
              <a:ext cx="1034211" cy="195072"/>
            </a:xfrm>
            <a:prstGeom prst="rect">
              <a:avLst/>
            </a:prstGeom>
          </p:spPr>
        </p:pic>
        <p:pic>
          <p:nvPicPr>
            <p:cNvPr id="136" name="object 136"/>
            <p:cNvPicPr/>
            <p:nvPr/>
          </p:nvPicPr>
          <p:blipFill>
            <a:blip r:embed="rId105" cstate="screen">
              <a:extLst>
                <a:ext uri="{28A0092B-C50C-407E-A947-70E740481C1C}">
                  <a14:useLocalDpi xmlns:a14="http://schemas.microsoft.com/office/drawing/2010/main"/>
                </a:ext>
              </a:extLst>
            </a:blip>
            <a:stretch>
              <a:fillRect/>
            </a:stretch>
          </p:blipFill>
          <p:spPr>
            <a:xfrm>
              <a:off x="9104376" y="2162555"/>
              <a:ext cx="944879" cy="152400"/>
            </a:xfrm>
            <a:prstGeom prst="rect">
              <a:avLst/>
            </a:prstGeom>
          </p:spPr>
        </p:pic>
        <p:pic>
          <p:nvPicPr>
            <p:cNvPr id="137" name="object 137"/>
            <p:cNvPicPr/>
            <p:nvPr/>
          </p:nvPicPr>
          <p:blipFill>
            <a:blip r:embed="rId106" cstate="screen">
              <a:extLst>
                <a:ext uri="{28A0092B-C50C-407E-A947-70E740481C1C}">
                  <a14:useLocalDpi xmlns:a14="http://schemas.microsoft.com/office/drawing/2010/main"/>
                </a:ext>
              </a:extLst>
            </a:blip>
            <a:stretch>
              <a:fillRect/>
            </a:stretch>
          </p:blipFill>
          <p:spPr>
            <a:xfrm>
              <a:off x="9155556" y="3769740"/>
              <a:ext cx="863346" cy="195072"/>
            </a:xfrm>
            <a:prstGeom prst="rect">
              <a:avLst/>
            </a:prstGeom>
          </p:spPr>
        </p:pic>
        <p:pic>
          <p:nvPicPr>
            <p:cNvPr id="138" name="object 138"/>
            <p:cNvPicPr/>
            <p:nvPr/>
          </p:nvPicPr>
          <p:blipFill>
            <a:blip r:embed="rId103" cstate="screen">
              <a:extLst>
                <a:ext uri="{28A0092B-C50C-407E-A947-70E740481C1C}">
                  <a14:useLocalDpi xmlns:a14="http://schemas.microsoft.com/office/drawing/2010/main"/>
                </a:ext>
              </a:extLst>
            </a:blip>
            <a:stretch>
              <a:fillRect/>
            </a:stretch>
          </p:blipFill>
          <p:spPr>
            <a:xfrm>
              <a:off x="9144889" y="4028821"/>
              <a:ext cx="809548" cy="195071"/>
            </a:xfrm>
            <a:prstGeom prst="rect">
              <a:avLst/>
            </a:prstGeom>
          </p:spPr>
        </p:pic>
        <p:pic>
          <p:nvPicPr>
            <p:cNvPr id="139" name="object 139"/>
            <p:cNvPicPr/>
            <p:nvPr/>
          </p:nvPicPr>
          <p:blipFill>
            <a:blip r:embed="rId59" cstate="screen">
              <a:extLst>
                <a:ext uri="{28A0092B-C50C-407E-A947-70E740481C1C}">
                  <a14:useLocalDpi xmlns:a14="http://schemas.microsoft.com/office/drawing/2010/main"/>
                </a:ext>
              </a:extLst>
            </a:blip>
            <a:stretch>
              <a:fillRect/>
            </a:stretch>
          </p:blipFill>
          <p:spPr>
            <a:xfrm>
              <a:off x="9903841" y="4028821"/>
              <a:ext cx="97535" cy="195071"/>
            </a:xfrm>
            <a:prstGeom prst="rect">
              <a:avLst/>
            </a:prstGeom>
          </p:spPr>
        </p:pic>
        <p:pic>
          <p:nvPicPr>
            <p:cNvPr id="140" name="object 140"/>
            <p:cNvPicPr/>
            <p:nvPr/>
          </p:nvPicPr>
          <p:blipFill>
            <a:blip r:embed="rId104" cstate="screen">
              <a:extLst>
                <a:ext uri="{28A0092B-C50C-407E-A947-70E740481C1C}">
                  <a14:useLocalDpi xmlns:a14="http://schemas.microsoft.com/office/drawing/2010/main"/>
                </a:ext>
              </a:extLst>
            </a:blip>
            <a:stretch>
              <a:fillRect/>
            </a:stretch>
          </p:blipFill>
          <p:spPr>
            <a:xfrm>
              <a:off x="9064117" y="4211396"/>
              <a:ext cx="1033881" cy="195376"/>
            </a:xfrm>
            <a:prstGeom prst="rect">
              <a:avLst/>
            </a:prstGeom>
          </p:spPr>
        </p:pic>
        <p:sp>
          <p:nvSpPr>
            <p:cNvPr id="141" name="object 141"/>
            <p:cNvSpPr/>
            <p:nvPr/>
          </p:nvSpPr>
          <p:spPr>
            <a:xfrm>
              <a:off x="9005095" y="3436851"/>
              <a:ext cx="282575" cy="278130"/>
            </a:xfrm>
            <a:custGeom>
              <a:avLst/>
              <a:gdLst/>
              <a:ahLst/>
              <a:cxnLst/>
              <a:rect l="l" t="t" r="r" b="b"/>
              <a:pathLst>
                <a:path w="282575" h="278129">
                  <a:moveTo>
                    <a:pt x="141138" y="0"/>
                  </a:moveTo>
                  <a:lnTo>
                    <a:pt x="96527" y="7089"/>
                  </a:lnTo>
                  <a:lnTo>
                    <a:pt x="57783" y="26831"/>
                  </a:lnTo>
                  <a:lnTo>
                    <a:pt x="27231" y="56935"/>
                  </a:lnTo>
                  <a:lnTo>
                    <a:pt x="7195" y="95109"/>
                  </a:lnTo>
                  <a:lnTo>
                    <a:pt x="0" y="139065"/>
                  </a:lnTo>
                  <a:lnTo>
                    <a:pt x="7195" y="183020"/>
                  </a:lnTo>
                  <a:lnTo>
                    <a:pt x="27231" y="221195"/>
                  </a:lnTo>
                  <a:lnTo>
                    <a:pt x="57784" y="251299"/>
                  </a:lnTo>
                  <a:lnTo>
                    <a:pt x="96528" y="271041"/>
                  </a:lnTo>
                  <a:lnTo>
                    <a:pt x="141138" y="278131"/>
                  </a:lnTo>
                  <a:lnTo>
                    <a:pt x="185748" y="271041"/>
                  </a:lnTo>
                  <a:lnTo>
                    <a:pt x="224492" y="251299"/>
                  </a:lnTo>
                  <a:lnTo>
                    <a:pt x="255044" y="221195"/>
                  </a:lnTo>
                  <a:lnTo>
                    <a:pt x="275079" y="183020"/>
                  </a:lnTo>
                  <a:lnTo>
                    <a:pt x="282275" y="139065"/>
                  </a:lnTo>
                  <a:lnTo>
                    <a:pt x="275079" y="95109"/>
                  </a:lnTo>
                  <a:lnTo>
                    <a:pt x="255043" y="56935"/>
                  </a:lnTo>
                  <a:lnTo>
                    <a:pt x="224491" y="26831"/>
                  </a:lnTo>
                  <a:lnTo>
                    <a:pt x="185748" y="7089"/>
                  </a:lnTo>
                  <a:lnTo>
                    <a:pt x="141138" y="0"/>
                  </a:lnTo>
                  <a:close/>
                </a:path>
              </a:pathLst>
            </a:custGeom>
            <a:solidFill>
              <a:srgbClr val="00081B"/>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42" name="object 142"/>
            <p:cNvPicPr/>
            <p:nvPr/>
          </p:nvPicPr>
          <p:blipFill>
            <a:blip r:embed="rId107" cstate="screen">
              <a:extLst>
                <a:ext uri="{28A0092B-C50C-407E-A947-70E740481C1C}">
                  <a14:useLocalDpi xmlns:a14="http://schemas.microsoft.com/office/drawing/2010/main"/>
                </a:ext>
              </a:extLst>
            </a:blip>
            <a:stretch>
              <a:fillRect/>
            </a:stretch>
          </p:blipFill>
          <p:spPr>
            <a:xfrm>
              <a:off x="9053527" y="3475970"/>
              <a:ext cx="186321" cy="171170"/>
            </a:xfrm>
            <a:prstGeom prst="rect">
              <a:avLst/>
            </a:prstGeom>
          </p:spPr>
        </p:pic>
        <p:sp>
          <p:nvSpPr>
            <p:cNvPr id="143" name="object 143"/>
            <p:cNvSpPr/>
            <p:nvPr/>
          </p:nvSpPr>
          <p:spPr>
            <a:xfrm>
              <a:off x="9354997" y="3485654"/>
              <a:ext cx="628015" cy="133350"/>
            </a:xfrm>
            <a:custGeom>
              <a:avLst/>
              <a:gdLst/>
              <a:ahLst/>
              <a:cxnLst/>
              <a:rect l="l" t="t" r="r" b="b"/>
              <a:pathLst>
                <a:path w="628015" h="133350">
                  <a:moveTo>
                    <a:pt x="80657" y="80225"/>
                  </a:moveTo>
                  <a:lnTo>
                    <a:pt x="78549" y="66179"/>
                  </a:lnTo>
                  <a:lnTo>
                    <a:pt x="72440" y="55499"/>
                  </a:lnTo>
                  <a:lnTo>
                    <a:pt x="62623" y="48717"/>
                  </a:lnTo>
                  <a:lnTo>
                    <a:pt x="49403" y="46329"/>
                  </a:lnTo>
                  <a:lnTo>
                    <a:pt x="42329" y="46863"/>
                  </a:lnTo>
                  <a:lnTo>
                    <a:pt x="35610" y="48856"/>
                  </a:lnTo>
                  <a:lnTo>
                    <a:pt x="29476" y="52197"/>
                  </a:lnTo>
                  <a:lnTo>
                    <a:pt x="24130" y="56794"/>
                  </a:lnTo>
                  <a:lnTo>
                    <a:pt x="24130" y="47053"/>
                  </a:lnTo>
                  <a:lnTo>
                    <a:pt x="0" y="49936"/>
                  </a:lnTo>
                  <a:lnTo>
                    <a:pt x="0" y="130530"/>
                  </a:lnTo>
                  <a:lnTo>
                    <a:pt x="24866" y="130530"/>
                  </a:lnTo>
                  <a:lnTo>
                    <a:pt x="24866" y="73901"/>
                  </a:lnTo>
                  <a:lnTo>
                    <a:pt x="31445" y="67411"/>
                  </a:lnTo>
                  <a:lnTo>
                    <a:pt x="49568" y="67411"/>
                  </a:lnTo>
                  <a:lnTo>
                    <a:pt x="55626" y="73190"/>
                  </a:lnTo>
                  <a:lnTo>
                    <a:pt x="55626" y="130530"/>
                  </a:lnTo>
                  <a:lnTo>
                    <a:pt x="80657" y="130530"/>
                  </a:lnTo>
                  <a:lnTo>
                    <a:pt x="80657" y="80225"/>
                  </a:lnTo>
                  <a:close/>
                </a:path>
                <a:path w="628015" h="133350">
                  <a:moveTo>
                    <a:pt x="179311" y="85090"/>
                  </a:moveTo>
                  <a:lnTo>
                    <a:pt x="174917" y="68503"/>
                  </a:lnTo>
                  <a:lnTo>
                    <a:pt x="171780" y="64300"/>
                  </a:lnTo>
                  <a:lnTo>
                    <a:pt x="165785" y="56286"/>
                  </a:lnTo>
                  <a:lnTo>
                    <a:pt x="154965" y="49911"/>
                  </a:lnTo>
                  <a:lnTo>
                    <a:pt x="154965" y="73901"/>
                  </a:lnTo>
                  <a:lnTo>
                    <a:pt x="114541" y="86893"/>
                  </a:lnTo>
                  <a:lnTo>
                    <a:pt x="116916" y="77927"/>
                  </a:lnTo>
                  <a:lnTo>
                    <a:pt x="121894" y="70853"/>
                  </a:lnTo>
                  <a:lnTo>
                    <a:pt x="128993" y="66205"/>
                  </a:lnTo>
                  <a:lnTo>
                    <a:pt x="137782" y="64528"/>
                  </a:lnTo>
                  <a:lnTo>
                    <a:pt x="144830" y="64300"/>
                  </a:lnTo>
                  <a:lnTo>
                    <a:pt x="151409" y="67906"/>
                  </a:lnTo>
                  <a:lnTo>
                    <a:pt x="154965" y="73901"/>
                  </a:lnTo>
                  <a:lnTo>
                    <a:pt x="154965" y="49911"/>
                  </a:lnTo>
                  <a:lnTo>
                    <a:pt x="152984" y="48729"/>
                  </a:lnTo>
                  <a:lnTo>
                    <a:pt x="137579" y="46151"/>
                  </a:lnTo>
                  <a:lnTo>
                    <a:pt x="136080" y="46139"/>
                  </a:lnTo>
                  <a:lnTo>
                    <a:pt x="119100" y="49669"/>
                  </a:lnTo>
                  <a:lnTo>
                    <a:pt x="105283" y="59029"/>
                  </a:lnTo>
                  <a:lnTo>
                    <a:pt x="96037" y="72796"/>
                  </a:lnTo>
                  <a:lnTo>
                    <a:pt x="92760" y="89598"/>
                  </a:lnTo>
                  <a:lnTo>
                    <a:pt x="96240" y="106629"/>
                  </a:lnTo>
                  <a:lnTo>
                    <a:pt x="105867" y="120357"/>
                  </a:lnTo>
                  <a:lnTo>
                    <a:pt x="120472" y="129527"/>
                  </a:lnTo>
                  <a:lnTo>
                    <a:pt x="138874" y="132867"/>
                  </a:lnTo>
                  <a:lnTo>
                    <a:pt x="149085" y="131902"/>
                  </a:lnTo>
                  <a:lnTo>
                    <a:pt x="158902" y="129235"/>
                  </a:lnTo>
                  <a:lnTo>
                    <a:pt x="168135" y="124968"/>
                  </a:lnTo>
                  <a:lnTo>
                    <a:pt x="176542" y="119164"/>
                  </a:lnTo>
                  <a:lnTo>
                    <a:pt x="174764" y="114655"/>
                  </a:lnTo>
                  <a:lnTo>
                    <a:pt x="169392" y="101142"/>
                  </a:lnTo>
                  <a:lnTo>
                    <a:pt x="161518" y="107149"/>
                  </a:lnTo>
                  <a:lnTo>
                    <a:pt x="153809" y="111239"/>
                  </a:lnTo>
                  <a:lnTo>
                    <a:pt x="146304" y="113563"/>
                  </a:lnTo>
                  <a:lnTo>
                    <a:pt x="139039" y="114300"/>
                  </a:lnTo>
                  <a:lnTo>
                    <a:pt x="130924" y="114655"/>
                  </a:lnTo>
                  <a:lnTo>
                    <a:pt x="123215" y="110921"/>
                  </a:lnTo>
                  <a:lnTo>
                    <a:pt x="118567" y="104381"/>
                  </a:lnTo>
                  <a:lnTo>
                    <a:pt x="173609" y="86893"/>
                  </a:lnTo>
                  <a:lnTo>
                    <a:pt x="179311" y="85090"/>
                  </a:lnTo>
                  <a:close/>
                </a:path>
                <a:path w="628015" h="133350">
                  <a:moveTo>
                    <a:pt x="270967" y="130530"/>
                  </a:moveTo>
                  <a:lnTo>
                    <a:pt x="241147" y="88163"/>
                  </a:lnTo>
                  <a:lnTo>
                    <a:pt x="268947" y="48501"/>
                  </a:lnTo>
                  <a:lnTo>
                    <a:pt x="242049" y="48501"/>
                  </a:lnTo>
                  <a:lnTo>
                    <a:pt x="226682" y="72301"/>
                  </a:lnTo>
                  <a:lnTo>
                    <a:pt x="211124" y="48501"/>
                  </a:lnTo>
                  <a:lnTo>
                    <a:pt x="184226" y="48501"/>
                  </a:lnTo>
                  <a:lnTo>
                    <a:pt x="212051" y="88163"/>
                  </a:lnTo>
                  <a:lnTo>
                    <a:pt x="182232" y="130530"/>
                  </a:lnTo>
                  <a:lnTo>
                    <a:pt x="209664" y="130530"/>
                  </a:lnTo>
                  <a:lnTo>
                    <a:pt x="226682" y="104203"/>
                  </a:lnTo>
                  <a:lnTo>
                    <a:pt x="243713" y="130530"/>
                  </a:lnTo>
                  <a:lnTo>
                    <a:pt x="270967" y="130530"/>
                  </a:lnTo>
                  <a:close/>
                </a:path>
                <a:path w="628015" h="133350">
                  <a:moveTo>
                    <a:pt x="324573" y="355"/>
                  </a:moveTo>
                  <a:lnTo>
                    <a:pt x="321640" y="355"/>
                  </a:lnTo>
                  <a:lnTo>
                    <a:pt x="304711" y="2755"/>
                  </a:lnTo>
                  <a:lnTo>
                    <a:pt x="292252" y="9804"/>
                  </a:lnTo>
                  <a:lnTo>
                    <a:pt x="284568" y="21272"/>
                  </a:lnTo>
                  <a:lnTo>
                    <a:pt x="281940" y="36957"/>
                  </a:lnTo>
                  <a:lnTo>
                    <a:pt x="281940" y="130543"/>
                  </a:lnTo>
                  <a:lnTo>
                    <a:pt x="306844" y="130543"/>
                  </a:lnTo>
                  <a:lnTo>
                    <a:pt x="306844" y="68326"/>
                  </a:lnTo>
                  <a:lnTo>
                    <a:pt x="324040" y="68326"/>
                  </a:lnTo>
                  <a:lnTo>
                    <a:pt x="324040" y="48488"/>
                  </a:lnTo>
                  <a:lnTo>
                    <a:pt x="306844" y="48488"/>
                  </a:lnTo>
                  <a:lnTo>
                    <a:pt x="306844" y="27406"/>
                  </a:lnTo>
                  <a:lnTo>
                    <a:pt x="312331" y="21818"/>
                  </a:lnTo>
                  <a:lnTo>
                    <a:pt x="324573" y="21818"/>
                  </a:lnTo>
                  <a:lnTo>
                    <a:pt x="324573" y="355"/>
                  </a:lnTo>
                  <a:close/>
                </a:path>
                <a:path w="628015" h="133350">
                  <a:moveTo>
                    <a:pt x="364096" y="46875"/>
                  </a:moveTo>
                  <a:lnTo>
                    <a:pt x="339026" y="49936"/>
                  </a:lnTo>
                  <a:lnTo>
                    <a:pt x="339026" y="130530"/>
                  </a:lnTo>
                  <a:lnTo>
                    <a:pt x="364096" y="130530"/>
                  </a:lnTo>
                  <a:lnTo>
                    <a:pt x="364096" y="46875"/>
                  </a:lnTo>
                  <a:close/>
                </a:path>
                <a:path w="628015" h="133350">
                  <a:moveTo>
                    <a:pt x="367398" y="26860"/>
                  </a:moveTo>
                  <a:lnTo>
                    <a:pt x="366661" y="10236"/>
                  </a:lnTo>
                  <a:lnTo>
                    <a:pt x="359549" y="3784"/>
                  </a:lnTo>
                  <a:lnTo>
                    <a:pt x="342658" y="4495"/>
                  </a:lnTo>
                  <a:lnTo>
                    <a:pt x="336105" y="11518"/>
                  </a:lnTo>
                  <a:lnTo>
                    <a:pt x="336473" y="19837"/>
                  </a:lnTo>
                  <a:lnTo>
                    <a:pt x="336638" y="27940"/>
                  </a:lnTo>
                  <a:lnTo>
                    <a:pt x="343420" y="34391"/>
                  </a:lnTo>
                  <a:lnTo>
                    <a:pt x="351904" y="34251"/>
                  </a:lnTo>
                  <a:lnTo>
                    <a:pt x="360845" y="33896"/>
                  </a:lnTo>
                  <a:lnTo>
                    <a:pt x="367398" y="26860"/>
                  </a:lnTo>
                  <a:close/>
                </a:path>
                <a:path w="628015" h="133350">
                  <a:moveTo>
                    <a:pt x="473354" y="88239"/>
                  </a:moveTo>
                  <a:lnTo>
                    <a:pt x="449745" y="51054"/>
                  </a:lnTo>
                  <a:lnTo>
                    <a:pt x="449745" y="90449"/>
                  </a:lnTo>
                  <a:lnTo>
                    <a:pt x="447852" y="98882"/>
                  </a:lnTo>
                  <a:lnTo>
                    <a:pt x="442988" y="105702"/>
                  </a:lnTo>
                  <a:lnTo>
                    <a:pt x="435876" y="110236"/>
                  </a:lnTo>
                  <a:lnTo>
                    <a:pt x="427240" y="111772"/>
                  </a:lnTo>
                  <a:lnTo>
                    <a:pt x="426275" y="111772"/>
                  </a:lnTo>
                  <a:lnTo>
                    <a:pt x="417830" y="109829"/>
                  </a:lnTo>
                  <a:lnTo>
                    <a:pt x="411022" y="105003"/>
                  </a:lnTo>
                  <a:lnTo>
                    <a:pt x="406552" y="98031"/>
                  </a:lnTo>
                  <a:lnTo>
                    <a:pt x="405091" y="89598"/>
                  </a:lnTo>
                  <a:lnTo>
                    <a:pt x="405168" y="88239"/>
                  </a:lnTo>
                  <a:lnTo>
                    <a:pt x="406996" y="80149"/>
                  </a:lnTo>
                  <a:lnTo>
                    <a:pt x="411861" y="73317"/>
                  </a:lnTo>
                  <a:lnTo>
                    <a:pt x="418973" y="68795"/>
                  </a:lnTo>
                  <a:lnTo>
                    <a:pt x="427609" y="67246"/>
                  </a:lnTo>
                  <a:lnTo>
                    <a:pt x="428574" y="67259"/>
                  </a:lnTo>
                  <a:lnTo>
                    <a:pt x="449745" y="90449"/>
                  </a:lnTo>
                  <a:lnTo>
                    <a:pt x="449745" y="51054"/>
                  </a:lnTo>
                  <a:lnTo>
                    <a:pt x="447725" y="49695"/>
                  </a:lnTo>
                  <a:lnTo>
                    <a:pt x="431266" y="46329"/>
                  </a:lnTo>
                  <a:lnTo>
                    <a:pt x="424421" y="46837"/>
                  </a:lnTo>
                  <a:lnTo>
                    <a:pt x="417880" y="48615"/>
                  </a:lnTo>
                  <a:lnTo>
                    <a:pt x="411797" y="51600"/>
                  </a:lnTo>
                  <a:lnTo>
                    <a:pt x="406361" y="55702"/>
                  </a:lnTo>
                  <a:lnTo>
                    <a:pt x="406361" y="0"/>
                  </a:lnTo>
                  <a:lnTo>
                    <a:pt x="381292" y="3060"/>
                  </a:lnTo>
                  <a:lnTo>
                    <a:pt x="381393" y="89242"/>
                  </a:lnTo>
                  <a:lnTo>
                    <a:pt x="384733" y="106629"/>
                  </a:lnTo>
                  <a:lnTo>
                    <a:pt x="394296" y="120586"/>
                  </a:lnTo>
                  <a:lnTo>
                    <a:pt x="408787" y="129641"/>
                  </a:lnTo>
                  <a:lnTo>
                    <a:pt x="427037" y="132867"/>
                  </a:lnTo>
                  <a:lnTo>
                    <a:pt x="445554" y="129578"/>
                  </a:lnTo>
                  <a:lnTo>
                    <a:pt x="460209" y="120446"/>
                  </a:lnTo>
                  <a:lnTo>
                    <a:pt x="466255" y="111772"/>
                  </a:lnTo>
                  <a:lnTo>
                    <a:pt x="469849" y="106629"/>
                  </a:lnTo>
                  <a:lnTo>
                    <a:pt x="473252" y="89598"/>
                  </a:lnTo>
                  <a:lnTo>
                    <a:pt x="473354" y="88239"/>
                  </a:lnTo>
                  <a:close/>
                </a:path>
                <a:path w="628015" h="133350">
                  <a:moveTo>
                    <a:pt x="537032" y="46875"/>
                  </a:moveTo>
                  <a:lnTo>
                    <a:pt x="527977" y="47752"/>
                  </a:lnTo>
                  <a:lnTo>
                    <a:pt x="520573" y="50368"/>
                  </a:lnTo>
                  <a:lnTo>
                    <a:pt x="514705" y="54698"/>
                  </a:lnTo>
                  <a:lnTo>
                    <a:pt x="510298" y="60756"/>
                  </a:lnTo>
                  <a:lnTo>
                    <a:pt x="510298" y="47053"/>
                  </a:lnTo>
                  <a:lnTo>
                    <a:pt x="486892" y="49936"/>
                  </a:lnTo>
                  <a:lnTo>
                    <a:pt x="486892" y="130530"/>
                  </a:lnTo>
                  <a:lnTo>
                    <a:pt x="511759" y="130530"/>
                  </a:lnTo>
                  <a:lnTo>
                    <a:pt x="511759" y="92849"/>
                  </a:lnTo>
                  <a:lnTo>
                    <a:pt x="513410" y="82105"/>
                  </a:lnTo>
                  <a:lnTo>
                    <a:pt x="518287" y="74637"/>
                  </a:lnTo>
                  <a:lnTo>
                    <a:pt x="526211" y="70281"/>
                  </a:lnTo>
                  <a:lnTo>
                    <a:pt x="537032" y="68872"/>
                  </a:lnTo>
                  <a:lnTo>
                    <a:pt x="537032" y="46875"/>
                  </a:lnTo>
                  <a:close/>
                </a:path>
                <a:path w="628015" h="133350">
                  <a:moveTo>
                    <a:pt x="627595" y="85090"/>
                  </a:moveTo>
                  <a:lnTo>
                    <a:pt x="623214" y="68503"/>
                  </a:lnTo>
                  <a:lnTo>
                    <a:pt x="620064" y="64300"/>
                  </a:lnTo>
                  <a:lnTo>
                    <a:pt x="614070" y="56286"/>
                  </a:lnTo>
                  <a:lnTo>
                    <a:pt x="603262" y="49911"/>
                  </a:lnTo>
                  <a:lnTo>
                    <a:pt x="603262" y="73901"/>
                  </a:lnTo>
                  <a:lnTo>
                    <a:pt x="562825" y="86893"/>
                  </a:lnTo>
                  <a:lnTo>
                    <a:pt x="593115" y="64300"/>
                  </a:lnTo>
                  <a:lnTo>
                    <a:pt x="599732" y="67906"/>
                  </a:lnTo>
                  <a:lnTo>
                    <a:pt x="603262" y="73901"/>
                  </a:lnTo>
                  <a:lnTo>
                    <a:pt x="603262" y="49911"/>
                  </a:lnTo>
                  <a:lnTo>
                    <a:pt x="601268" y="48729"/>
                  </a:lnTo>
                  <a:lnTo>
                    <a:pt x="585863" y="46151"/>
                  </a:lnTo>
                  <a:lnTo>
                    <a:pt x="584377" y="46139"/>
                  </a:lnTo>
                  <a:lnTo>
                    <a:pt x="567385" y="49669"/>
                  </a:lnTo>
                  <a:lnTo>
                    <a:pt x="553567" y="59029"/>
                  </a:lnTo>
                  <a:lnTo>
                    <a:pt x="544322" y="72796"/>
                  </a:lnTo>
                  <a:lnTo>
                    <a:pt x="541045" y="89598"/>
                  </a:lnTo>
                  <a:lnTo>
                    <a:pt x="544525" y="106629"/>
                  </a:lnTo>
                  <a:lnTo>
                    <a:pt x="554164" y="120357"/>
                  </a:lnTo>
                  <a:lnTo>
                    <a:pt x="568769" y="129527"/>
                  </a:lnTo>
                  <a:lnTo>
                    <a:pt x="587171" y="132867"/>
                  </a:lnTo>
                  <a:lnTo>
                    <a:pt x="597382" y="131902"/>
                  </a:lnTo>
                  <a:lnTo>
                    <a:pt x="607212" y="129235"/>
                  </a:lnTo>
                  <a:lnTo>
                    <a:pt x="616432" y="124968"/>
                  </a:lnTo>
                  <a:lnTo>
                    <a:pt x="624840" y="119164"/>
                  </a:lnTo>
                  <a:lnTo>
                    <a:pt x="623062" y="114655"/>
                  </a:lnTo>
                  <a:lnTo>
                    <a:pt x="617715" y="101142"/>
                  </a:lnTo>
                  <a:lnTo>
                    <a:pt x="609815" y="107149"/>
                  </a:lnTo>
                  <a:lnTo>
                    <a:pt x="602107" y="111239"/>
                  </a:lnTo>
                  <a:lnTo>
                    <a:pt x="594601" y="113563"/>
                  </a:lnTo>
                  <a:lnTo>
                    <a:pt x="587336" y="114300"/>
                  </a:lnTo>
                  <a:lnTo>
                    <a:pt x="579247" y="114655"/>
                  </a:lnTo>
                  <a:lnTo>
                    <a:pt x="571500" y="110921"/>
                  </a:lnTo>
                  <a:lnTo>
                    <a:pt x="566851" y="104381"/>
                  </a:lnTo>
                  <a:lnTo>
                    <a:pt x="621906" y="86893"/>
                  </a:lnTo>
                  <a:lnTo>
                    <a:pt x="627595" y="85090"/>
                  </a:lnTo>
                  <a:close/>
                </a:path>
              </a:pathLst>
            </a:custGeom>
            <a:solidFill>
              <a:srgbClr val="00081B"/>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44" name="object 144"/>
            <p:cNvPicPr/>
            <p:nvPr/>
          </p:nvPicPr>
          <p:blipFill>
            <a:blip r:embed="rId108" cstate="screen">
              <a:extLst>
                <a:ext uri="{28A0092B-C50C-407E-A947-70E740481C1C}">
                  <a14:useLocalDpi xmlns:a14="http://schemas.microsoft.com/office/drawing/2010/main"/>
                </a:ext>
              </a:extLst>
            </a:blip>
            <a:stretch>
              <a:fillRect/>
            </a:stretch>
          </p:blipFill>
          <p:spPr>
            <a:xfrm>
              <a:off x="1131112" y="530098"/>
              <a:ext cx="9841357" cy="326136"/>
            </a:xfrm>
            <a:prstGeom prst="rect">
              <a:avLst/>
            </a:prstGeom>
          </p:spPr>
        </p:pic>
        <p:pic>
          <p:nvPicPr>
            <p:cNvPr id="145" name="object 145"/>
            <p:cNvPicPr/>
            <p:nvPr/>
          </p:nvPicPr>
          <p:blipFill>
            <a:blip r:embed="rId109" cstate="screen">
              <a:extLst>
                <a:ext uri="{28A0092B-C50C-407E-A947-70E740481C1C}">
                  <a14:useLocalDpi xmlns:a14="http://schemas.microsoft.com/office/drawing/2010/main"/>
                </a:ext>
              </a:extLst>
            </a:blip>
            <a:stretch>
              <a:fillRect/>
            </a:stretch>
          </p:blipFill>
          <p:spPr>
            <a:xfrm>
              <a:off x="3436873" y="0"/>
              <a:ext cx="5512435" cy="609853"/>
            </a:xfrm>
            <a:prstGeom prst="rect">
              <a:avLst/>
            </a:prstGeom>
          </p:spPr>
        </p:pic>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998219"/>
            <a:chOff x="0" y="0"/>
            <a:chExt cx="12192000" cy="998219"/>
          </a:xfrm>
        </p:grpSpPr>
        <p:sp>
          <p:nvSpPr>
            <p:cNvPr id="3" name="object 3"/>
            <p:cNvSpPr/>
            <p:nvPr/>
          </p:nvSpPr>
          <p:spPr>
            <a:xfrm>
              <a:off x="0" y="0"/>
              <a:ext cx="12192000" cy="998219"/>
            </a:xfrm>
            <a:custGeom>
              <a:avLst/>
              <a:gdLst/>
              <a:ahLst/>
              <a:cxnLst/>
              <a:rect l="l" t="t" r="r" b="b"/>
              <a:pathLst>
                <a:path w="12192000" h="998219">
                  <a:moveTo>
                    <a:pt x="12192000" y="0"/>
                  </a:moveTo>
                  <a:lnTo>
                    <a:pt x="0" y="0"/>
                  </a:lnTo>
                  <a:lnTo>
                    <a:pt x="0" y="808482"/>
                  </a:lnTo>
                  <a:lnTo>
                    <a:pt x="6096000" y="998220"/>
                  </a:lnTo>
                  <a:lnTo>
                    <a:pt x="12192000" y="808482"/>
                  </a:lnTo>
                  <a:lnTo>
                    <a:pt x="12192000"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 name="object 4"/>
            <p:cNvPicPr/>
            <p:nvPr/>
          </p:nvPicPr>
          <p:blipFill>
            <a:blip r:embed="rId2" cstate="screen">
              <a:extLst>
                <a:ext uri="{28A0092B-C50C-407E-A947-70E740481C1C}">
                  <a14:useLocalDpi xmlns:a14="http://schemas.microsoft.com/office/drawing/2010/main"/>
                </a:ext>
              </a:extLst>
            </a:blip>
            <a:stretch>
              <a:fillRect/>
            </a:stretch>
          </p:blipFill>
          <p:spPr>
            <a:xfrm>
              <a:off x="4374769" y="115188"/>
              <a:ext cx="3645534" cy="650747"/>
            </a:xfrm>
            <a:prstGeom prst="rect">
              <a:avLst/>
            </a:prstGeom>
          </p:spPr>
        </p:pic>
      </p:grpSp>
      <p:grpSp>
        <p:nvGrpSpPr>
          <p:cNvPr id="5" name="object 5"/>
          <p:cNvGrpSpPr/>
          <p:nvPr/>
        </p:nvGrpSpPr>
        <p:grpSpPr>
          <a:xfrm>
            <a:off x="82296" y="2933954"/>
            <a:ext cx="3615054" cy="2493010"/>
            <a:chOff x="82296" y="2933954"/>
            <a:chExt cx="3615054" cy="2493010"/>
          </a:xfrm>
        </p:grpSpPr>
        <p:sp>
          <p:nvSpPr>
            <p:cNvPr id="6" name="object 6"/>
            <p:cNvSpPr/>
            <p:nvPr/>
          </p:nvSpPr>
          <p:spPr>
            <a:xfrm>
              <a:off x="82296" y="2936748"/>
              <a:ext cx="3615054" cy="2490470"/>
            </a:xfrm>
            <a:custGeom>
              <a:avLst/>
              <a:gdLst/>
              <a:ahLst/>
              <a:cxnLst/>
              <a:rect l="l" t="t" r="r" b="b"/>
              <a:pathLst>
                <a:path w="3615054" h="2490470">
                  <a:moveTo>
                    <a:pt x="3614928" y="0"/>
                  </a:moveTo>
                  <a:lnTo>
                    <a:pt x="0" y="0"/>
                  </a:lnTo>
                  <a:lnTo>
                    <a:pt x="0" y="2490216"/>
                  </a:lnTo>
                  <a:lnTo>
                    <a:pt x="3614928" y="2490216"/>
                  </a:lnTo>
                  <a:lnTo>
                    <a:pt x="3614928" y="0"/>
                  </a:lnTo>
                  <a:close/>
                </a:path>
              </a:pathLst>
            </a:custGeom>
            <a:solidFill>
              <a:srgbClr val="F1F1F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7" name="object 7"/>
            <p:cNvPicPr/>
            <p:nvPr/>
          </p:nvPicPr>
          <p:blipFill>
            <a:blip r:embed="rId3" cstate="screen">
              <a:extLst>
                <a:ext uri="{28A0092B-C50C-407E-A947-70E740481C1C}">
                  <a14:useLocalDpi xmlns:a14="http://schemas.microsoft.com/office/drawing/2010/main"/>
                </a:ext>
              </a:extLst>
            </a:blip>
            <a:stretch>
              <a:fillRect/>
            </a:stretch>
          </p:blipFill>
          <p:spPr>
            <a:xfrm>
              <a:off x="173735" y="2933954"/>
              <a:ext cx="295656" cy="292608"/>
            </a:xfrm>
            <a:prstGeom prst="rect">
              <a:avLst/>
            </a:prstGeom>
          </p:spPr>
        </p:pic>
        <p:pic>
          <p:nvPicPr>
            <p:cNvPr id="8" name="object 8"/>
            <p:cNvPicPr/>
            <p:nvPr/>
          </p:nvPicPr>
          <p:blipFill>
            <a:blip r:embed="rId4" cstate="screen">
              <a:extLst>
                <a:ext uri="{28A0092B-C50C-407E-A947-70E740481C1C}">
                  <a14:useLocalDpi xmlns:a14="http://schemas.microsoft.com/office/drawing/2010/main"/>
                </a:ext>
              </a:extLst>
            </a:blip>
            <a:stretch>
              <a:fillRect/>
            </a:stretch>
          </p:blipFill>
          <p:spPr>
            <a:xfrm>
              <a:off x="321564" y="2933954"/>
              <a:ext cx="787260" cy="292608"/>
            </a:xfrm>
            <a:prstGeom prst="rect">
              <a:avLst/>
            </a:prstGeom>
          </p:spPr>
        </p:pic>
        <p:pic>
          <p:nvPicPr>
            <p:cNvPr id="9" name="object 9"/>
            <p:cNvPicPr/>
            <p:nvPr/>
          </p:nvPicPr>
          <p:blipFill>
            <a:blip r:embed="rId5" cstate="screen">
              <a:extLst>
                <a:ext uri="{28A0092B-C50C-407E-A947-70E740481C1C}">
                  <a14:useLocalDpi xmlns:a14="http://schemas.microsoft.com/office/drawing/2010/main"/>
                </a:ext>
              </a:extLst>
            </a:blip>
            <a:stretch>
              <a:fillRect/>
            </a:stretch>
          </p:blipFill>
          <p:spPr>
            <a:xfrm>
              <a:off x="460248" y="3209493"/>
              <a:ext cx="3158236" cy="260908"/>
            </a:xfrm>
            <a:prstGeom prst="rect">
              <a:avLst/>
            </a:prstGeom>
          </p:spPr>
        </p:pic>
        <p:pic>
          <p:nvPicPr>
            <p:cNvPr id="10" name="object 10"/>
            <p:cNvPicPr/>
            <p:nvPr/>
          </p:nvPicPr>
          <p:blipFill>
            <a:blip r:embed="rId6" cstate="screen">
              <a:extLst>
                <a:ext uri="{28A0092B-C50C-407E-A947-70E740481C1C}">
                  <a14:useLocalDpi xmlns:a14="http://schemas.microsoft.com/office/drawing/2010/main"/>
                </a:ext>
              </a:extLst>
            </a:blip>
            <a:stretch>
              <a:fillRect/>
            </a:stretch>
          </p:blipFill>
          <p:spPr>
            <a:xfrm>
              <a:off x="460248" y="3454019"/>
              <a:ext cx="2993136" cy="260603"/>
            </a:xfrm>
            <a:prstGeom prst="rect">
              <a:avLst/>
            </a:prstGeom>
          </p:spPr>
        </p:pic>
        <p:pic>
          <p:nvPicPr>
            <p:cNvPr id="11" name="object 11"/>
            <p:cNvPicPr/>
            <p:nvPr/>
          </p:nvPicPr>
          <p:blipFill>
            <a:blip r:embed="rId7" cstate="screen">
              <a:extLst>
                <a:ext uri="{28A0092B-C50C-407E-A947-70E740481C1C}">
                  <a14:useLocalDpi xmlns:a14="http://schemas.microsoft.com/office/drawing/2010/main"/>
                </a:ext>
              </a:extLst>
            </a:blip>
            <a:stretch>
              <a:fillRect/>
            </a:stretch>
          </p:blipFill>
          <p:spPr>
            <a:xfrm>
              <a:off x="460248" y="3697859"/>
              <a:ext cx="776173" cy="260604"/>
            </a:xfrm>
            <a:prstGeom prst="rect">
              <a:avLst/>
            </a:prstGeom>
          </p:spPr>
        </p:pic>
        <p:pic>
          <p:nvPicPr>
            <p:cNvPr id="12" name="object 12"/>
            <p:cNvPicPr/>
            <p:nvPr/>
          </p:nvPicPr>
          <p:blipFill>
            <a:blip r:embed="rId8" cstate="screen">
              <a:extLst>
                <a:ext uri="{28A0092B-C50C-407E-A947-70E740481C1C}">
                  <a14:useLocalDpi xmlns:a14="http://schemas.microsoft.com/office/drawing/2010/main"/>
                </a:ext>
              </a:extLst>
            </a:blip>
            <a:stretch>
              <a:fillRect/>
            </a:stretch>
          </p:blipFill>
          <p:spPr>
            <a:xfrm>
              <a:off x="460248" y="3941699"/>
              <a:ext cx="3162045" cy="260604"/>
            </a:xfrm>
            <a:prstGeom prst="rect">
              <a:avLst/>
            </a:prstGeom>
          </p:spPr>
        </p:pic>
        <p:pic>
          <p:nvPicPr>
            <p:cNvPr id="13" name="object 13"/>
            <p:cNvPicPr/>
            <p:nvPr/>
          </p:nvPicPr>
          <p:blipFill>
            <a:blip r:embed="rId9" cstate="screen">
              <a:extLst>
                <a:ext uri="{28A0092B-C50C-407E-A947-70E740481C1C}">
                  <a14:useLocalDpi xmlns:a14="http://schemas.microsoft.com/office/drawing/2010/main"/>
                </a:ext>
              </a:extLst>
            </a:blip>
            <a:stretch>
              <a:fillRect/>
            </a:stretch>
          </p:blipFill>
          <p:spPr>
            <a:xfrm>
              <a:off x="460248" y="4185539"/>
              <a:ext cx="2894838" cy="260604"/>
            </a:xfrm>
            <a:prstGeom prst="rect">
              <a:avLst/>
            </a:prstGeom>
          </p:spPr>
        </p:pic>
        <p:pic>
          <p:nvPicPr>
            <p:cNvPr id="14" name="object 14"/>
            <p:cNvPicPr/>
            <p:nvPr/>
          </p:nvPicPr>
          <p:blipFill>
            <a:blip r:embed="rId10" cstate="screen">
              <a:extLst>
                <a:ext uri="{28A0092B-C50C-407E-A947-70E740481C1C}">
                  <a14:useLocalDpi xmlns:a14="http://schemas.microsoft.com/office/drawing/2010/main"/>
                </a:ext>
              </a:extLst>
            </a:blip>
            <a:stretch>
              <a:fillRect/>
            </a:stretch>
          </p:blipFill>
          <p:spPr>
            <a:xfrm>
              <a:off x="460248" y="4429328"/>
              <a:ext cx="2128901" cy="260908"/>
            </a:xfrm>
            <a:prstGeom prst="rect">
              <a:avLst/>
            </a:prstGeom>
          </p:spPr>
        </p:pic>
      </p:grpSp>
      <p:sp>
        <p:nvSpPr>
          <p:cNvPr id="15" name="object 15"/>
          <p:cNvSpPr txBox="1"/>
          <p:nvPr/>
        </p:nvSpPr>
        <p:spPr>
          <a:xfrm>
            <a:off x="173736" y="3193745"/>
            <a:ext cx="83820" cy="1732914"/>
          </a:xfrm>
          <a:prstGeom prst="rect">
            <a:avLst/>
          </a:prstGeom>
        </p:spPr>
        <p:txBody>
          <a:bodyPr vert="horz" wrap="square" lIns="0" tIns="12065" rIns="0" bIns="0" rtlCol="0">
            <a:spAutoFit/>
          </a:bodyPr>
          <a:lstStyle/>
          <a:p>
            <a:pPr marL="0" marR="0" lvl="0" indent="0"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50" normalizeH="0" baseline="0" noProof="0" dirty="0">
                <a:ln>
                  <a:noFill/>
                </a:ln>
                <a:solidFill>
                  <a:srgbClr val="012B1F"/>
                </a:solidFill>
                <a:effectLst/>
                <a:uLnTx/>
                <a:uFillTx/>
                <a:latin typeface="Arial"/>
                <a:ea typeface="+mn-ea"/>
                <a:cs typeface="Arial"/>
              </a:rPr>
              <a:t>•</a:t>
            </a: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defTabSz="914400" eaLnBrk="1" fontAlgn="auto" latinLnBrk="0" hangingPunct="1">
              <a:lnSpc>
                <a:spcPct val="100000"/>
              </a:lnSpc>
              <a:spcBef>
                <a:spcPts val="165"/>
              </a:spcBef>
              <a:spcAft>
                <a:spcPts val="0"/>
              </a:spcAft>
              <a:buClrTx/>
              <a:buSzTx/>
              <a:buFontTx/>
              <a:buNone/>
              <a:tabLst/>
              <a:defRPr/>
            </a:pP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50" normalizeH="0" baseline="0" noProof="0" dirty="0">
                <a:ln>
                  <a:noFill/>
                </a:ln>
                <a:solidFill>
                  <a:srgbClr val="012B1F"/>
                </a:solidFill>
                <a:effectLst/>
                <a:uLnTx/>
                <a:uFillTx/>
                <a:latin typeface="Arial"/>
                <a:ea typeface="+mn-ea"/>
                <a:cs typeface="Arial"/>
              </a:rPr>
              <a:t>•</a:t>
            </a: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defTabSz="914400" eaLnBrk="1" fontAlgn="auto" latinLnBrk="0" hangingPunct="1">
              <a:lnSpc>
                <a:spcPct val="100000"/>
              </a:lnSpc>
              <a:spcBef>
                <a:spcPts val="160"/>
              </a:spcBef>
              <a:spcAft>
                <a:spcPts val="0"/>
              </a:spcAft>
              <a:buClrTx/>
              <a:buSzTx/>
              <a:buFontTx/>
              <a:buNone/>
              <a:tabLst/>
              <a:defRPr/>
            </a:pP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defTabSz="914400" eaLnBrk="1" fontAlgn="auto" latinLnBrk="0" hangingPunct="1">
              <a:lnSpc>
                <a:spcPct val="100000"/>
              </a:lnSpc>
              <a:spcBef>
                <a:spcPts val="5"/>
              </a:spcBef>
              <a:spcAft>
                <a:spcPts val="0"/>
              </a:spcAft>
              <a:buClrTx/>
              <a:buSzTx/>
              <a:buFontTx/>
              <a:buNone/>
              <a:tabLst/>
              <a:defRPr/>
            </a:pPr>
            <a:r>
              <a:rPr kumimoji="0" sz="1600" b="0" i="0" u="none" strike="noStrike" kern="0" cap="none" spc="-50" normalizeH="0" baseline="0" noProof="0" dirty="0">
                <a:ln>
                  <a:noFill/>
                </a:ln>
                <a:solidFill>
                  <a:srgbClr val="012B1F"/>
                </a:solidFill>
                <a:effectLst/>
                <a:uLnTx/>
                <a:uFillTx/>
                <a:latin typeface="Arial"/>
                <a:ea typeface="+mn-ea"/>
                <a:cs typeface="Arial"/>
              </a:rPr>
              <a:t>•</a:t>
            </a: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16" name="object 16"/>
          <p:cNvGrpSpPr/>
          <p:nvPr/>
        </p:nvGrpSpPr>
        <p:grpSpPr>
          <a:xfrm>
            <a:off x="108204" y="4673472"/>
            <a:ext cx="3580129" cy="2085975"/>
            <a:chOff x="108204" y="4673472"/>
            <a:chExt cx="3580129" cy="2085975"/>
          </a:xfrm>
        </p:grpSpPr>
        <p:pic>
          <p:nvPicPr>
            <p:cNvPr id="17" name="object 17"/>
            <p:cNvPicPr/>
            <p:nvPr/>
          </p:nvPicPr>
          <p:blipFill>
            <a:blip r:embed="rId11" cstate="screen">
              <a:extLst>
                <a:ext uri="{28A0092B-C50C-407E-A947-70E740481C1C}">
                  <a14:useLocalDpi xmlns:a14="http://schemas.microsoft.com/office/drawing/2010/main"/>
                </a:ext>
              </a:extLst>
            </a:blip>
            <a:stretch>
              <a:fillRect/>
            </a:stretch>
          </p:blipFill>
          <p:spPr>
            <a:xfrm>
              <a:off x="460247" y="4673472"/>
              <a:ext cx="210311" cy="260604"/>
            </a:xfrm>
            <a:prstGeom prst="rect">
              <a:avLst/>
            </a:prstGeom>
          </p:spPr>
        </p:pic>
        <p:pic>
          <p:nvPicPr>
            <p:cNvPr id="18" name="object 18"/>
            <p:cNvPicPr/>
            <p:nvPr/>
          </p:nvPicPr>
          <p:blipFill>
            <a:blip r:embed="rId12" cstate="screen">
              <a:extLst>
                <a:ext uri="{28A0092B-C50C-407E-A947-70E740481C1C}">
                  <a14:useLocalDpi xmlns:a14="http://schemas.microsoft.com/office/drawing/2010/main"/>
                </a:ext>
              </a:extLst>
            </a:blip>
            <a:stretch>
              <a:fillRect/>
            </a:stretch>
          </p:blipFill>
          <p:spPr>
            <a:xfrm>
              <a:off x="565404" y="4673472"/>
              <a:ext cx="816101" cy="260604"/>
            </a:xfrm>
            <a:prstGeom prst="rect">
              <a:avLst/>
            </a:prstGeom>
          </p:spPr>
        </p:pic>
        <p:pic>
          <p:nvPicPr>
            <p:cNvPr id="19" name="object 19"/>
            <p:cNvPicPr/>
            <p:nvPr/>
          </p:nvPicPr>
          <p:blipFill>
            <a:blip r:embed="rId13" cstate="screen">
              <a:extLst>
                <a:ext uri="{28A0092B-C50C-407E-A947-70E740481C1C}">
                  <a14:useLocalDpi xmlns:a14="http://schemas.microsoft.com/office/drawing/2010/main"/>
                </a:ext>
              </a:extLst>
            </a:blip>
            <a:stretch>
              <a:fillRect/>
            </a:stretch>
          </p:blipFill>
          <p:spPr>
            <a:xfrm>
              <a:off x="1339595" y="4673472"/>
              <a:ext cx="2332608" cy="260604"/>
            </a:xfrm>
            <a:prstGeom prst="rect">
              <a:avLst/>
            </a:prstGeom>
          </p:spPr>
        </p:pic>
        <p:pic>
          <p:nvPicPr>
            <p:cNvPr id="20" name="object 20"/>
            <p:cNvPicPr/>
            <p:nvPr/>
          </p:nvPicPr>
          <p:blipFill>
            <a:blip r:embed="rId14" cstate="screen">
              <a:extLst>
                <a:ext uri="{28A0092B-C50C-407E-A947-70E740481C1C}">
                  <a14:useLocalDpi xmlns:a14="http://schemas.microsoft.com/office/drawing/2010/main"/>
                </a:ext>
              </a:extLst>
            </a:blip>
            <a:stretch>
              <a:fillRect/>
            </a:stretch>
          </p:blipFill>
          <p:spPr>
            <a:xfrm>
              <a:off x="460247" y="4917312"/>
              <a:ext cx="2746502" cy="260604"/>
            </a:xfrm>
            <a:prstGeom prst="rect">
              <a:avLst/>
            </a:prstGeom>
          </p:spPr>
        </p:pic>
        <p:pic>
          <p:nvPicPr>
            <p:cNvPr id="21" name="object 21"/>
            <p:cNvPicPr/>
            <p:nvPr/>
          </p:nvPicPr>
          <p:blipFill>
            <a:blip r:embed="rId15" cstate="screen">
              <a:extLst>
                <a:ext uri="{28A0092B-C50C-407E-A947-70E740481C1C}">
                  <a14:useLocalDpi xmlns:a14="http://schemas.microsoft.com/office/drawing/2010/main"/>
                </a:ext>
              </a:extLst>
            </a:blip>
            <a:stretch>
              <a:fillRect/>
            </a:stretch>
          </p:blipFill>
          <p:spPr>
            <a:xfrm>
              <a:off x="460247" y="5161152"/>
              <a:ext cx="304038" cy="260604"/>
            </a:xfrm>
            <a:prstGeom prst="rect">
              <a:avLst/>
            </a:prstGeom>
          </p:spPr>
        </p:pic>
        <p:pic>
          <p:nvPicPr>
            <p:cNvPr id="22" name="object 22"/>
            <p:cNvPicPr/>
            <p:nvPr/>
          </p:nvPicPr>
          <p:blipFill>
            <a:blip r:embed="rId16" cstate="screen">
              <a:extLst>
                <a:ext uri="{28A0092B-C50C-407E-A947-70E740481C1C}">
                  <a14:useLocalDpi xmlns:a14="http://schemas.microsoft.com/office/drawing/2010/main"/>
                </a:ext>
              </a:extLst>
            </a:blip>
            <a:stretch>
              <a:fillRect/>
            </a:stretch>
          </p:blipFill>
          <p:spPr>
            <a:xfrm>
              <a:off x="710184" y="5161152"/>
              <a:ext cx="1852676" cy="260604"/>
            </a:xfrm>
            <a:prstGeom prst="rect">
              <a:avLst/>
            </a:prstGeom>
          </p:spPr>
        </p:pic>
        <p:sp>
          <p:nvSpPr>
            <p:cNvPr id="23" name="object 23"/>
            <p:cNvSpPr/>
            <p:nvPr/>
          </p:nvSpPr>
          <p:spPr>
            <a:xfrm>
              <a:off x="108204" y="5405627"/>
              <a:ext cx="3580129" cy="1353820"/>
            </a:xfrm>
            <a:custGeom>
              <a:avLst/>
              <a:gdLst/>
              <a:ahLst/>
              <a:cxnLst/>
              <a:rect l="l" t="t" r="r" b="b"/>
              <a:pathLst>
                <a:path w="3580129" h="1353820">
                  <a:moveTo>
                    <a:pt x="3579876" y="0"/>
                  </a:moveTo>
                  <a:lnTo>
                    <a:pt x="0" y="0"/>
                  </a:lnTo>
                  <a:lnTo>
                    <a:pt x="0" y="1353312"/>
                  </a:lnTo>
                  <a:lnTo>
                    <a:pt x="3579876" y="1353312"/>
                  </a:lnTo>
                  <a:lnTo>
                    <a:pt x="3579876" y="0"/>
                  </a:lnTo>
                  <a:close/>
                </a:path>
              </a:pathLst>
            </a:custGeom>
            <a:solidFill>
              <a:srgbClr val="8FD9C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4" name="object 24"/>
            <p:cNvPicPr/>
            <p:nvPr/>
          </p:nvPicPr>
          <p:blipFill>
            <a:blip r:embed="rId17" cstate="screen">
              <a:extLst>
                <a:ext uri="{28A0092B-C50C-407E-A947-70E740481C1C}">
                  <a14:useLocalDpi xmlns:a14="http://schemas.microsoft.com/office/drawing/2010/main"/>
                </a:ext>
              </a:extLst>
            </a:blip>
            <a:stretch>
              <a:fillRect/>
            </a:stretch>
          </p:blipFill>
          <p:spPr>
            <a:xfrm>
              <a:off x="199034" y="5438241"/>
              <a:ext cx="843343" cy="292608"/>
            </a:xfrm>
            <a:prstGeom prst="rect">
              <a:avLst/>
            </a:prstGeom>
          </p:spPr>
        </p:pic>
        <p:pic>
          <p:nvPicPr>
            <p:cNvPr id="25" name="object 25"/>
            <p:cNvPicPr/>
            <p:nvPr/>
          </p:nvPicPr>
          <p:blipFill>
            <a:blip r:embed="rId18" cstate="screen">
              <a:extLst>
                <a:ext uri="{28A0092B-C50C-407E-A947-70E740481C1C}">
                  <a14:useLocalDpi xmlns:a14="http://schemas.microsoft.com/office/drawing/2010/main"/>
                </a:ext>
              </a:extLst>
            </a:blip>
            <a:stretch>
              <a:fillRect/>
            </a:stretch>
          </p:blipFill>
          <p:spPr>
            <a:xfrm>
              <a:off x="485546" y="5714085"/>
              <a:ext cx="3174238" cy="260603"/>
            </a:xfrm>
            <a:prstGeom prst="rect">
              <a:avLst/>
            </a:prstGeom>
          </p:spPr>
        </p:pic>
        <p:pic>
          <p:nvPicPr>
            <p:cNvPr id="26" name="object 26"/>
            <p:cNvPicPr/>
            <p:nvPr/>
          </p:nvPicPr>
          <p:blipFill>
            <a:blip r:embed="rId19" cstate="screen">
              <a:extLst>
                <a:ext uri="{28A0092B-C50C-407E-A947-70E740481C1C}">
                  <a14:useLocalDpi xmlns:a14="http://schemas.microsoft.com/office/drawing/2010/main"/>
                </a:ext>
              </a:extLst>
            </a:blip>
            <a:stretch>
              <a:fillRect/>
            </a:stretch>
          </p:blipFill>
          <p:spPr>
            <a:xfrm>
              <a:off x="485546" y="5957925"/>
              <a:ext cx="3015488" cy="260604"/>
            </a:xfrm>
            <a:prstGeom prst="rect">
              <a:avLst/>
            </a:prstGeom>
          </p:spPr>
        </p:pic>
      </p:grpSp>
      <p:grpSp>
        <p:nvGrpSpPr>
          <p:cNvPr id="27" name="object 27"/>
          <p:cNvGrpSpPr/>
          <p:nvPr/>
        </p:nvGrpSpPr>
        <p:grpSpPr>
          <a:xfrm>
            <a:off x="10238600" y="282484"/>
            <a:ext cx="1683385" cy="148590"/>
            <a:chOff x="10238600" y="282484"/>
            <a:chExt cx="1683385" cy="148590"/>
          </a:xfrm>
        </p:grpSpPr>
        <p:sp>
          <p:nvSpPr>
            <p:cNvPr id="28" name="object 28"/>
            <p:cNvSpPr/>
            <p:nvPr/>
          </p:nvSpPr>
          <p:spPr>
            <a:xfrm>
              <a:off x="10238600" y="285858"/>
              <a:ext cx="33020" cy="141605"/>
            </a:xfrm>
            <a:custGeom>
              <a:avLst/>
              <a:gdLst/>
              <a:ahLst/>
              <a:cxnLst/>
              <a:rect l="l" t="t" r="r" b="b"/>
              <a:pathLst>
                <a:path w="33020" h="141604">
                  <a:moveTo>
                    <a:pt x="32690" y="0"/>
                  </a:moveTo>
                  <a:lnTo>
                    <a:pt x="0" y="0"/>
                  </a:lnTo>
                  <a:lnTo>
                    <a:pt x="0" y="141267"/>
                  </a:lnTo>
                  <a:lnTo>
                    <a:pt x="32690" y="141267"/>
                  </a:lnTo>
                  <a:lnTo>
                    <a:pt x="32690"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9" name="object 29"/>
            <p:cNvPicPr/>
            <p:nvPr/>
          </p:nvPicPr>
          <p:blipFill>
            <a:blip r:embed="rId20" cstate="screen">
              <a:extLst>
                <a:ext uri="{28A0092B-C50C-407E-A947-70E740481C1C}">
                  <a14:useLocalDpi xmlns:a14="http://schemas.microsoft.com/office/drawing/2010/main"/>
                </a:ext>
              </a:extLst>
            </a:blip>
            <a:stretch>
              <a:fillRect/>
            </a:stretch>
          </p:blipFill>
          <p:spPr>
            <a:xfrm>
              <a:off x="10302546" y="285858"/>
              <a:ext cx="137493" cy="141267"/>
            </a:xfrm>
            <a:prstGeom prst="rect">
              <a:avLst/>
            </a:prstGeom>
          </p:spPr>
        </p:pic>
        <p:sp>
          <p:nvSpPr>
            <p:cNvPr id="30" name="object 30"/>
            <p:cNvSpPr/>
            <p:nvPr/>
          </p:nvSpPr>
          <p:spPr>
            <a:xfrm>
              <a:off x="10470807" y="282485"/>
              <a:ext cx="837565" cy="148590"/>
            </a:xfrm>
            <a:custGeom>
              <a:avLst/>
              <a:gdLst/>
              <a:ahLst/>
              <a:cxnLst/>
              <a:rect l="l" t="t" r="r" b="b"/>
              <a:pathLst>
                <a:path w="837565" h="148590">
                  <a:moveTo>
                    <a:pt x="78384" y="2781"/>
                  </a:moveTo>
                  <a:lnTo>
                    <a:pt x="0" y="2781"/>
                  </a:lnTo>
                  <a:lnTo>
                    <a:pt x="0" y="30759"/>
                  </a:lnTo>
                  <a:lnTo>
                    <a:pt x="0" y="58737"/>
                  </a:lnTo>
                  <a:lnTo>
                    <a:pt x="0" y="85445"/>
                  </a:lnTo>
                  <a:lnTo>
                    <a:pt x="0" y="145211"/>
                  </a:lnTo>
                  <a:lnTo>
                    <a:pt x="32753" y="145211"/>
                  </a:lnTo>
                  <a:lnTo>
                    <a:pt x="32753" y="85445"/>
                  </a:lnTo>
                  <a:lnTo>
                    <a:pt x="75057" y="85445"/>
                  </a:lnTo>
                  <a:lnTo>
                    <a:pt x="75057" y="58737"/>
                  </a:lnTo>
                  <a:lnTo>
                    <a:pt x="32753" y="58737"/>
                  </a:lnTo>
                  <a:lnTo>
                    <a:pt x="32753" y="30759"/>
                  </a:lnTo>
                  <a:lnTo>
                    <a:pt x="78384" y="30759"/>
                  </a:lnTo>
                  <a:lnTo>
                    <a:pt x="78384" y="2781"/>
                  </a:lnTo>
                  <a:close/>
                </a:path>
                <a:path w="837565" h="148590">
                  <a:moveTo>
                    <a:pt x="212547" y="144653"/>
                  </a:moveTo>
                  <a:lnTo>
                    <a:pt x="170726" y="88722"/>
                  </a:lnTo>
                  <a:lnTo>
                    <a:pt x="169278" y="86791"/>
                  </a:lnTo>
                  <a:lnTo>
                    <a:pt x="176974" y="84861"/>
                  </a:lnTo>
                  <a:lnTo>
                    <a:pt x="184150" y="80518"/>
                  </a:lnTo>
                  <a:lnTo>
                    <a:pt x="188963" y="75704"/>
                  </a:lnTo>
                  <a:lnTo>
                    <a:pt x="194564" y="68821"/>
                  </a:lnTo>
                  <a:lnTo>
                    <a:pt x="195160" y="67500"/>
                  </a:lnTo>
                  <a:lnTo>
                    <a:pt x="197942" y="61480"/>
                  </a:lnTo>
                  <a:lnTo>
                    <a:pt x="199605" y="54140"/>
                  </a:lnTo>
                  <a:lnTo>
                    <a:pt x="200050" y="47256"/>
                  </a:lnTo>
                  <a:lnTo>
                    <a:pt x="198907" y="36385"/>
                  </a:lnTo>
                  <a:lnTo>
                    <a:pt x="173837" y="7061"/>
                  </a:lnTo>
                  <a:lnTo>
                    <a:pt x="166839" y="5194"/>
                  </a:lnTo>
                  <a:lnTo>
                    <a:pt x="166839" y="39547"/>
                  </a:lnTo>
                  <a:lnTo>
                    <a:pt x="166839" y="54483"/>
                  </a:lnTo>
                  <a:lnTo>
                    <a:pt x="163957" y="58826"/>
                  </a:lnTo>
                  <a:lnTo>
                    <a:pt x="161594" y="61239"/>
                  </a:lnTo>
                  <a:lnTo>
                    <a:pt x="156273" y="67017"/>
                  </a:lnTo>
                  <a:lnTo>
                    <a:pt x="148132" y="67500"/>
                  </a:lnTo>
                  <a:lnTo>
                    <a:pt x="134670" y="67500"/>
                  </a:lnTo>
                  <a:lnTo>
                    <a:pt x="134670" y="28448"/>
                  </a:lnTo>
                  <a:lnTo>
                    <a:pt x="146659" y="28448"/>
                  </a:lnTo>
                  <a:lnTo>
                    <a:pt x="154863" y="28930"/>
                  </a:lnTo>
                  <a:lnTo>
                    <a:pt x="160108" y="33274"/>
                  </a:lnTo>
                  <a:lnTo>
                    <a:pt x="163004" y="35204"/>
                  </a:lnTo>
                  <a:lnTo>
                    <a:pt x="166839" y="39547"/>
                  </a:lnTo>
                  <a:lnTo>
                    <a:pt x="166839" y="5194"/>
                  </a:lnTo>
                  <a:lnTo>
                    <a:pt x="163855" y="4381"/>
                  </a:lnTo>
                  <a:lnTo>
                    <a:pt x="151460" y="3378"/>
                  </a:lnTo>
                  <a:lnTo>
                    <a:pt x="102425" y="3378"/>
                  </a:lnTo>
                  <a:lnTo>
                    <a:pt x="102425" y="144653"/>
                  </a:lnTo>
                  <a:lnTo>
                    <a:pt x="134670" y="144653"/>
                  </a:lnTo>
                  <a:lnTo>
                    <a:pt x="134670" y="88722"/>
                  </a:lnTo>
                  <a:lnTo>
                    <a:pt x="172618" y="144653"/>
                  </a:lnTo>
                  <a:lnTo>
                    <a:pt x="212547" y="144653"/>
                  </a:lnTo>
                  <a:close/>
                </a:path>
                <a:path w="837565" h="148590">
                  <a:moveTo>
                    <a:pt x="360172" y="144653"/>
                  </a:moveTo>
                  <a:lnTo>
                    <a:pt x="349694" y="118135"/>
                  </a:lnTo>
                  <a:lnTo>
                    <a:pt x="339801" y="93052"/>
                  </a:lnTo>
                  <a:lnTo>
                    <a:pt x="320967" y="45326"/>
                  </a:lnTo>
                  <a:lnTo>
                    <a:pt x="306768" y="9372"/>
                  </a:lnTo>
                  <a:lnTo>
                    <a:pt x="306768" y="93052"/>
                  </a:lnTo>
                  <a:lnTo>
                    <a:pt x="272161" y="93052"/>
                  </a:lnTo>
                  <a:lnTo>
                    <a:pt x="289471" y="45326"/>
                  </a:lnTo>
                  <a:lnTo>
                    <a:pt x="306768" y="93052"/>
                  </a:lnTo>
                  <a:lnTo>
                    <a:pt x="306768" y="9372"/>
                  </a:lnTo>
                  <a:lnTo>
                    <a:pt x="304406" y="3378"/>
                  </a:lnTo>
                  <a:lnTo>
                    <a:pt x="274599" y="3378"/>
                  </a:lnTo>
                  <a:lnTo>
                    <a:pt x="217805" y="144653"/>
                  </a:lnTo>
                  <a:lnTo>
                    <a:pt x="251523" y="144653"/>
                  </a:lnTo>
                  <a:lnTo>
                    <a:pt x="262547" y="118135"/>
                  </a:lnTo>
                  <a:lnTo>
                    <a:pt x="315937" y="118135"/>
                  </a:lnTo>
                  <a:lnTo>
                    <a:pt x="326517" y="144653"/>
                  </a:lnTo>
                  <a:lnTo>
                    <a:pt x="360172" y="144653"/>
                  </a:lnTo>
                  <a:close/>
                </a:path>
                <a:path w="837565" h="148590">
                  <a:moveTo>
                    <a:pt x="468820" y="98361"/>
                  </a:moveTo>
                  <a:lnTo>
                    <a:pt x="445287" y="63652"/>
                  </a:lnTo>
                  <a:lnTo>
                    <a:pt x="428434" y="57378"/>
                  </a:lnTo>
                  <a:lnTo>
                    <a:pt x="419265" y="53517"/>
                  </a:lnTo>
                  <a:lnTo>
                    <a:pt x="414007" y="52552"/>
                  </a:lnTo>
                  <a:lnTo>
                    <a:pt x="408686" y="47256"/>
                  </a:lnTo>
                  <a:lnTo>
                    <a:pt x="407733" y="44843"/>
                  </a:lnTo>
                  <a:lnTo>
                    <a:pt x="407733" y="37617"/>
                  </a:lnTo>
                  <a:lnTo>
                    <a:pt x="409206" y="34721"/>
                  </a:lnTo>
                  <a:lnTo>
                    <a:pt x="411124" y="32308"/>
                  </a:lnTo>
                  <a:lnTo>
                    <a:pt x="414972" y="28448"/>
                  </a:lnTo>
                  <a:lnTo>
                    <a:pt x="420738" y="27482"/>
                  </a:lnTo>
                  <a:lnTo>
                    <a:pt x="425030" y="27482"/>
                  </a:lnTo>
                  <a:lnTo>
                    <a:pt x="428853" y="27774"/>
                  </a:lnTo>
                  <a:lnTo>
                    <a:pt x="434301" y="29108"/>
                  </a:lnTo>
                  <a:lnTo>
                    <a:pt x="441020" y="32169"/>
                  </a:lnTo>
                  <a:lnTo>
                    <a:pt x="448627" y="37617"/>
                  </a:lnTo>
                  <a:lnTo>
                    <a:pt x="463042" y="13995"/>
                  </a:lnTo>
                  <a:lnTo>
                    <a:pt x="451040" y="6718"/>
                  </a:lnTo>
                  <a:lnTo>
                    <a:pt x="439788" y="2476"/>
                  </a:lnTo>
                  <a:lnTo>
                    <a:pt x="429704" y="495"/>
                  </a:lnTo>
                  <a:lnTo>
                    <a:pt x="421195" y="0"/>
                  </a:lnTo>
                  <a:lnTo>
                    <a:pt x="411746" y="609"/>
                  </a:lnTo>
                  <a:lnTo>
                    <a:pt x="377088" y="27482"/>
                  </a:lnTo>
                  <a:lnTo>
                    <a:pt x="374078" y="44843"/>
                  </a:lnTo>
                  <a:lnTo>
                    <a:pt x="374421" y="50444"/>
                  </a:lnTo>
                  <a:lnTo>
                    <a:pt x="402475" y="80518"/>
                  </a:lnTo>
                  <a:lnTo>
                    <a:pt x="417855" y="86309"/>
                  </a:lnTo>
                  <a:lnTo>
                    <a:pt x="426516" y="89204"/>
                  </a:lnTo>
                  <a:lnTo>
                    <a:pt x="433247" y="94983"/>
                  </a:lnTo>
                  <a:lnTo>
                    <a:pt x="435165" y="97878"/>
                  </a:lnTo>
                  <a:lnTo>
                    <a:pt x="435165" y="108000"/>
                  </a:lnTo>
                  <a:lnTo>
                    <a:pt x="433247" y="111861"/>
                  </a:lnTo>
                  <a:lnTo>
                    <a:pt x="425551" y="118135"/>
                  </a:lnTo>
                  <a:lnTo>
                    <a:pt x="419785" y="119087"/>
                  </a:lnTo>
                  <a:lnTo>
                    <a:pt x="409206" y="119087"/>
                  </a:lnTo>
                  <a:lnTo>
                    <a:pt x="384657" y="103174"/>
                  </a:lnTo>
                  <a:lnTo>
                    <a:pt x="367855" y="126326"/>
                  </a:lnTo>
                  <a:lnTo>
                    <a:pt x="401916" y="146519"/>
                  </a:lnTo>
                  <a:lnTo>
                    <a:pt x="416382" y="148018"/>
                  </a:lnTo>
                  <a:lnTo>
                    <a:pt x="424738" y="147586"/>
                  </a:lnTo>
                  <a:lnTo>
                    <a:pt x="461327" y="126834"/>
                  </a:lnTo>
                  <a:lnTo>
                    <a:pt x="467880" y="108877"/>
                  </a:lnTo>
                  <a:lnTo>
                    <a:pt x="468820" y="98361"/>
                  </a:lnTo>
                  <a:close/>
                </a:path>
                <a:path w="837565" h="148590">
                  <a:moveTo>
                    <a:pt x="572211" y="2781"/>
                  </a:moveTo>
                  <a:lnTo>
                    <a:pt x="478434" y="2781"/>
                  </a:lnTo>
                  <a:lnTo>
                    <a:pt x="478434" y="30759"/>
                  </a:lnTo>
                  <a:lnTo>
                    <a:pt x="509193" y="30759"/>
                  </a:lnTo>
                  <a:lnTo>
                    <a:pt x="509193" y="145211"/>
                  </a:lnTo>
                  <a:lnTo>
                    <a:pt x="541896" y="145211"/>
                  </a:lnTo>
                  <a:lnTo>
                    <a:pt x="541896" y="30759"/>
                  </a:lnTo>
                  <a:lnTo>
                    <a:pt x="572211" y="30759"/>
                  </a:lnTo>
                  <a:lnTo>
                    <a:pt x="572211" y="2781"/>
                  </a:lnTo>
                  <a:close/>
                </a:path>
                <a:path w="837565" h="148590">
                  <a:moveTo>
                    <a:pt x="699643" y="144653"/>
                  </a:moveTo>
                  <a:lnTo>
                    <a:pt x="657809" y="88722"/>
                  </a:lnTo>
                  <a:lnTo>
                    <a:pt x="656374" y="86791"/>
                  </a:lnTo>
                  <a:lnTo>
                    <a:pt x="664514" y="84861"/>
                  </a:lnTo>
                  <a:lnTo>
                    <a:pt x="671245" y="80518"/>
                  </a:lnTo>
                  <a:lnTo>
                    <a:pt x="676046" y="75704"/>
                  </a:lnTo>
                  <a:lnTo>
                    <a:pt x="681647" y="68821"/>
                  </a:lnTo>
                  <a:lnTo>
                    <a:pt x="682256" y="67500"/>
                  </a:lnTo>
                  <a:lnTo>
                    <a:pt x="685038" y="61480"/>
                  </a:lnTo>
                  <a:lnTo>
                    <a:pt x="686701" y="54140"/>
                  </a:lnTo>
                  <a:lnTo>
                    <a:pt x="687133" y="47256"/>
                  </a:lnTo>
                  <a:lnTo>
                    <a:pt x="686066" y="36385"/>
                  </a:lnTo>
                  <a:lnTo>
                    <a:pt x="661200" y="7061"/>
                  </a:lnTo>
                  <a:lnTo>
                    <a:pt x="654443" y="5257"/>
                  </a:lnTo>
                  <a:lnTo>
                    <a:pt x="654443" y="39547"/>
                  </a:lnTo>
                  <a:lnTo>
                    <a:pt x="654443" y="54483"/>
                  </a:lnTo>
                  <a:lnTo>
                    <a:pt x="651052" y="58826"/>
                  </a:lnTo>
                  <a:lnTo>
                    <a:pt x="649122" y="61239"/>
                  </a:lnTo>
                  <a:lnTo>
                    <a:pt x="643356" y="67017"/>
                  </a:lnTo>
                  <a:lnTo>
                    <a:pt x="635152" y="67500"/>
                  </a:lnTo>
                  <a:lnTo>
                    <a:pt x="622211" y="67500"/>
                  </a:lnTo>
                  <a:lnTo>
                    <a:pt x="622211" y="28448"/>
                  </a:lnTo>
                  <a:lnTo>
                    <a:pt x="633742" y="28448"/>
                  </a:lnTo>
                  <a:lnTo>
                    <a:pt x="642404" y="28930"/>
                  </a:lnTo>
                  <a:lnTo>
                    <a:pt x="647712" y="33274"/>
                  </a:lnTo>
                  <a:lnTo>
                    <a:pt x="650608" y="35204"/>
                  </a:lnTo>
                  <a:lnTo>
                    <a:pt x="654443" y="39547"/>
                  </a:lnTo>
                  <a:lnTo>
                    <a:pt x="654443" y="5257"/>
                  </a:lnTo>
                  <a:lnTo>
                    <a:pt x="651205" y="4381"/>
                  </a:lnTo>
                  <a:lnTo>
                    <a:pt x="639000" y="3378"/>
                  </a:lnTo>
                  <a:lnTo>
                    <a:pt x="589521" y="3378"/>
                  </a:lnTo>
                  <a:lnTo>
                    <a:pt x="589521" y="144653"/>
                  </a:lnTo>
                  <a:lnTo>
                    <a:pt x="622211" y="144653"/>
                  </a:lnTo>
                  <a:lnTo>
                    <a:pt x="622211" y="88722"/>
                  </a:lnTo>
                  <a:lnTo>
                    <a:pt x="660222" y="144653"/>
                  </a:lnTo>
                  <a:lnTo>
                    <a:pt x="699643" y="144653"/>
                  </a:lnTo>
                  <a:close/>
                </a:path>
                <a:path w="837565" h="148590">
                  <a:moveTo>
                    <a:pt x="837133" y="3378"/>
                  </a:moveTo>
                  <a:lnTo>
                    <a:pt x="804443" y="3378"/>
                  </a:lnTo>
                  <a:lnTo>
                    <a:pt x="804443" y="92100"/>
                  </a:lnTo>
                  <a:lnTo>
                    <a:pt x="803922" y="102704"/>
                  </a:lnTo>
                  <a:lnTo>
                    <a:pt x="791425" y="116205"/>
                  </a:lnTo>
                  <a:lnTo>
                    <a:pt x="783742" y="117170"/>
                  </a:lnTo>
                  <a:lnTo>
                    <a:pt x="771232" y="117170"/>
                  </a:lnTo>
                  <a:lnTo>
                    <a:pt x="763549" y="116205"/>
                  </a:lnTo>
                  <a:lnTo>
                    <a:pt x="757770" y="109931"/>
                  </a:lnTo>
                  <a:lnTo>
                    <a:pt x="750595" y="102704"/>
                  </a:lnTo>
                  <a:lnTo>
                    <a:pt x="750595" y="3378"/>
                  </a:lnTo>
                  <a:lnTo>
                    <a:pt x="717905" y="3378"/>
                  </a:lnTo>
                  <a:lnTo>
                    <a:pt x="717905" y="86791"/>
                  </a:lnTo>
                  <a:lnTo>
                    <a:pt x="718350" y="97459"/>
                  </a:lnTo>
                  <a:lnTo>
                    <a:pt x="743966" y="140093"/>
                  </a:lnTo>
                  <a:lnTo>
                    <a:pt x="777519" y="148018"/>
                  </a:lnTo>
                  <a:lnTo>
                    <a:pt x="788733" y="147421"/>
                  </a:lnTo>
                  <a:lnTo>
                    <a:pt x="829614" y="120421"/>
                  </a:lnTo>
                  <a:lnTo>
                    <a:pt x="837133" y="86791"/>
                  </a:lnTo>
                  <a:lnTo>
                    <a:pt x="837133" y="3378"/>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31" name="object 31"/>
            <p:cNvPicPr/>
            <p:nvPr/>
          </p:nvPicPr>
          <p:blipFill>
            <a:blip r:embed="rId21" cstate="screen">
              <a:extLst>
                <a:ext uri="{28A0092B-C50C-407E-A947-70E740481C1C}">
                  <a14:useLocalDpi xmlns:a14="http://schemas.microsoft.com/office/drawing/2010/main"/>
                </a:ext>
              </a:extLst>
            </a:blip>
            <a:stretch>
              <a:fillRect/>
            </a:stretch>
          </p:blipFill>
          <p:spPr>
            <a:xfrm>
              <a:off x="11331982" y="282484"/>
              <a:ext cx="351008" cy="148016"/>
            </a:xfrm>
            <a:prstGeom prst="rect">
              <a:avLst/>
            </a:prstGeom>
          </p:spPr>
        </p:pic>
        <p:pic>
          <p:nvPicPr>
            <p:cNvPr id="32" name="object 32"/>
            <p:cNvPicPr/>
            <p:nvPr/>
          </p:nvPicPr>
          <p:blipFill>
            <a:blip r:embed="rId22" cstate="screen">
              <a:extLst>
                <a:ext uri="{28A0092B-C50C-407E-A947-70E740481C1C}">
                  <a14:useLocalDpi xmlns:a14="http://schemas.microsoft.com/office/drawing/2010/main"/>
                </a:ext>
              </a:extLst>
            </a:blip>
            <a:stretch>
              <a:fillRect/>
            </a:stretch>
          </p:blipFill>
          <p:spPr>
            <a:xfrm>
              <a:off x="11713758" y="285266"/>
              <a:ext cx="208194" cy="142427"/>
            </a:xfrm>
            <a:prstGeom prst="rect">
              <a:avLst/>
            </a:prstGeom>
          </p:spPr>
        </p:pic>
      </p:grpSp>
      <p:grpSp>
        <p:nvGrpSpPr>
          <p:cNvPr id="33" name="object 33"/>
          <p:cNvGrpSpPr/>
          <p:nvPr/>
        </p:nvGrpSpPr>
        <p:grpSpPr>
          <a:xfrm>
            <a:off x="10238120" y="484498"/>
            <a:ext cx="561975" cy="141605"/>
            <a:chOff x="10238120" y="484498"/>
            <a:chExt cx="561975" cy="141605"/>
          </a:xfrm>
        </p:grpSpPr>
        <p:pic>
          <p:nvPicPr>
            <p:cNvPr id="34" name="object 34"/>
            <p:cNvPicPr/>
            <p:nvPr/>
          </p:nvPicPr>
          <p:blipFill>
            <a:blip r:embed="rId23" cstate="screen">
              <a:extLst>
                <a:ext uri="{28A0092B-C50C-407E-A947-70E740481C1C}">
                  <a14:useLocalDpi xmlns:a14="http://schemas.microsoft.com/office/drawing/2010/main"/>
                </a:ext>
              </a:extLst>
            </a:blip>
            <a:stretch>
              <a:fillRect/>
            </a:stretch>
          </p:blipFill>
          <p:spPr>
            <a:xfrm>
              <a:off x="10238120" y="484498"/>
              <a:ext cx="405819" cy="141261"/>
            </a:xfrm>
            <a:prstGeom prst="rect">
              <a:avLst/>
            </a:prstGeom>
          </p:spPr>
        </p:pic>
        <p:pic>
          <p:nvPicPr>
            <p:cNvPr id="35" name="object 35"/>
            <p:cNvPicPr/>
            <p:nvPr/>
          </p:nvPicPr>
          <p:blipFill>
            <a:blip r:embed="rId24" cstate="screen">
              <a:extLst>
                <a:ext uri="{28A0092B-C50C-407E-A947-70E740481C1C}">
                  <a14:useLocalDpi xmlns:a14="http://schemas.microsoft.com/office/drawing/2010/main"/>
                </a:ext>
              </a:extLst>
            </a:blip>
            <a:stretch>
              <a:fillRect/>
            </a:stretch>
          </p:blipFill>
          <p:spPr>
            <a:xfrm>
              <a:off x="10674707" y="484498"/>
              <a:ext cx="124993" cy="141261"/>
            </a:xfrm>
            <a:prstGeom prst="rect">
              <a:avLst/>
            </a:prstGeom>
          </p:spPr>
        </p:pic>
      </p:grpSp>
      <p:grpSp>
        <p:nvGrpSpPr>
          <p:cNvPr id="36" name="object 36"/>
          <p:cNvGrpSpPr/>
          <p:nvPr/>
        </p:nvGrpSpPr>
        <p:grpSpPr>
          <a:xfrm>
            <a:off x="9899617" y="285858"/>
            <a:ext cx="283210" cy="340360"/>
            <a:chOff x="9899617" y="285858"/>
            <a:chExt cx="283210" cy="340360"/>
          </a:xfrm>
        </p:grpSpPr>
        <p:sp>
          <p:nvSpPr>
            <p:cNvPr id="37" name="object 37"/>
            <p:cNvSpPr/>
            <p:nvPr/>
          </p:nvSpPr>
          <p:spPr>
            <a:xfrm>
              <a:off x="10040982" y="285858"/>
              <a:ext cx="141605" cy="340360"/>
            </a:xfrm>
            <a:custGeom>
              <a:avLst/>
              <a:gdLst/>
              <a:ahLst/>
              <a:cxnLst/>
              <a:rect l="l" t="t" r="r" b="b"/>
              <a:pathLst>
                <a:path w="141604" h="340359">
                  <a:moveTo>
                    <a:pt x="141358" y="0"/>
                  </a:moveTo>
                  <a:lnTo>
                    <a:pt x="0" y="0"/>
                  </a:lnTo>
                  <a:lnTo>
                    <a:pt x="10922" y="2200"/>
                  </a:lnTo>
                  <a:lnTo>
                    <a:pt x="19954" y="8197"/>
                  </a:lnTo>
                  <a:lnTo>
                    <a:pt x="26100" y="17086"/>
                  </a:lnTo>
                  <a:lnTo>
                    <a:pt x="28370" y="27963"/>
                  </a:lnTo>
                  <a:lnTo>
                    <a:pt x="28370" y="339901"/>
                  </a:lnTo>
                  <a:lnTo>
                    <a:pt x="141358" y="339901"/>
                  </a:lnTo>
                  <a:lnTo>
                    <a:pt x="141358" y="283493"/>
                  </a:lnTo>
                  <a:lnTo>
                    <a:pt x="56253" y="169713"/>
                  </a:lnTo>
                  <a:lnTo>
                    <a:pt x="141358" y="56408"/>
                  </a:lnTo>
                  <a:lnTo>
                    <a:pt x="141358"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38" name="object 38"/>
            <p:cNvSpPr/>
            <p:nvPr/>
          </p:nvSpPr>
          <p:spPr>
            <a:xfrm>
              <a:off x="9899617" y="285858"/>
              <a:ext cx="141605" cy="340360"/>
            </a:xfrm>
            <a:custGeom>
              <a:avLst/>
              <a:gdLst/>
              <a:ahLst/>
              <a:cxnLst/>
              <a:rect l="l" t="t" r="r" b="b"/>
              <a:pathLst>
                <a:path w="141604" h="340359">
                  <a:moveTo>
                    <a:pt x="141364" y="0"/>
                  </a:moveTo>
                  <a:lnTo>
                    <a:pt x="0" y="0"/>
                  </a:lnTo>
                  <a:lnTo>
                    <a:pt x="0" y="283493"/>
                  </a:lnTo>
                  <a:lnTo>
                    <a:pt x="4395" y="305527"/>
                  </a:lnTo>
                  <a:lnTo>
                    <a:pt x="16409" y="323449"/>
                  </a:lnTo>
                  <a:lnTo>
                    <a:pt x="34284" y="335494"/>
                  </a:lnTo>
                  <a:lnTo>
                    <a:pt x="56260" y="339901"/>
                  </a:lnTo>
                  <a:lnTo>
                    <a:pt x="78310" y="335494"/>
                  </a:lnTo>
                  <a:lnTo>
                    <a:pt x="96348" y="323449"/>
                  </a:lnTo>
                  <a:lnTo>
                    <a:pt x="108525" y="305527"/>
                  </a:lnTo>
                  <a:lnTo>
                    <a:pt x="112994" y="283493"/>
                  </a:lnTo>
                  <a:lnTo>
                    <a:pt x="112994" y="24107"/>
                  </a:lnTo>
                  <a:lnTo>
                    <a:pt x="113955" y="20250"/>
                  </a:lnTo>
                  <a:lnTo>
                    <a:pt x="115398" y="16876"/>
                  </a:lnTo>
                  <a:lnTo>
                    <a:pt x="115398" y="16394"/>
                  </a:lnTo>
                  <a:lnTo>
                    <a:pt x="116359" y="14466"/>
                  </a:lnTo>
                  <a:lnTo>
                    <a:pt x="120739" y="8546"/>
                  </a:lnTo>
                  <a:lnTo>
                    <a:pt x="126518" y="3979"/>
                  </a:lnTo>
                  <a:lnTo>
                    <a:pt x="133469" y="1040"/>
                  </a:lnTo>
                  <a:lnTo>
                    <a:pt x="141364"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sp>
        <p:nvSpPr>
          <p:cNvPr id="39" name="object 39"/>
          <p:cNvSpPr txBox="1"/>
          <p:nvPr/>
        </p:nvSpPr>
        <p:spPr>
          <a:xfrm>
            <a:off x="199034" y="5698337"/>
            <a:ext cx="83820" cy="756920"/>
          </a:xfrm>
          <a:prstGeom prst="rect">
            <a:avLst/>
          </a:prstGeom>
        </p:spPr>
        <p:txBody>
          <a:bodyPr vert="horz" wrap="square" lIns="0" tIns="12065" rIns="0" bIns="0" rtlCol="0">
            <a:spAutoFit/>
          </a:bodyPr>
          <a:lstStyle/>
          <a:p>
            <a:pPr marL="0" marR="0" lvl="0" indent="0"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50" normalizeH="0" baseline="0" noProof="0" dirty="0">
                <a:ln>
                  <a:noFill/>
                </a:ln>
                <a:solidFill>
                  <a:srgbClr val="012B1F"/>
                </a:solidFill>
                <a:effectLst/>
                <a:uLnTx/>
                <a:uFillTx/>
                <a:latin typeface="Arial"/>
                <a:ea typeface="+mn-ea"/>
                <a:cs typeface="Arial"/>
              </a:rPr>
              <a:t>•</a:t>
            </a: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defTabSz="914400" eaLnBrk="1" fontAlgn="auto" latinLnBrk="0" hangingPunct="1">
              <a:lnSpc>
                <a:spcPct val="100000"/>
              </a:lnSpc>
              <a:spcBef>
                <a:spcPts val="80"/>
              </a:spcBef>
              <a:spcAft>
                <a:spcPts val="0"/>
              </a:spcAft>
              <a:buClrTx/>
              <a:buSzTx/>
              <a:buFontTx/>
              <a:buNone/>
              <a:tabLst/>
              <a:defRPr/>
            </a:pP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50" normalizeH="0" baseline="0" noProof="0" dirty="0">
                <a:ln>
                  <a:noFill/>
                </a:ln>
                <a:solidFill>
                  <a:srgbClr val="012B1F"/>
                </a:solidFill>
                <a:effectLst/>
                <a:uLnTx/>
                <a:uFillTx/>
                <a:latin typeface="Arial"/>
                <a:ea typeface="+mn-ea"/>
                <a:cs typeface="Arial"/>
              </a:rPr>
              <a:t>•</a:t>
            </a: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40" name="object 40"/>
          <p:cNvGrpSpPr/>
          <p:nvPr/>
        </p:nvGrpSpPr>
        <p:grpSpPr>
          <a:xfrm>
            <a:off x="82296" y="1089660"/>
            <a:ext cx="3641090" cy="5617210"/>
            <a:chOff x="82296" y="1089660"/>
            <a:chExt cx="3641090" cy="5617210"/>
          </a:xfrm>
        </p:grpSpPr>
        <p:pic>
          <p:nvPicPr>
            <p:cNvPr id="41" name="object 41"/>
            <p:cNvPicPr/>
            <p:nvPr/>
          </p:nvPicPr>
          <p:blipFill>
            <a:blip r:embed="rId25" cstate="screen">
              <a:extLst>
                <a:ext uri="{28A0092B-C50C-407E-A947-70E740481C1C}">
                  <a14:useLocalDpi xmlns:a14="http://schemas.microsoft.com/office/drawing/2010/main"/>
                </a:ext>
              </a:extLst>
            </a:blip>
            <a:stretch>
              <a:fillRect/>
            </a:stretch>
          </p:blipFill>
          <p:spPr>
            <a:xfrm>
              <a:off x="485546" y="6201460"/>
              <a:ext cx="2904236" cy="260908"/>
            </a:xfrm>
            <a:prstGeom prst="rect">
              <a:avLst/>
            </a:prstGeom>
          </p:spPr>
        </p:pic>
        <p:pic>
          <p:nvPicPr>
            <p:cNvPr id="42" name="object 42"/>
            <p:cNvPicPr/>
            <p:nvPr/>
          </p:nvPicPr>
          <p:blipFill>
            <a:blip r:embed="rId26" cstate="screen">
              <a:extLst>
                <a:ext uri="{28A0092B-C50C-407E-A947-70E740481C1C}">
                  <a14:useLocalDpi xmlns:a14="http://schemas.microsoft.com/office/drawing/2010/main"/>
                </a:ext>
              </a:extLst>
            </a:blip>
            <a:stretch>
              <a:fillRect/>
            </a:stretch>
          </p:blipFill>
          <p:spPr>
            <a:xfrm>
              <a:off x="485546" y="6445910"/>
              <a:ext cx="1776602" cy="260604"/>
            </a:xfrm>
            <a:prstGeom prst="rect">
              <a:avLst/>
            </a:prstGeom>
          </p:spPr>
        </p:pic>
        <p:sp>
          <p:nvSpPr>
            <p:cNvPr id="43" name="object 43"/>
            <p:cNvSpPr/>
            <p:nvPr/>
          </p:nvSpPr>
          <p:spPr>
            <a:xfrm>
              <a:off x="82296" y="1089660"/>
              <a:ext cx="3641090" cy="1847214"/>
            </a:xfrm>
            <a:custGeom>
              <a:avLst/>
              <a:gdLst/>
              <a:ahLst/>
              <a:cxnLst/>
              <a:rect l="l" t="t" r="r" b="b"/>
              <a:pathLst>
                <a:path w="3641090" h="1847214">
                  <a:moveTo>
                    <a:pt x="3640836" y="0"/>
                  </a:moveTo>
                  <a:lnTo>
                    <a:pt x="0" y="0"/>
                  </a:lnTo>
                  <a:lnTo>
                    <a:pt x="0" y="1847088"/>
                  </a:lnTo>
                  <a:lnTo>
                    <a:pt x="3640836" y="1847088"/>
                  </a:lnTo>
                  <a:lnTo>
                    <a:pt x="3640836" y="0"/>
                  </a:lnTo>
                  <a:close/>
                </a:path>
              </a:pathLst>
            </a:custGeom>
            <a:solidFill>
              <a:srgbClr val="8FD9C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4" name="object 44"/>
            <p:cNvPicPr/>
            <p:nvPr/>
          </p:nvPicPr>
          <p:blipFill>
            <a:blip r:embed="rId27" cstate="screen">
              <a:extLst>
                <a:ext uri="{28A0092B-C50C-407E-A947-70E740481C1C}">
                  <a14:useLocalDpi xmlns:a14="http://schemas.microsoft.com/office/drawing/2010/main"/>
                </a:ext>
              </a:extLst>
            </a:blip>
            <a:stretch>
              <a:fillRect/>
            </a:stretch>
          </p:blipFill>
          <p:spPr>
            <a:xfrm>
              <a:off x="173735" y="1122299"/>
              <a:ext cx="884682" cy="292608"/>
            </a:xfrm>
            <a:prstGeom prst="rect">
              <a:avLst/>
            </a:prstGeom>
          </p:spPr>
        </p:pic>
        <p:pic>
          <p:nvPicPr>
            <p:cNvPr id="45" name="object 45"/>
            <p:cNvPicPr/>
            <p:nvPr/>
          </p:nvPicPr>
          <p:blipFill>
            <a:blip r:embed="rId28" cstate="screen">
              <a:extLst>
                <a:ext uri="{28A0092B-C50C-407E-A947-70E740481C1C}">
                  <a14:useLocalDpi xmlns:a14="http://schemas.microsoft.com/office/drawing/2010/main"/>
                </a:ext>
              </a:extLst>
            </a:blip>
            <a:stretch>
              <a:fillRect/>
            </a:stretch>
          </p:blipFill>
          <p:spPr>
            <a:xfrm>
              <a:off x="460248" y="1398143"/>
              <a:ext cx="2001139" cy="260603"/>
            </a:xfrm>
            <a:prstGeom prst="rect">
              <a:avLst/>
            </a:prstGeom>
          </p:spPr>
        </p:pic>
        <p:pic>
          <p:nvPicPr>
            <p:cNvPr id="46" name="object 46"/>
            <p:cNvPicPr/>
            <p:nvPr/>
          </p:nvPicPr>
          <p:blipFill>
            <a:blip r:embed="rId29" cstate="screen">
              <a:extLst>
                <a:ext uri="{28A0092B-C50C-407E-A947-70E740481C1C}">
                  <a14:useLocalDpi xmlns:a14="http://schemas.microsoft.com/office/drawing/2010/main"/>
                </a:ext>
              </a:extLst>
            </a:blip>
            <a:stretch>
              <a:fillRect/>
            </a:stretch>
          </p:blipFill>
          <p:spPr>
            <a:xfrm>
              <a:off x="2374391" y="1398143"/>
              <a:ext cx="1198956" cy="260603"/>
            </a:xfrm>
            <a:prstGeom prst="rect">
              <a:avLst/>
            </a:prstGeom>
          </p:spPr>
        </p:pic>
        <p:pic>
          <p:nvPicPr>
            <p:cNvPr id="47" name="object 47"/>
            <p:cNvPicPr/>
            <p:nvPr/>
          </p:nvPicPr>
          <p:blipFill>
            <a:blip r:embed="rId30" cstate="screen">
              <a:extLst>
                <a:ext uri="{28A0092B-C50C-407E-A947-70E740481C1C}">
                  <a14:useLocalDpi xmlns:a14="http://schemas.microsoft.com/office/drawing/2010/main"/>
                </a:ext>
              </a:extLst>
            </a:blip>
            <a:stretch>
              <a:fillRect/>
            </a:stretch>
          </p:blipFill>
          <p:spPr>
            <a:xfrm>
              <a:off x="460248" y="1641678"/>
              <a:ext cx="1092377" cy="260908"/>
            </a:xfrm>
            <a:prstGeom prst="rect">
              <a:avLst/>
            </a:prstGeom>
          </p:spPr>
        </p:pic>
        <p:pic>
          <p:nvPicPr>
            <p:cNvPr id="48" name="object 48"/>
            <p:cNvPicPr/>
            <p:nvPr/>
          </p:nvPicPr>
          <p:blipFill>
            <a:blip r:embed="rId31" cstate="screen">
              <a:extLst>
                <a:ext uri="{28A0092B-C50C-407E-A947-70E740481C1C}">
                  <a14:useLocalDpi xmlns:a14="http://schemas.microsoft.com/office/drawing/2010/main"/>
                </a:ext>
              </a:extLst>
            </a:blip>
            <a:stretch>
              <a:fillRect/>
            </a:stretch>
          </p:blipFill>
          <p:spPr>
            <a:xfrm>
              <a:off x="1479804" y="1641678"/>
              <a:ext cx="595668" cy="260908"/>
            </a:xfrm>
            <a:prstGeom prst="rect">
              <a:avLst/>
            </a:prstGeom>
          </p:spPr>
        </p:pic>
        <p:pic>
          <p:nvPicPr>
            <p:cNvPr id="49" name="object 49"/>
            <p:cNvPicPr/>
            <p:nvPr/>
          </p:nvPicPr>
          <p:blipFill>
            <a:blip r:embed="rId32" cstate="screen">
              <a:extLst>
                <a:ext uri="{28A0092B-C50C-407E-A947-70E740481C1C}">
                  <a14:useLocalDpi xmlns:a14="http://schemas.microsoft.com/office/drawing/2010/main"/>
                </a:ext>
              </a:extLst>
            </a:blip>
            <a:stretch>
              <a:fillRect/>
            </a:stretch>
          </p:blipFill>
          <p:spPr>
            <a:xfrm>
              <a:off x="2001012" y="1641678"/>
              <a:ext cx="1122095" cy="260908"/>
            </a:xfrm>
            <a:prstGeom prst="rect">
              <a:avLst/>
            </a:prstGeom>
          </p:spPr>
        </p:pic>
        <p:pic>
          <p:nvPicPr>
            <p:cNvPr id="50" name="object 50"/>
            <p:cNvPicPr/>
            <p:nvPr/>
          </p:nvPicPr>
          <p:blipFill>
            <a:blip r:embed="rId33" cstate="screen">
              <a:extLst>
                <a:ext uri="{28A0092B-C50C-407E-A947-70E740481C1C}">
                  <a14:useLocalDpi xmlns:a14="http://schemas.microsoft.com/office/drawing/2010/main"/>
                </a:ext>
              </a:extLst>
            </a:blip>
            <a:stretch>
              <a:fillRect/>
            </a:stretch>
          </p:blipFill>
          <p:spPr>
            <a:xfrm>
              <a:off x="460248" y="1886077"/>
              <a:ext cx="2314321" cy="260603"/>
            </a:xfrm>
            <a:prstGeom prst="rect">
              <a:avLst/>
            </a:prstGeom>
          </p:spPr>
        </p:pic>
      </p:grpSp>
      <p:graphicFrame>
        <p:nvGraphicFramePr>
          <p:cNvPr id="51" name="object 51"/>
          <p:cNvGraphicFramePr>
            <a:graphicFrameLocks noGrp="1"/>
          </p:cNvGraphicFramePr>
          <p:nvPr/>
        </p:nvGraphicFramePr>
        <p:xfrm>
          <a:off x="3972559" y="1094613"/>
          <a:ext cx="4234814" cy="5656579"/>
        </p:xfrm>
        <a:graphic>
          <a:graphicData uri="http://schemas.openxmlformats.org/drawingml/2006/table">
            <a:tbl>
              <a:tblPr firstRow="1" bandRow="1">
                <a:tableStyleId>{2D5ABB26-0587-4C30-8999-92F81FD0307C}</a:tableStyleId>
              </a:tblPr>
              <a:tblGrid>
                <a:gridCol w="3642360">
                  <a:extLst>
                    <a:ext uri="{9D8B030D-6E8A-4147-A177-3AD203B41FA5}">
                      <a16:colId xmlns:a16="http://schemas.microsoft.com/office/drawing/2014/main" val="20000"/>
                    </a:ext>
                  </a:extLst>
                </a:gridCol>
                <a:gridCol w="592454">
                  <a:extLst>
                    <a:ext uri="{9D8B030D-6E8A-4147-A177-3AD203B41FA5}">
                      <a16:colId xmlns:a16="http://schemas.microsoft.com/office/drawing/2014/main" val="20001"/>
                    </a:ext>
                  </a:extLst>
                </a:gridCol>
              </a:tblGrid>
              <a:tr h="382905">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8FD9C5"/>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8FD9C5"/>
                    </a:solidFill>
                  </a:tcPr>
                </a:tc>
                <a:extLst>
                  <a:ext uri="{0D108BD9-81ED-4DB2-BD59-A6C34878D82A}">
                    <a16:rowId xmlns:a16="http://schemas.microsoft.com/office/drawing/2014/main" val="10000"/>
                  </a:ext>
                </a:extLst>
              </a:tr>
              <a:tr h="31877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BF0EA"/>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BF0EA"/>
                    </a:solidFill>
                  </a:tcPr>
                </a:tc>
                <a:extLst>
                  <a:ext uri="{0D108BD9-81ED-4DB2-BD59-A6C34878D82A}">
                    <a16:rowId xmlns:a16="http://schemas.microsoft.com/office/drawing/2014/main" val="10001"/>
                  </a:ext>
                </a:extLst>
              </a:tr>
              <a:tr h="31877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extLst>
                  <a:ext uri="{0D108BD9-81ED-4DB2-BD59-A6C34878D82A}">
                    <a16:rowId xmlns:a16="http://schemas.microsoft.com/office/drawing/2014/main" val="10002"/>
                  </a:ext>
                </a:extLst>
              </a:tr>
              <a:tr h="35941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extLst>
                  <a:ext uri="{0D108BD9-81ED-4DB2-BD59-A6C34878D82A}">
                    <a16:rowId xmlns:a16="http://schemas.microsoft.com/office/drawing/2014/main" val="10003"/>
                  </a:ext>
                </a:extLst>
              </a:tr>
              <a:tr h="35941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extLst>
                  <a:ext uri="{0D108BD9-81ED-4DB2-BD59-A6C34878D82A}">
                    <a16:rowId xmlns:a16="http://schemas.microsoft.com/office/drawing/2014/main" val="10004"/>
                  </a:ext>
                </a:extLst>
              </a:tr>
              <a:tr h="31877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extLst>
                  <a:ext uri="{0D108BD9-81ED-4DB2-BD59-A6C34878D82A}">
                    <a16:rowId xmlns:a16="http://schemas.microsoft.com/office/drawing/2014/main" val="10005"/>
                  </a:ext>
                </a:extLst>
              </a:tr>
              <a:tr h="32385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extLst>
                  <a:ext uri="{0D108BD9-81ED-4DB2-BD59-A6C34878D82A}">
                    <a16:rowId xmlns:a16="http://schemas.microsoft.com/office/drawing/2014/main" val="10006"/>
                  </a:ext>
                </a:extLst>
              </a:tr>
              <a:tr h="31877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extLst>
                  <a:ext uri="{0D108BD9-81ED-4DB2-BD59-A6C34878D82A}">
                    <a16:rowId xmlns:a16="http://schemas.microsoft.com/office/drawing/2014/main" val="10007"/>
                  </a:ext>
                </a:extLst>
              </a:tr>
              <a:tr h="47879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extLst>
                  <a:ext uri="{0D108BD9-81ED-4DB2-BD59-A6C34878D82A}">
                    <a16:rowId xmlns:a16="http://schemas.microsoft.com/office/drawing/2014/main" val="10008"/>
                  </a:ext>
                </a:extLst>
              </a:tr>
              <a:tr h="47879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extLst>
                  <a:ext uri="{0D108BD9-81ED-4DB2-BD59-A6C34878D82A}">
                    <a16:rowId xmlns:a16="http://schemas.microsoft.com/office/drawing/2014/main" val="10009"/>
                  </a:ext>
                </a:extLst>
              </a:tr>
              <a:tr h="47879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extLst>
                  <a:ext uri="{0D108BD9-81ED-4DB2-BD59-A6C34878D82A}">
                    <a16:rowId xmlns:a16="http://schemas.microsoft.com/office/drawing/2014/main" val="10010"/>
                  </a:ext>
                </a:extLst>
              </a:tr>
              <a:tr h="32385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extLst>
                  <a:ext uri="{0D108BD9-81ED-4DB2-BD59-A6C34878D82A}">
                    <a16:rowId xmlns:a16="http://schemas.microsoft.com/office/drawing/2014/main" val="10011"/>
                  </a:ext>
                </a:extLst>
              </a:tr>
              <a:tr h="476884">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extLst>
                  <a:ext uri="{0D108BD9-81ED-4DB2-BD59-A6C34878D82A}">
                    <a16:rowId xmlns:a16="http://schemas.microsoft.com/office/drawing/2014/main" val="10012"/>
                  </a:ext>
                </a:extLst>
              </a:tr>
              <a:tr h="35941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BF0EA"/>
                    </a:solidFill>
                  </a:tcPr>
                </a:tc>
                <a:extLst>
                  <a:ext uri="{0D108BD9-81ED-4DB2-BD59-A6C34878D82A}">
                    <a16:rowId xmlns:a16="http://schemas.microsoft.com/office/drawing/2014/main" val="10013"/>
                  </a:ext>
                </a:extLst>
              </a:tr>
              <a:tr h="359410">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tc>
                  <a:txBody>
                    <a:bodyPr/>
                    <a:lstStyle/>
                    <a:p>
                      <a:pPr>
                        <a:lnSpc>
                          <a:spcPct val="100000"/>
                        </a:lnSpc>
                      </a:pPr>
                      <a:endParaRPr sz="1500" dirty="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DF8F5"/>
                    </a:solidFill>
                  </a:tcPr>
                </a:tc>
                <a:extLst>
                  <a:ext uri="{0D108BD9-81ED-4DB2-BD59-A6C34878D82A}">
                    <a16:rowId xmlns:a16="http://schemas.microsoft.com/office/drawing/2014/main" val="10014"/>
                  </a:ext>
                </a:extLst>
              </a:tr>
            </a:tbl>
          </a:graphicData>
        </a:graphic>
      </p:graphicFrame>
      <p:pic>
        <p:nvPicPr>
          <p:cNvPr id="52" name="object 52"/>
          <p:cNvPicPr/>
          <p:nvPr/>
        </p:nvPicPr>
        <p:blipFill>
          <a:blip r:embed="rId34" cstate="screen">
            <a:extLst>
              <a:ext uri="{28A0092B-C50C-407E-A947-70E740481C1C}">
                <a14:useLocalDpi xmlns:a14="http://schemas.microsoft.com/office/drawing/2010/main"/>
              </a:ext>
            </a:extLst>
          </a:blip>
          <a:stretch>
            <a:fillRect/>
          </a:stretch>
        </p:blipFill>
        <p:spPr>
          <a:xfrm>
            <a:off x="4070858" y="1134744"/>
            <a:ext cx="644436" cy="260603"/>
          </a:xfrm>
          <a:prstGeom prst="rect">
            <a:avLst/>
          </a:prstGeom>
        </p:spPr>
      </p:pic>
      <p:pic>
        <p:nvPicPr>
          <p:cNvPr id="53" name="object 53"/>
          <p:cNvPicPr/>
          <p:nvPr/>
        </p:nvPicPr>
        <p:blipFill>
          <a:blip r:embed="rId35" cstate="screen">
            <a:extLst>
              <a:ext uri="{28A0092B-C50C-407E-A947-70E740481C1C}">
                <a14:useLocalDpi xmlns:a14="http://schemas.microsoft.com/office/drawing/2010/main"/>
              </a:ext>
            </a:extLst>
          </a:blip>
          <a:stretch>
            <a:fillRect/>
          </a:stretch>
        </p:blipFill>
        <p:spPr>
          <a:xfrm>
            <a:off x="7713598" y="1134744"/>
            <a:ext cx="420624" cy="260603"/>
          </a:xfrm>
          <a:prstGeom prst="rect">
            <a:avLst/>
          </a:prstGeom>
        </p:spPr>
      </p:pic>
      <p:grpSp>
        <p:nvGrpSpPr>
          <p:cNvPr id="54" name="object 54"/>
          <p:cNvGrpSpPr/>
          <p:nvPr/>
        </p:nvGrpSpPr>
        <p:grpSpPr>
          <a:xfrm>
            <a:off x="4070858" y="1520952"/>
            <a:ext cx="2507615" cy="195580"/>
            <a:chOff x="4070858" y="1520952"/>
            <a:chExt cx="2507615" cy="195580"/>
          </a:xfrm>
        </p:grpSpPr>
        <p:pic>
          <p:nvPicPr>
            <p:cNvPr id="55" name="object 55"/>
            <p:cNvPicPr/>
            <p:nvPr/>
          </p:nvPicPr>
          <p:blipFill>
            <a:blip r:embed="rId36" cstate="screen">
              <a:extLst>
                <a:ext uri="{28A0092B-C50C-407E-A947-70E740481C1C}">
                  <a14:useLocalDpi xmlns:a14="http://schemas.microsoft.com/office/drawing/2010/main"/>
                </a:ext>
              </a:extLst>
            </a:blip>
            <a:stretch>
              <a:fillRect/>
            </a:stretch>
          </p:blipFill>
          <p:spPr>
            <a:xfrm>
              <a:off x="4070858" y="1520952"/>
              <a:ext cx="1106766" cy="195072"/>
            </a:xfrm>
            <a:prstGeom prst="rect">
              <a:avLst/>
            </a:prstGeom>
          </p:spPr>
        </p:pic>
        <p:pic>
          <p:nvPicPr>
            <p:cNvPr id="56" name="object 56"/>
            <p:cNvPicPr/>
            <p:nvPr/>
          </p:nvPicPr>
          <p:blipFill>
            <a:blip r:embed="rId37" cstate="screen">
              <a:extLst>
                <a:ext uri="{28A0092B-C50C-407E-A947-70E740481C1C}">
                  <a14:useLocalDpi xmlns:a14="http://schemas.microsoft.com/office/drawing/2010/main"/>
                </a:ext>
              </a:extLst>
            </a:blip>
            <a:stretch>
              <a:fillRect/>
            </a:stretch>
          </p:blipFill>
          <p:spPr>
            <a:xfrm>
              <a:off x="5119370" y="1520952"/>
              <a:ext cx="176784" cy="195072"/>
            </a:xfrm>
            <a:prstGeom prst="rect">
              <a:avLst/>
            </a:prstGeom>
          </p:spPr>
        </p:pic>
        <p:pic>
          <p:nvPicPr>
            <p:cNvPr id="57" name="object 57"/>
            <p:cNvPicPr/>
            <p:nvPr/>
          </p:nvPicPr>
          <p:blipFill>
            <a:blip r:embed="rId38" cstate="screen">
              <a:extLst>
                <a:ext uri="{28A0092B-C50C-407E-A947-70E740481C1C}">
                  <a14:useLocalDpi xmlns:a14="http://schemas.microsoft.com/office/drawing/2010/main"/>
                </a:ext>
              </a:extLst>
            </a:blip>
            <a:stretch>
              <a:fillRect/>
            </a:stretch>
          </p:blipFill>
          <p:spPr>
            <a:xfrm>
              <a:off x="5242814" y="1520952"/>
              <a:ext cx="310896" cy="195072"/>
            </a:xfrm>
            <a:prstGeom prst="rect">
              <a:avLst/>
            </a:prstGeom>
          </p:spPr>
        </p:pic>
        <p:pic>
          <p:nvPicPr>
            <p:cNvPr id="58" name="object 58"/>
            <p:cNvPicPr/>
            <p:nvPr/>
          </p:nvPicPr>
          <p:blipFill>
            <a:blip r:embed="rId39" cstate="screen">
              <a:extLst>
                <a:ext uri="{28A0092B-C50C-407E-A947-70E740481C1C}">
                  <a14:useLocalDpi xmlns:a14="http://schemas.microsoft.com/office/drawing/2010/main"/>
                </a:ext>
              </a:extLst>
            </a:blip>
            <a:stretch>
              <a:fillRect/>
            </a:stretch>
          </p:blipFill>
          <p:spPr>
            <a:xfrm>
              <a:off x="5475986" y="1520952"/>
              <a:ext cx="106679" cy="195072"/>
            </a:xfrm>
            <a:prstGeom prst="rect">
              <a:avLst/>
            </a:prstGeom>
          </p:spPr>
        </p:pic>
        <p:pic>
          <p:nvPicPr>
            <p:cNvPr id="59" name="object 59"/>
            <p:cNvPicPr/>
            <p:nvPr/>
          </p:nvPicPr>
          <p:blipFill>
            <a:blip r:embed="rId40" cstate="screen">
              <a:extLst>
                <a:ext uri="{28A0092B-C50C-407E-A947-70E740481C1C}">
                  <a14:useLocalDpi xmlns:a14="http://schemas.microsoft.com/office/drawing/2010/main"/>
                </a:ext>
              </a:extLst>
            </a:blip>
            <a:stretch>
              <a:fillRect/>
            </a:stretch>
          </p:blipFill>
          <p:spPr>
            <a:xfrm>
              <a:off x="5529326" y="1520952"/>
              <a:ext cx="1048842" cy="195072"/>
            </a:xfrm>
            <a:prstGeom prst="rect">
              <a:avLst/>
            </a:prstGeom>
          </p:spPr>
        </p:pic>
      </p:grpSp>
      <p:pic>
        <p:nvPicPr>
          <p:cNvPr id="60" name="object 60"/>
          <p:cNvPicPr/>
          <p:nvPr/>
        </p:nvPicPr>
        <p:blipFill>
          <a:blip r:embed="rId41" cstate="screen">
            <a:extLst>
              <a:ext uri="{28A0092B-C50C-407E-A947-70E740481C1C}">
                <a14:useLocalDpi xmlns:a14="http://schemas.microsoft.com/office/drawing/2010/main"/>
              </a:ext>
            </a:extLst>
          </a:blip>
          <a:stretch>
            <a:fillRect/>
          </a:stretch>
        </p:blipFill>
        <p:spPr>
          <a:xfrm>
            <a:off x="7874254" y="1543558"/>
            <a:ext cx="173735" cy="195072"/>
          </a:xfrm>
          <a:prstGeom prst="rect">
            <a:avLst/>
          </a:prstGeom>
        </p:spPr>
      </p:pic>
      <p:grpSp>
        <p:nvGrpSpPr>
          <p:cNvPr id="61" name="object 61"/>
          <p:cNvGrpSpPr/>
          <p:nvPr/>
        </p:nvGrpSpPr>
        <p:grpSpPr>
          <a:xfrm>
            <a:off x="4070858" y="1840357"/>
            <a:ext cx="2269490" cy="195580"/>
            <a:chOff x="4070858" y="1840357"/>
            <a:chExt cx="2269490" cy="195580"/>
          </a:xfrm>
        </p:grpSpPr>
        <p:pic>
          <p:nvPicPr>
            <p:cNvPr id="62" name="object 62"/>
            <p:cNvPicPr/>
            <p:nvPr/>
          </p:nvPicPr>
          <p:blipFill>
            <a:blip r:embed="rId42" cstate="screen">
              <a:extLst>
                <a:ext uri="{28A0092B-C50C-407E-A947-70E740481C1C}">
                  <a14:useLocalDpi xmlns:a14="http://schemas.microsoft.com/office/drawing/2010/main"/>
                </a:ext>
              </a:extLst>
            </a:blip>
            <a:stretch>
              <a:fillRect/>
            </a:stretch>
          </p:blipFill>
          <p:spPr>
            <a:xfrm>
              <a:off x="4070858" y="1840357"/>
              <a:ext cx="1400175" cy="195072"/>
            </a:xfrm>
            <a:prstGeom prst="rect">
              <a:avLst/>
            </a:prstGeom>
          </p:spPr>
        </p:pic>
        <p:pic>
          <p:nvPicPr>
            <p:cNvPr id="63" name="object 63"/>
            <p:cNvPicPr/>
            <p:nvPr/>
          </p:nvPicPr>
          <p:blipFill>
            <a:blip r:embed="rId37" cstate="screen">
              <a:extLst>
                <a:ext uri="{28A0092B-C50C-407E-A947-70E740481C1C}">
                  <a14:useLocalDpi xmlns:a14="http://schemas.microsoft.com/office/drawing/2010/main"/>
                </a:ext>
              </a:extLst>
            </a:blip>
            <a:stretch>
              <a:fillRect/>
            </a:stretch>
          </p:blipFill>
          <p:spPr>
            <a:xfrm>
              <a:off x="5407406" y="1840357"/>
              <a:ext cx="176784" cy="195072"/>
            </a:xfrm>
            <a:prstGeom prst="rect">
              <a:avLst/>
            </a:prstGeom>
          </p:spPr>
        </p:pic>
        <p:pic>
          <p:nvPicPr>
            <p:cNvPr id="64" name="object 64"/>
            <p:cNvPicPr/>
            <p:nvPr/>
          </p:nvPicPr>
          <p:blipFill>
            <a:blip r:embed="rId43" cstate="screen">
              <a:extLst>
                <a:ext uri="{28A0092B-C50C-407E-A947-70E740481C1C}">
                  <a14:useLocalDpi xmlns:a14="http://schemas.microsoft.com/office/drawing/2010/main"/>
                </a:ext>
              </a:extLst>
            </a:blip>
            <a:stretch>
              <a:fillRect/>
            </a:stretch>
          </p:blipFill>
          <p:spPr>
            <a:xfrm>
              <a:off x="5530850" y="1840357"/>
              <a:ext cx="809320" cy="195072"/>
            </a:xfrm>
            <a:prstGeom prst="rect">
              <a:avLst/>
            </a:prstGeom>
          </p:spPr>
        </p:pic>
      </p:grpSp>
      <p:pic>
        <p:nvPicPr>
          <p:cNvPr id="65" name="object 65"/>
          <p:cNvPicPr/>
          <p:nvPr/>
        </p:nvPicPr>
        <p:blipFill>
          <a:blip r:embed="rId44" cstate="screen">
            <a:extLst>
              <a:ext uri="{28A0092B-C50C-407E-A947-70E740481C1C}">
                <a14:useLocalDpi xmlns:a14="http://schemas.microsoft.com/office/drawing/2010/main"/>
              </a:ext>
            </a:extLst>
          </a:blip>
          <a:stretch>
            <a:fillRect/>
          </a:stretch>
        </p:blipFill>
        <p:spPr>
          <a:xfrm>
            <a:off x="7874254" y="1862963"/>
            <a:ext cx="173735" cy="195072"/>
          </a:xfrm>
          <a:prstGeom prst="rect">
            <a:avLst/>
          </a:prstGeom>
        </p:spPr>
      </p:pic>
      <p:grpSp>
        <p:nvGrpSpPr>
          <p:cNvPr id="66" name="object 66"/>
          <p:cNvGrpSpPr/>
          <p:nvPr/>
        </p:nvGrpSpPr>
        <p:grpSpPr>
          <a:xfrm>
            <a:off x="4070858" y="2159203"/>
            <a:ext cx="2281555" cy="195580"/>
            <a:chOff x="4070858" y="2159203"/>
            <a:chExt cx="2281555" cy="195580"/>
          </a:xfrm>
        </p:grpSpPr>
        <p:pic>
          <p:nvPicPr>
            <p:cNvPr id="67" name="object 67"/>
            <p:cNvPicPr/>
            <p:nvPr/>
          </p:nvPicPr>
          <p:blipFill>
            <a:blip r:embed="rId45" cstate="screen">
              <a:extLst>
                <a:ext uri="{28A0092B-C50C-407E-A947-70E740481C1C}">
                  <a14:useLocalDpi xmlns:a14="http://schemas.microsoft.com/office/drawing/2010/main"/>
                </a:ext>
              </a:extLst>
            </a:blip>
            <a:stretch>
              <a:fillRect/>
            </a:stretch>
          </p:blipFill>
          <p:spPr>
            <a:xfrm>
              <a:off x="4070858" y="2159203"/>
              <a:ext cx="1238935" cy="195376"/>
            </a:xfrm>
            <a:prstGeom prst="rect">
              <a:avLst/>
            </a:prstGeom>
          </p:spPr>
        </p:pic>
        <p:pic>
          <p:nvPicPr>
            <p:cNvPr id="68" name="object 68"/>
            <p:cNvPicPr/>
            <p:nvPr/>
          </p:nvPicPr>
          <p:blipFill>
            <a:blip r:embed="rId37" cstate="screen">
              <a:extLst>
                <a:ext uri="{28A0092B-C50C-407E-A947-70E740481C1C}">
                  <a14:useLocalDpi xmlns:a14="http://schemas.microsoft.com/office/drawing/2010/main"/>
                </a:ext>
              </a:extLst>
            </a:blip>
            <a:stretch>
              <a:fillRect/>
            </a:stretch>
          </p:blipFill>
          <p:spPr>
            <a:xfrm>
              <a:off x="5253482" y="2159203"/>
              <a:ext cx="176784" cy="195376"/>
            </a:xfrm>
            <a:prstGeom prst="rect">
              <a:avLst/>
            </a:prstGeom>
          </p:spPr>
        </p:pic>
        <p:pic>
          <p:nvPicPr>
            <p:cNvPr id="69" name="object 69"/>
            <p:cNvPicPr/>
            <p:nvPr/>
          </p:nvPicPr>
          <p:blipFill>
            <a:blip r:embed="rId46" cstate="screen">
              <a:extLst>
                <a:ext uri="{28A0092B-C50C-407E-A947-70E740481C1C}">
                  <a14:useLocalDpi xmlns:a14="http://schemas.microsoft.com/office/drawing/2010/main"/>
                </a:ext>
              </a:extLst>
            </a:blip>
            <a:stretch>
              <a:fillRect/>
            </a:stretch>
          </p:blipFill>
          <p:spPr>
            <a:xfrm>
              <a:off x="5376926" y="2159203"/>
              <a:ext cx="975220" cy="195376"/>
            </a:xfrm>
            <a:prstGeom prst="rect">
              <a:avLst/>
            </a:prstGeom>
          </p:spPr>
        </p:pic>
      </p:grpSp>
      <p:pic>
        <p:nvPicPr>
          <p:cNvPr id="70" name="object 70"/>
          <p:cNvPicPr/>
          <p:nvPr/>
        </p:nvPicPr>
        <p:blipFill>
          <a:blip r:embed="rId47" cstate="screen">
            <a:extLst>
              <a:ext uri="{28A0092B-C50C-407E-A947-70E740481C1C}">
                <a14:useLocalDpi xmlns:a14="http://schemas.microsoft.com/office/drawing/2010/main"/>
              </a:ext>
            </a:extLst>
          </a:blip>
          <a:stretch>
            <a:fillRect/>
          </a:stretch>
        </p:blipFill>
        <p:spPr>
          <a:xfrm>
            <a:off x="7874254" y="2202433"/>
            <a:ext cx="173735" cy="195072"/>
          </a:xfrm>
          <a:prstGeom prst="rect">
            <a:avLst/>
          </a:prstGeom>
        </p:spPr>
      </p:pic>
      <p:grpSp>
        <p:nvGrpSpPr>
          <p:cNvPr id="71" name="object 71"/>
          <p:cNvGrpSpPr/>
          <p:nvPr/>
        </p:nvGrpSpPr>
        <p:grpSpPr>
          <a:xfrm>
            <a:off x="4070858" y="2519121"/>
            <a:ext cx="3179445" cy="195580"/>
            <a:chOff x="4070858" y="2519121"/>
            <a:chExt cx="3179445" cy="195580"/>
          </a:xfrm>
        </p:grpSpPr>
        <p:pic>
          <p:nvPicPr>
            <p:cNvPr id="72" name="object 72"/>
            <p:cNvPicPr/>
            <p:nvPr/>
          </p:nvPicPr>
          <p:blipFill>
            <a:blip r:embed="rId48" cstate="screen">
              <a:extLst>
                <a:ext uri="{28A0092B-C50C-407E-A947-70E740481C1C}">
                  <a14:useLocalDpi xmlns:a14="http://schemas.microsoft.com/office/drawing/2010/main"/>
                </a:ext>
              </a:extLst>
            </a:blip>
            <a:stretch>
              <a:fillRect/>
            </a:stretch>
          </p:blipFill>
          <p:spPr>
            <a:xfrm>
              <a:off x="4070858" y="2519121"/>
              <a:ext cx="1966722" cy="195376"/>
            </a:xfrm>
            <a:prstGeom prst="rect">
              <a:avLst/>
            </a:prstGeom>
          </p:spPr>
        </p:pic>
        <p:pic>
          <p:nvPicPr>
            <p:cNvPr id="73" name="object 73"/>
            <p:cNvPicPr/>
            <p:nvPr/>
          </p:nvPicPr>
          <p:blipFill>
            <a:blip r:embed="rId37" cstate="screen">
              <a:extLst>
                <a:ext uri="{28A0092B-C50C-407E-A947-70E740481C1C}">
                  <a14:useLocalDpi xmlns:a14="http://schemas.microsoft.com/office/drawing/2010/main"/>
                </a:ext>
              </a:extLst>
            </a:blip>
            <a:stretch>
              <a:fillRect/>
            </a:stretch>
          </p:blipFill>
          <p:spPr>
            <a:xfrm>
              <a:off x="5976239" y="2519121"/>
              <a:ext cx="176784" cy="195376"/>
            </a:xfrm>
            <a:prstGeom prst="rect">
              <a:avLst/>
            </a:prstGeom>
          </p:spPr>
        </p:pic>
        <p:pic>
          <p:nvPicPr>
            <p:cNvPr id="74" name="object 74"/>
            <p:cNvPicPr/>
            <p:nvPr/>
          </p:nvPicPr>
          <p:blipFill>
            <a:blip r:embed="rId49" cstate="screen">
              <a:extLst>
                <a:ext uri="{28A0092B-C50C-407E-A947-70E740481C1C}">
                  <a14:useLocalDpi xmlns:a14="http://schemas.microsoft.com/office/drawing/2010/main"/>
                </a:ext>
              </a:extLst>
            </a:blip>
            <a:stretch>
              <a:fillRect/>
            </a:stretch>
          </p:blipFill>
          <p:spPr>
            <a:xfrm>
              <a:off x="6101207" y="2519121"/>
              <a:ext cx="1148613" cy="195376"/>
            </a:xfrm>
            <a:prstGeom prst="rect">
              <a:avLst/>
            </a:prstGeom>
          </p:spPr>
        </p:pic>
      </p:grpSp>
      <p:pic>
        <p:nvPicPr>
          <p:cNvPr id="75" name="object 75"/>
          <p:cNvPicPr/>
          <p:nvPr/>
        </p:nvPicPr>
        <p:blipFill>
          <a:blip r:embed="rId50" cstate="screen">
            <a:extLst>
              <a:ext uri="{28A0092B-C50C-407E-A947-70E740481C1C}">
                <a14:useLocalDpi xmlns:a14="http://schemas.microsoft.com/office/drawing/2010/main"/>
              </a:ext>
            </a:extLst>
          </a:blip>
          <a:stretch>
            <a:fillRect/>
          </a:stretch>
        </p:blipFill>
        <p:spPr>
          <a:xfrm>
            <a:off x="7874254" y="2562479"/>
            <a:ext cx="173735" cy="195072"/>
          </a:xfrm>
          <a:prstGeom prst="rect">
            <a:avLst/>
          </a:prstGeom>
        </p:spPr>
      </p:pic>
      <p:grpSp>
        <p:nvGrpSpPr>
          <p:cNvPr id="76" name="object 76"/>
          <p:cNvGrpSpPr/>
          <p:nvPr/>
        </p:nvGrpSpPr>
        <p:grpSpPr>
          <a:xfrm>
            <a:off x="4070858" y="2879725"/>
            <a:ext cx="2790190" cy="195580"/>
            <a:chOff x="4070858" y="2879725"/>
            <a:chExt cx="2790190" cy="195580"/>
          </a:xfrm>
        </p:grpSpPr>
        <p:pic>
          <p:nvPicPr>
            <p:cNvPr id="77" name="object 77"/>
            <p:cNvPicPr/>
            <p:nvPr/>
          </p:nvPicPr>
          <p:blipFill>
            <a:blip r:embed="rId51" cstate="screen">
              <a:extLst>
                <a:ext uri="{28A0092B-C50C-407E-A947-70E740481C1C}">
                  <a14:useLocalDpi xmlns:a14="http://schemas.microsoft.com/office/drawing/2010/main"/>
                </a:ext>
              </a:extLst>
            </a:blip>
            <a:stretch>
              <a:fillRect/>
            </a:stretch>
          </p:blipFill>
          <p:spPr>
            <a:xfrm>
              <a:off x="4070858" y="2879725"/>
              <a:ext cx="1370202" cy="195072"/>
            </a:xfrm>
            <a:prstGeom prst="rect">
              <a:avLst/>
            </a:prstGeom>
          </p:spPr>
        </p:pic>
        <p:pic>
          <p:nvPicPr>
            <p:cNvPr id="78" name="object 78"/>
            <p:cNvPicPr/>
            <p:nvPr/>
          </p:nvPicPr>
          <p:blipFill>
            <a:blip r:embed="rId37" cstate="screen">
              <a:extLst>
                <a:ext uri="{28A0092B-C50C-407E-A947-70E740481C1C}">
                  <a14:useLocalDpi xmlns:a14="http://schemas.microsoft.com/office/drawing/2010/main"/>
                </a:ext>
              </a:extLst>
            </a:blip>
            <a:stretch>
              <a:fillRect/>
            </a:stretch>
          </p:blipFill>
          <p:spPr>
            <a:xfrm>
              <a:off x="5381498" y="2879725"/>
              <a:ext cx="176784" cy="195072"/>
            </a:xfrm>
            <a:prstGeom prst="rect">
              <a:avLst/>
            </a:prstGeom>
          </p:spPr>
        </p:pic>
        <p:pic>
          <p:nvPicPr>
            <p:cNvPr id="79" name="object 79"/>
            <p:cNvPicPr/>
            <p:nvPr/>
          </p:nvPicPr>
          <p:blipFill>
            <a:blip r:embed="rId52" cstate="screen">
              <a:extLst>
                <a:ext uri="{28A0092B-C50C-407E-A947-70E740481C1C}">
                  <a14:useLocalDpi xmlns:a14="http://schemas.microsoft.com/office/drawing/2010/main"/>
                </a:ext>
              </a:extLst>
            </a:blip>
            <a:stretch>
              <a:fillRect/>
            </a:stretch>
          </p:blipFill>
          <p:spPr>
            <a:xfrm>
              <a:off x="5504942" y="2879725"/>
              <a:ext cx="1355852" cy="195072"/>
            </a:xfrm>
            <a:prstGeom prst="rect">
              <a:avLst/>
            </a:prstGeom>
          </p:spPr>
        </p:pic>
      </p:grpSp>
      <p:pic>
        <p:nvPicPr>
          <p:cNvPr id="80" name="object 80"/>
          <p:cNvPicPr/>
          <p:nvPr/>
        </p:nvPicPr>
        <p:blipFill>
          <a:blip r:embed="rId53" cstate="screen">
            <a:extLst>
              <a:ext uri="{28A0092B-C50C-407E-A947-70E740481C1C}">
                <a14:useLocalDpi xmlns:a14="http://schemas.microsoft.com/office/drawing/2010/main"/>
              </a:ext>
            </a:extLst>
          </a:blip>
          <a:stretch>
            <a:fillRect/>
          </a:stretch>
        </p:blipFill>
        <p:spPr>
          <a:xfrm>
            <a:off x="7874254" y="2901950"/>
            <a:ext cx="173735" cy="195072"/>
          </a:xfrm>
          <a:prstGeom prst="rect">
            <a:avLst/>
          </a:prstGeom>
        </p:spPr>
      </p:pic>
      <p:grpSp>
        <p:nvGrpSpPr>
          <p:cNvPr id="81" name="object 81"/>
          <p:cNvGrpSpPr/>
          <p:nvPr/>
        </p:nvGrpSpPr>
        <p:grpSpPr>
          <a:xfrm>
            <a:off x="4070858" y="3198876"/>
            <a:ext cx="3048635" cy="195580"/>
            <a:chOff x="4070858" y="3198876"/>
            <a:chExt cx="3048635" cy="195580"/>
          </a:xfrm>
        </p:grpSpPr>
        <p:pic>
          <p:nvPicPr>
            <p:cNvPr id="82" name="object 82"/>
            <p:cNvPicPr/>
            <p:nvPr/>
          </p:nvPicPr>
          <p:blipFill>
            <a:blip r:embed="rId54" cstate="screen">
              <a:extLst>
                <a:ext uri="{28A0092B-C50C-407E-A947-70E740481C1C}">
                  <a14:useLocalDpi xmlns:a14="http://schemas.microsoft.com/office/drawing/2010/main"/>
                </a:ext>
              </a:extLst>
            </a:blip>
            <a:stretch>
              <a:fillRect/>
            </a:stretch>
          </p:blipFill>
          <p:spPr>
            <a:xfrm>
              <a:off x="4070858" y="3198876"/>
              <a:ext cx="2177795" cy="195072"/>
            </a:xfrm>
            <a:prstGeom prst="rect">
              <a:avLst/>
            </a:prstGeom>
          </p:spPr>
        </p:pic>
        <p:pic>
          <p:nvPicPr>
            <p:cNvPr id="83" name="object 83"/>
            <p:cNvPicPr/>
            <p:nvPr/>
          </p:nvPicPr>
          <p:blipFill>
            <a:blip r:embed="rId37" cstate="screen">
              <a:extLst>
                <a:ext uri="{28A0092B-C50C-407E-A947-70E740481C1C}">
                  <a14:useLocalDpi xmlns:a14="http://schemas.microsoft.com/office/drawing/2010/main"/>
                </a:ext>
              </a:extLst>
            </a:blip>
            <a:stretch>
              <a:fillRect/>
            </a:stretch>
          </p:blipFill>
          <p:spPr>
            <a:xfrm>
              <a:off x="6186551" y="3198876"/>
              <a:ext cx="176784" cy="195072"/>
            </a:xfrm>
            <a:prstGeom prst="rect">
              <a:avLst/>
            </a:prstGeom>
          </p:spPr>
        </p:pic>
        <p:pic>
          <p:nvPicPr>
            <p:cNvPr id="84" name="object 84"/>
            <p:cNvPicPr/>
            <p:nvPr/>
          </p:nvPicPr>
          <p:blipFill>
            <a:blip r:embed="rId55" cstate="screen">
              <a:extLst>
                <a:ext uri="{28A0092B-C50C-407E-A947-70E740481C1C}">
                  <a14:useLocalDpi xmlns:a14="http://schemas.microsoft.com/office/drawing/2010/main"/>
                </a:ext>
              </a:extLst>
            </a:blip>
            <a:stretch>
              <a:fillRect/>
            </a:stretch>
          </p:blipFill>
          <p:spPr>
            <a:xfrm>
              <a:off x="6309995" y="3198876"/>
              <a:ext cx="808990" cy="195072"/>
            </a:xfrm>
            <a:prstGeom prst="rect">
              <a:avLst/>
            </a:prstGeom>
          </p:spPr>
        </p:pic>
      </p:grpSp>
      <p:pic>
        <p:nvPicPr>
          <p:cNvPr id="85" name="object 85"/>
          <p:cNvPicPr/>
          <p:nvPr/>
        </p:nvPicPr>
        <p:blipFill>
          <a:blip r:embed="rId56" cstate="screen">
            <a:extLst>
              <a:ext uri="{28A0092B-C50C-407E-A947-70E740481C1C}">
                <a14:useLocalDpi xmlns:a14="http://schemas.microsoft.com/office/drawing/2010/main"/>
              </a:ext>
            </a:extLst>
          </a:blip>
          <a:stretch>
            <a:fillRect/>
          </a:stretch>
        </p:blipFill>
        <p:spPr>
          <a:xfrm>
            <a:off x="7874254" y="3223895"/>
            <a:ext cx="173735" cy="195072"/>
          </a:xfrm>
          <a:prstGeom prst="rect">
            <a:avLst/>
          </a:prstGeom>
        </p:spPr>
      </p:pic>
      <p:grpSp>
        <p:nvGrpSpPr>
          <p:cNvPr id="86" name="object 86"/>
          <p:cNvGrpSpPr/>
          <p:nvPr/>
        </p:nvGrpSpPr>
        <p:grpSpPr>
          <a:xfrm>
            <a:off x="4070858" y="3523234"/>
            <a:ext cx="1742439" cy="195580"/>
            <a:chOff x="4070858" y="3523234"/>
            <a:chExt cx="1742439" cy="195580"/>
          </a:xfrm>
        </p:grpSpPr>
        <p:pic>
          <p:nvPicPr>
            <p:cNvPr id="87" name="object 87"/>
            <p:cNvPicPr/>
            <p:nvPr/>
          </p:nvPicPr>
          <p:blipFill>
            <a:blip r:embed="rId57" cstate="screen">
              <a:extLst>
                <a:ext uri="{28A0092B-C50C-407E-A947-70E740481C1C}">
                  <a14:useLocalDpi xmlns:a14="http://schemas.microsoft.com/office/drawing/2010/main"/>
                </a:ext>
              </a:extLst>
            </a:blip>
            <a:stretch>
              <a:fillRect/>
            </a:stretch>
          </p:blipFill>
          <p:spPr>
            <a:xfrm>
              <a:off x="4070858" y="3523234"/>
              <a:ext cx="1185506" cy="195071"/>
            </a:xfrm>
            <a:prstGeom prst="rect">
              <a:avLst/>
            </a:prstGeom>
          </p:spPr>
        </p:pic>
        <p:pic>
          <p:nvPicPr>
            <p:cNvPr id="88" name="object 88"/>
            <p:cNvPicPr/>
            <p:nvPr/>
          </p:nvPicPr>
          <p:blipFill>
            <a:blip r:embed="rId37" cstate="screen">
              <a:extLst>
                <a:ext uri="{28A0092B-C50C-407E-A947-70E740481C1C}">
                  <a14:useLocalDpi xmlns:a14="http://schemas.microsoft.com/office/drawing/2010/main"/>
                </a:ext>
              </a:extLst>
            </a:blip>
            <a:stretch>
              <a:fillRect/>
            </a:stretch>
          </p:blipFill>
          <p:spPr>
            <a:xfrm>
              <a:off x="5197094" y="3523234"/>
              <a:ext cx="176784" cy="195071"/>
            </a:xfrm>
            <a:prstGeom prst="rect">
              <a:avLst/>
            </a:prstGeom>
          </p:spPr>
        </p:pic>
        <p:pic>
          <p:nvPicPr>
            <p:cNvPr id="89" name="object 89"/>
            <p:cNvPicPr/>
            <p:nvPr/>
          </p:nvPicPr>
          <p:blipFill>
            <a:blip r:embed="rId58" cstate="screen">
              <a:extLst>
                <a:ext uri="{28A0092B-C50C-407E-A947-70E740481C1C}">
                  <a14:useLocalDpi xmlns:a14="http://schemas.microsoft.com/office/drawing/2010/main"/>
                </a:ext>
              </a:extLst>
            </a:blip>
            <a:stretch>
              <a:fillRect/>
            </a:stretch>
          </p:blipFill>
          <p:spPr>
            <a:xfrm>
              <a:off x="5322062" y="3523234"/>
              <a:ext cx="490689" cy="195071"/>
            </a:xfrm>
            <a:prstGeom prst="rect">
              <a:avLst/>
            </a:prstGeom>
          </p:spPr>
        </p:pic>
      </p:grpSp>
      <p:pic>
        <p:nvPicPr>
          <p:cNvPr id="90" name="object 90"/>
          <p:cNvPicPr/>
          <p:nvPr/>
        </p:nvPicPr>
        <p:blipFill>
          <a:blip r:embed="rId59" cstate="screen">
            <a:extLst>
              <a:ext uri="{28A0092B-C50C-407E-A947-70E740481C1C}">
                <a14:useLocalDpi xmlns:a14="http://schemas.microsoft.com/office/drawing/2010/main"/>
              </a:ext>
            </a:extLst>
          </a:blip>
          <a:stretch>
            <a:fillRect/>
          </a:stretch>
        </p:blipFill>
        <p:spPr>
          <a:xfrm>
            <a:off x="7874254" y="3545713"/>
            <a:ext cx="173735" cy="195072"/>
          </a:xfrm>
          <a:prstGeom prst="rect">
            <a:avLst/>
          </a:prstGeom>
        </p:spPr>
      </p:pic>
      <p:grpSp>
        <p:nvGrpSpPr>
          <p:cNvPr id="91" name="object 91"/>
          <p:cNvGrpSpPr/>
          <p:nvPr/>
        </p:nvGrpSpPr>
        <p:grpSpPr>
          <a:xfrm>
            <a:off x="4070858" y="3842639"/>
            <a:ext cx="3216275" cy="378460"/>
            <a:chOff x="4070858" y="3842639"/>
            <a:chExt cx="3216275" cy="378460"/>
          </a:xfrm>
        </p:grpSpPr>
        <p:pic>
          <p:nvPicPr>
            <p:cNvPr id="92" name="object 92"/>
            <p:cNvPicPr/>
            <p:nvPr/>
          </p:nvPicPr>
          <p:blipFill>
            <a:blip r:embed="rId60" cstate="screen">
              <a:extLst>
                <a:ext uri="{28A0092B-C50C-407E-A947-70E740481C1C}">
                  <a14:useLocalDpi xmlns:a14="http://schemas.microsoft.com/office/drawing/2010/main"/>
                </a:ext>
              </a:extLst>
            </a:blip>
            <a:stretch>
              <a:fillRect/>
            </a:stretch>
          </p:blipFill>
          <p:spPr>
            <a:xfrm>
              <a:off x="4070858" y="3842639"/>
              <a:ext cx="2760472" cy="195072"/>
            </a:xfrm>
            <a:prstGeom prst="rect">
              <a:avLst/>
            </a:prstGeom>
          </p:spPr>
        </p:pic>
        <p:pic>
          <p:nvPicPr>
            <p:cNvPr id="93" name="object 93"/>
            <p:cNvPicPr/>
            <p:nvPr/>
          </p:nvPicPr>
          <p:blipFill>
            <a:blip r:embed="rId37" cstate="screen">
              <a:extLst>
                <a:ext uri="{28A0092B-C50C-407E-A947-70E740481C1C}">
                  <a14:useLocalDpi xmlns:a14="http://schemas.microsoft.com/office/drawing/2010/main"/>
                </a:ext>
              </a:extLst>
            </a:blip>
            <a:stretch>
              <a:fillRect/>
            </a:stretch>
          </p:blipFill>
          <p:spPr>
            <a:xfrm>
              <a:off x="6768719" y="3842639"/>
              <a:ext cx="176783" cy="195072"/>
            </a:xfrm>
            <a:prstGeom prst="rect">
              <a:avLst/>
            </a:prstGeom>
          </p:spPr>
        </p:pic>
        <p:pic>
          <p:nvPicPr>
            <p:cNvPr id="94" name="object 94"/>
            <p:cNvPicPr/>
            <p:nvPr/>
          </p:nvPicPr>
          <p:blipFill>
            <a:blip r:embed="rId61" cstate="screen">
              <a:extLst>
                <a:ext uri="{28A0092B-C50C-407E-A947-70E740481C1C}">
                  <a14:useLocalDpi xmlns:a14="http://schemas.microsoft.com/office/drawing/2010/main"/>
                </a:ext>
              </a:extLst>
            </a:blip>
            <a:stretch>
              <a:fillRect/>
            </a:stretch>
          </p:blipFill>
          <p:spPr>
            <a:xfrm>
              <a:off x="6893687" y="3842639"/>
              <a:ext cx="393192" cy="195072"/>
            </a:xfrm>
            <a:prstGeom prst="rect">
              <a:avLst/>
            </a:prstGeom>
          </p:spPr>
        </p:pic>
        <p:pic>
          <p:nvPicPr>
            <p:cNvPr id="95" name="object 95"/>
            <p:cNvPicPr/>
            <p:nvPr/>
          </p:nvPicPr>
          <p:blipFill>
            <a:blip r:embed="rId62" cstate="screen">
              <a:extLst>
                <a:ext uri="{28A0092B-C50C-407E-A947-70E740481C1C}">
                  <a14:useLocalDpi xmlns:a14="http://schemas.microsoft.com/office/drawing/2010/main"/>
                </a:ext>
              </a:extLst>
            </a:blip>
            <a:stretch>
              <a:fillRect/>
            </a:stretch>
          </p:blipFill>
          <p:spPr>
            <a:xfrm>
              <a:off x="4070858" y="4025519"/>
              <a:ext cx="1681226" cy="195071"/>
            </a:xfrm>
            <a:prstGeom prst="rect">
              <a:avLst/>
            </a:prstGeom>
          </p:spPr>
        </p:pic>
      </p:grpSp>
      <p:pic>
        <p:nvPicPr>
          <p:cNvPr id="96" name="object 96"/>
          <p:cNvPicPr/>
          <p:nvPr/>
        </p:nvPicPr>
        <p:blipFill>
          <a:blip r:embed="rId63" cstate="screen">
            <a:extLst>
              <a:ext uri="{28A0092B-C50C-407E-A947-70E740481C1C}">
                <a14:useLocalDpi xmlns:a14="http://schemas.microsoft.com/office/drawing/2010/main"/>
              </a:ext>
            </a:extLst>
          </a:blip>
          <a:stretch>
            <a:fillRect/>
          </a:stretch>
        </p:blipFill>
        <p:spPr>
          <a:xfrm>
            <a:off x="7874254" y="3945001"/>
            <a:ext cx="173735" cy="195072"/>
          </a:xfrm>
          <a:prstGeom prst="rect">
            <a:avLst/>
          </a:prstGeom>
        </p:spPr>
      </p:pic>
      <p:grpSp>
        <p:nvGrpSpPr>
          <p:cNvPr id="97" name="object 97"/>
          <p:cNvGrpSpPr/>
          <p:nvPr/>
        </p:nvGrpSpPr>
        <p:grpSpPr>
          <a:xfrm>
            <a:off x="4070858" y="4321428"/>
            <a:ext cx="3536950" cy="378460"/>
            <a:chOff x="4070858" y="4321428"/>
            <a:chExt cx="3536950" cy="378460"/>
          </a:xfrm>
        </p:grpSpPr>
        <p:pic>
          <p:nvPicPr>
            <p:cNvPr id="98" name="object 98"/>
            <p:cNvPicPr/>
            <p:nvPr/>
          </p:nvPicPr>
          <p:blipFill>
            <a:blip r:embed="rId64" cstate="screen">
              <a:extLst>
                <a:ext uri="{28A0092B-C50C-407E-A947-70E740481C1C}">
                  <a14:useLocalDpi xmlns:a14="http://schemas.microsoft.com/office/drawing/2010/main"/>
                </a:ext>
              </a:extLst>
            </a:blip>
            <a:stretch>
              <a:fillRect/>
            </a:stretch>
          </p:blipFill>
          <p:spPr>
            <a:xfrm>
              <a:off x="4070858" y="4321428"/>
              <a:ext cx="2510663" cy="195072"/>
            </a:xfrm>
            <a:prstGeom prst="rect">
              <a:avLst/>
            </a:prstGeom>
          </p:spPr>
        </p:pic>
        <p:pic>
          <p:nvPicPr>
            <p:cNvPr id="99" name="object 99"/>
            <p:cNvPicPr/>
            <p:nvPr/>
          </p:nvPicPr>
          <p:blipFill>
            <a:blip r:embed="rId37" cstate="screen">
              <a:extLst>
                <a:ext uri="{28A0092B-C50C-407E-A947-70E740481C1C}">
                  <a14:useLocalDpi xmlns:a14="http://schemas.microsoft.com/office/drawing/2010/main"/>
                </a:ext>
              </a:extLst>
            </a:blip>
            <a:stretch>
              <a:fillRect/>
            </a:stretch>
          </p:blipFill>
          <p:spPr>
            <a:xfrm>
              <a:off x="6517259" y="4321428"/>
              <a:ext cx="176783" cy="195072"/>
            </a:xfrm>
            <a:prstGeom prst="rect">
              <a:avLst/>
            </a:prstGeom>
          </p:spPr>
        </p:pic>
        <p:pic>
          <p:nvPicPr>
            <p:cNvPr id="100" name="object 100"/>
            <p:cNvPicPr/>
            <p:nvPr/>
          </p:nvPicPr>
          <p:blipFill>
            <a:blip r:embed="rId65" cstate="screen">
              <a:extLst>
                <a:ext uri="{28A0092B-C50C-407E-A947-70E740481C1C}">
                  <a14:useLocalDpi xmlns:a14="http://schemas.microsoft.com/office/drawing/2010/main"/>
                </a:ext>
              </a:extLst>
            </a:blip>
            <a:stretch>
              <a:fillRect/>
            </a:stretch>
          </p:blipFill>
          <p:spPr>
            <a:xfrm>
              <a:off x="6642227" y="4321428"/>
              <a:ext cx="965022" cy="195072"/>
            </a:xfrm>
            <a:prstGeom prst="rect">
              <a:avLst/>
            </a:prstGeom>
          </p:spPr>
        </p:pic>
        <p:pic>
          <p:nvPicPr>
            <p:cNvPr id="101" name="object 101"/>
            <p:cNvPicPr/>
            <p:nvPr/>
          </p:nvPicPr>
          <p:blipFill>
            <a:blip r:embed="rId66" cstate="screen">
              <a:extLst>
                <a:ext uri="{28A0092B-C50C-407E-A947-70E740481C1C}">
                  <a14:useLocalDpi xmlns:a14="http://schemas.microsoft.com/office/drawing/2010/main"/>
                </a:ext>
              </a:extLst>
            </a:blip>
            <a:stretch>
              <a:fillRect/>
            </a:stretch>
          </p:blipFill>
          <p:spPr>
            <a:xfrm>
              <a:off x="4070858" y="4504004"/>
              <a:ext cx="1559814" cy="195376"/>
            </a:xfrm>
            <a:prstGeom prst="rect">
              <a:avLst/>
            </a:prstGeom>
          </p:spPr>
        </p:pic>
      </p:grpSp>
      <p:pic>
        <p:nvPicPr>
          <p:cNvPr id="102" name="object 102"/>
          <p:cNvPicPr/>
          <p:nvPr/>
        </p:nvPicPr>
        <p:blipFill>
          <a:blip r:embed="rId67" cstate="screen">
            <a:extLst>
              <a:ext uri="{28A0092B-C50C-407E-A947-70E740481C1C}">
                <a14:useLocalDpi xmlns:a14="http://schemas.microsoft.com/office/drawing/2010/main"/>
              </a:ext>
            </a:extLst>
          </a:blip>
          <a:stretch>
            <a:fillRect/>
          </a:stretch>
        </p:blipFill>
        <p:spPr>
          <a:xfrm>
            <a:off x="7874254" y="4423917"/>
            <a:ext cx="173735" cy="195072"/>
          </a:xfrm>
          <a:prstGeom prst="rect">
            <a:avLst/>
          </a:prstGeom>
        </p:spPr>
      </p:pic>
      <p:grpSp>
        <p:nvGrpSpPr>
          <p:cNvPr id="103" name="object 103"/>
          <p:cNvGrpSpPr/>
          <p:nvPr/>
        </p:nvGrpSpPr>
        <p:grpSpPr>
          <a:xfrm>
            <a:off x="4070858" y="4800600"/>
            <a:ext cx="3139440" cy="378460"/>
            <a:chOff x="4070858" y="4800600"/>
            <a:chExt cx="3139440" cy="378460"/>
          </a:xfrm>
        </p:grpSpPr>
        <p:pic>
          <p:nvPicPr>
            <p:cNvPr id="104" name="object 104"/>
            <p:cNvPicPr/>
            <p:nvPr/>
          </p:nvPicPr>
          <p:blipFill>
            <a:blip r:embed="rId68" cstate="screen">
              <a:extLst>
                <a:ext uri="{28A0092B-C50C-407E-A947-70E740481C1C}">
                  <a14:useLocalDpi xmlns:a14="http://schemas.microsoft.com/office/drawing/2010/main"/>
                </a:ext>
              </a:extLst>
            </a:blip>
            <a:stretch>
              <a:fillRect/>
            </a:stretch>
          </p:blipFill>
          <p:spPr>
            <a:xfrm>
              <a:off x="4070858" y="4800600"/>
              <a:ext cx="2214244" cy="195072"/>
            </a:xfrm>
            <a:prstGeom prst="rect">
              <a:avLst/>
            </a:prstGeom>
          </p:spPr>
        </p:pic>
        <p:pic>
          <p:nvPicPr>
            <p:cNvPr id="105" name="object 105"/>
            <p:cNvPicPr/>
            <p:nvPr/>
          </p:nvPicPr>
          <p:blipFill>
            <a:blip r:embed="rId37" cstate="screen">
              <a:extLst>
                <a:ext uri="{28A0092B-C50C-407E-A947-70E740481C1C}">
                  <a14:useLocalDpi xmlns:a14="http://schemas.microsoft.com/office/drawing/2010/main"/>
                </a:ext>
              </a:extLst>
            </a:blip>
            <a:stretch>
              <a:fillRect/>
            </a:stretch>
          </p:blipFill>
          <p:spPr>
            <a:xfrm>
              <a:off x="6220079" y="4800600"/>
              <a:ext cx="176784" cy="195072"/>
            </a:xfrm>
            <a:prstGeom prst="rect">
              <a:avLst/>
            </a:prstGeom>
          </p:spPr>
        </p:pic>
        <p:pic>
          <p:nvPicPr>
            <p:cNvPr id="106" name="object 106"/>
            <p:cNvPicPr/>
            <p:nvPr/>
          </p:nvPicPr>
          <p:blipFill>
            <a:blip r:embed="rId69" cstate="screen">
              <a:extLst>
                <a:ext uri="{28A0092B-C50C-407E-A947-70E740481C1C}">
                  <a14:useLocalDpi xmlns:a14="http://schemas.microsoft.com/office/drawing/2010/main"/>
                </a:ext>
              </a:extLst>
            </a:blip>
            <a:stretch>
              <a:fillRect/>
            </a:stretch>
          </p:blipFill>
          <p:spPr>
            <a:xfrm>
              <a:off x="6343523" y="4800600"/>
              <a:ext cx="866775" cy="195072"/>
            </a:xfrm>
            <a:prstGeom prst="rect">
              <a:avLst/>
            </a:prstGeom>
          </p:spPr>
        </p:pic>
        <p:pic>
          <p:nvPicPr>
            <p:cNvPr id="107" name="object 107"/>
            <p:cNvPicPr/>
            <p:nvPr/>
          </p:nvPicPr>
          <p:blipFill>
            <a:blip r:embed="rId70" cstate="screen">
              <a:extLst>
                <a:ext uri="{28A0092B-C50C-407E-A947-70E740481C1C}">
                  <a14:useLocalDpi xmlns:a14="http://schemas.microsoft.com/office/drawing/2010/main"/>
                </a:ext>
              </a:extLst>
            </a:blip>
            <a:stretch>
              <a:fillRect/>
            </a:stretch>
          </p:blipFill>
          <p:spPr>
            <a:xfrm>
              <a:off x="4070858" y="4983479"/>
              <a:ext cx="2035302" cy="195072"/>
            </a:xfrm>
            <a:prstGeom prst="rect">
              <a:avLst/>
            </a:prstGeom>
          </p:spPr>
        </p:pic>
      </p:grpSp>
      <p:pic>
        <p:nvPicPr>
          <p:cNvPr id="108" name="object 108"/>
          <p:cNvPicPr/>
          <p:nvPr/>
        </p:nvPicPr>
        <p:blipFill>
          <a:blip r:embed="rId71" cstate="screen">
            <a:extLst>
              <a:ext uri="{28A0092B-C50C-407E-A947-70E740481C1C}">
                <a14:useLocalDpi xmlns:a14="http://schemas.microsoft.com/office/drawing/2010/main"/>
              </a:ext>
            </a:extLst>
          </a:blip>
          <a:stretch>
            <a:fillRect/>
          </a:stretch>
        </p:blipFill>
        <p:spPr>
          <a:xfrm>
            <a:off x="7836154" y="4902403"/>
            <a:ext cx="246888" cy="195376"/>
          </a:xfrm>
          <a:prstGeom prst="rect">
            <a:avLst/>
          </a:prstGeom>
        </p:spPr>
      </p:pic>
      <p:grpSp>
        <p:nvGrpSpPr>
          <p:cNvPr id="109" name="object 109"/>
          <p:cNvGrpSpPr/>
          <p:nvPr/>
        </p:nvGrpSpPr>
        <p:grpSpPr>
          <a:xfrm>
            <a:off x="4070858" y="5279390"/>
            <a:ext cx="2623820" cy="195580"/>
            <a:chOff x="4070858" y="5279390"/>
            <a:chExt cx="2623820" cy="195580"/>
          </a:xfrm>
        </p:grpSpPr>
        <p:pic>
          <p:nvPicPr>
            <p:cNvPr id="110" name="object 110"/>
            <p:cNvPicPr/>
            <p:nvPr/>
          </p:nvPicPr>
          <p:blipFill>
            <a:blip r:embed="rId72" cstate="screen">
              <a:extLst>
                <a:ext uri="{28A0092B-C50C-407E-A947-70E740481C1C}">
                  <a14:useLocalDpi xmlns:a14="http://schemas.microsoft.com/office/drawing/2010/main"/>
                </a:ext>
              </a:extLst>
            </a:blip>
            <a:stretch>
              <a:fillRect/>
            </a:stretch>
          </p:blipFill>
          <p:spPr>
            <a:xfrm>
              <a:off x="4070858" y="5279390"/>
              <a:ext cx="1236954" cy="195072"/>
            </a:xfrm>
            <a:prstGeom prst="rect">
              <a:avLst/>
            </a:prstGeom>
          </p:spPr>
        </p:pic>
        <p:pic>
          <p:nvPicPr>
            <p:cNvPr id="111" name="object 111"/>
            <p:cNvPicPr/>
            <p:nvPr/>
          </p:nvPicPr>
          <p:blipFill>
            <a:blip r:embed="rId37" cstate="screen">
              <a:extLst>
                <a:ext uri="{28A0092B-C50C-407E-A947-70E740481C1C}">
                  <a14:useLocalDpi xmlns:a14="http://schemas.microsoft.com/office/drawing/2010/main"/>
                </a:ext>
              </a:extLst>
            </a:blip>
            <a:stretch>
              <a:fillRect/>
            </a:stretch>
          </p:blipFill>
          <p:spPr>
            <a:xfrm>
              <a:off x="5248910" y="5279390"/>
              <a:ext cx="176784" cy="195072"/>
            </a:xfrm>
            <a:prstGeom prst="rect">
              <a:avLst/>
            </a:prstGeom>
          </p:spPr>
        </p:pic>
        <p:pic>
          <p:nvPicPr>
            <p:cNvPr id="112" name="object 112"/>
            <p:cNvPicPr/>
            <p:nvPr/>
          </p:nvPicPr>
          <p:blipFill>
            <a:blip r:embed="rId73" cstate="screen">
              <a:extLst>
                <a:ext uri="{28A0092B-C50C-407E-A947-70E740481C1C}">
                  <a14:useLocalDpi xmlns:a14="http://schemas.microsoft.com/office/drawing/2010/main"/>
                </a:ext>
              </a:extLst>
            </a:blip>
            <a:stretch>
              <a:fillRect/>
            </a:stretch>
          </p:blipFill>
          <p:spPr>
            <a:xfrm>
              <a:off x="5372354" y="5279390"/>
              <a:ext cx="1322197" cy="195072"/>
            </a:xfrm>
            <a:prstGeom prst="rect">
              <a:avLst/>
            </a:prstGeom>
          </p:spPr>
        </p:pic>
      </p:grpSp>
      <p:pic>
        <p:nvPicPr>
          <p:cNvPr id="113" name="object 113"/>
          <p:cNvPicPr/>
          <p:nvPr/>
        </p:nvPicPr>
        <p:blipFill>
          <a:blip r:embed="rId74" cstate="screen">
            <a:extLst>
              <a:ext uri="{28A0092B-C50C-407E-A947-70E740481C1C}">
                <a14:useLocalDpi xmlns:a14="http://schemas.microsoft.com/office/drawing/2010/main"/>
              </a:ext>
            </a:extLst>
          </a:blip>
          <a:stretch>
            <a:fillRect/>
          </a:stretch>
        </p:blipFill>
        <p:spPr>
          <a:xfrm>
            <a:off x="7848345" y="5304409"/>
            <a:ext cx="210311" cy="195072"/>
          </a:xfrm>
          <a:prstGeom prst="rect">
            <a:avLst/>
          </a:prstGeom>
        </p:spPr>
      </p:pic>
      <p:grpSp>
        <p:nvGrpSpPr>
          <p:cNvPr id="114" name="object 114"/>
          <p:cNvGrpSpPr/>
          <p:nvPr/>
        </p:nvGrpSpPr>
        <p:grpSpPr>
          <a:xfrm>
            <a:off x="4070858" y="5603443"/>
            <a:ext cx="3051810" cy="379095"/>
            <a:chOff x="4070858" y="5603443"/>
            <a:chExt cx="3051810" cy="379095"/>
          </a:xfrm>
        </p:grpSpPr>
        <p:pic>
          <p:nvPicPr>
            <p:cNvPr id="115" name="object 115"/>
            <p:cNvPicPr/>
            <p:nvPr/>
          </p:nvPicPr>
          <p:blipFill>
            <a:blip r:embed="rId75" cstate="screen">
              <a:extLst>
                <a:ext uri="{28A0092B-C50C-407E-A947-70E740481C1C}">
                  <a14:useLocalDpi xmlns:a14="http://schemas.microsoft.com/office/drawing/2010/main"/>
                </a:ext>
              </a:extLst>
            </a:blip>
            <a:stretch>
              <a:fillRect/>
            </a:stretch>
          </p:blipFill>
          <p:spPr>
            <a:xfrm>
              <a:off x="4070858" y="5603443"/>
              <a:ext cx="1203820" cy="195376"/>
            </a:xfrm>
            <a:prstGeom prst="rect">
              <a:avLst/>
            </a:prstGeom>
          </p:spPr>
        </p:pic>
        <p:pic>
          <p:nvPicPr>
            <p:cNvPr id="116" name="object 116"/>
            <p:cNvPicPr/>
            <p:nvPr/>
          </p:nvPicPr>
          <p:blipFill>
            <a:blip r:embed="rId37" cstate="screen">
              <a:extLst>
                <a:ext uri="{28A0092B-C50C-407E-A947-70E740481C1C}">
                  <a14:useLocalDpi xmlns:a14="http://schemas.microsoft.com/office/drawing/2010/main"/>
                </a:ext>
              </a:extLst>
            </a:blip>
            <a:stretch>
              <a:fillRect/>
            </a:stretch>
          </p:blipFill>
          <p:spPr>
            <a:xfrm>
              <a:off x="5219954" y="5603443"/>
              <a:ext cx="176784" cy="195376"/>
            </a:xfrm>
            <a:prstGeom prst="rect">
              <a:avLst/>
            </a:prstGeom>
          </p:spPr>
        </p:pic>
        <p:pic>
          <p:nvPicPr>
            <p:cNvPr id="117" name="object 117"/>
            <p:cNvPicPr/>
            <p:nvPr/>
          </p:nvPicPr>
          <p:blipFill>
            <a:blip r:embed="rId76" cstate="screen">
              <a:extLst>
                <a:ext uri="{28A0092B-C50C-407E-A947-70E740481C1C}">
                  <a14:useLocalDpi xmlns:a14="http://schemas.microsoft.com/office/drawing/2010/main"/>
                </a:ext>
              </a:extLst>
            </a:blip>
            <a:stretch>
              <a:fillRect/>
            </a:stretch>
          </p:blipFill>
          <p:spPr>
            <a:xfrm>
              <a:off x="5343398" y="5603443"/>
              <a:ext cx="1779143" cy="195376"/>
            </a:xfrm>
            <a:prstGeom prst="rect">
              <a:avLst/>
            </a:prstGeom>
          </p:spPr>
        </p:pic>
        <p:pic>
          <p:nvPicPr>
            <p:cNvPr id="118" name="object 118"/>
            <p:cNvPicPr/>
            <p:nvPr/>
          </p:nvPicPr>
          <p:blipFill>
            <a:blip r:embed="rId77" cstate="screen">
              <a:extLst>
                <a:ext uri="{28A0092B-C50C-407E-A947-70E740481C1C}">
                  <a14:useLocalDpi xmlns:a14="http://schemas.microsoft.com/office/drawing/2010/main"/>
                </a:ext>
              </a:extLst>
            </a:blip>
            <a:stretch>
              <a:fillRect/>
            </a:stretch>
          </p:blipFill>
          <p:spPr>
            <a:xfrm>
              <a:off x="4070858" y="5786932"/>
              <a:ext cx="634364" cy="195072"/>
            </a:xfrm>
            <a:prstGeom prst="rect">
              <a:avLst/>
            </a:prstGeom>
          </p:spPr>
        </p:pic>
      </p:grpSp>
      <p:pic>
        <p:nvPicPr>
          <p:cNvPr id="119" name="object 119"/>
          <p:cNvPicPr/>
          <p:nvPr/>
        </p:nvPicPr>
        <p:blipFill>
          <a:blip r:embed="rId78" cstate="screen">
            <a:extLst>
              <a:ext uri="{28A0092B-C50C-407E-A947-70E740481C1C}">
                <a14:useLocalDpi xmlns:a14="http://schemas.microsoft.com/office/drawing/2010/main"/>
              </a:ext>
            </a:extLst>
          </a:blip>
          <a:stretch>
            <a:fillRect/>
          </a:stretch>
        </p:blipFill>
        <p:spPr>
          <a:xfrm>
            <a:off x="7842250" y="5705551"/>
            <a:ext cx="226314" cy="195072"/>
          </a:xfrm>
          <a:prstGeom prst="rect">
            <a:avLst/>
          </a:prstGeom>
        </p:spPr>
      </p:pic>
      <p:grpSp>
        <p:nvGrpSpPr>
          <p:cNvPr id="120" name="object 120"/>
          <p:cNvGrpSpPr/>
          <p:nvPr/>
        </p:nvGrpSpPr>
        <p:grpSpPr>
          <a:xfrm>
            <a:off x="4070858" y="6081369"/>
            <a:ext cx="2805430" cy="195580"/>
            <a:chOff x="4070858" y="6081369"/>
            <a:chExt cx="2805430" cy="195580"/>
          </a:xfrm>
        </p:grpSpPr>
        <p:pic>
          <p:nvPicPr>
            <p:cNvPr id="121" name="object 121"/>
            <p:cNvPicPr/>
            <p:nvPr/>
          </p:nvPicPr>
          <p:blipFill>
            <a:blip r:embed="rId79" cstate="screen">
              <a:extLst>
                <a:ext uri="{28A0092B-C50C-407E-A947-70E740481C1C}">
                  <a14:useLocalDpi xmlns:a14="http://schemas.microsoft.com/office/drawing/2010/main"/>
                </a:ext>
              </a:extLst>
            </a:blip>
            <a:stretch>
              <a:fillRect/>
            </a:stretch>
          </p:blipFill>
          <p:spPr>
            <a:xfrm>
              <a:off x="4070858" y="6081369"/>
              <a:ext cx="1095654" cy="195072"/>
            </a:xfrm>
            <a:prstGeom prst="rect">
              <a:avLst/>
            </a:prstGeom>
          </p:spPr>
        </p:pic>
        <p:pic>
          <p:nvPicPr>
            <p:cNvPr id="122" name="object 122"/>
            <p:cNvPicPr/>
            <p:nvPr/>
          </p:nvPicPr>
          <p:blipFill>
            <a:blip r:embed="rId37" cstate="screen">
              <a:extLst>
                <a:ext uri="{28A0092B-C50C-407E-A947-70E740481C1C}">
                  <a14:useLocalDpi xmlns:a14="http://schemas.microsoft.com/office/drawing/2010/main"/>
                </a:ext>
              </a:extLst>
            </a:blip>
            <a:stretch>
              <a:fillRect/>
            </a:stretch>
          </p:blipFill>
          <p:spPr>
            <a:xfrm>
              <a:off x="5098034" y="6081369"/>
              <a:ext cx="176784" cy="195072"/>
            </a:xfrm>
            <a:prstGeom prst="rect">
              <a:avLst/>
            </a:prstGeom>
          </p:spPr>
        </p:pic>
        <p:pic>
          <p:nvPicPr>
            <p:cNvPr id="123" name="object 123"/>
            <p:cNvPicPr/>
            <p:nvPr/>
          </p:nvPicPr>
          <p:blipFill>
            <a:blip r:embed="rId80" cstate="screen">
              <a:extLst>
                <a:ext uri="{28A0092B-C50C-407E-A947-70E740481C1C}">
                  <a14:useLocalDpi xmlns:a14="http://schemas.microsoft.com/office/drawing/2010/main"/>
                </a:ext>
              </a:extLst>
            </a:blip>
            <a:stretch>
              <a:fillRect/>
            </a:stretch>
          </p:blipFill>
          <p:spPr>
            <a:xfrm>
              <a:off x="5221478" y="6081369"/>
              <a:ext cx="1654428" cy="195072"/>
            </a:xfrm>
            <a:prstGeom prst="rect">
              <a:avLst/>
            </a:prstGeom>
          </p:spPr>
        </p:pic>
      </p:grpSp>
      <p:pic>
        <p:nvPicPr>
          <p:cNvPr id="124" name="object 124"/>
          <p:cNvPicPr/>
          <p:nvPr/>
        </p:nvPicPr>
        <p:blipFill>
          <a:blip r:embed="rId81" cstate="screen">
            <a:extLst>
              <a:ext uri="{28A0092B-C50C-407E-A947-70E740481C1C}">
                <a14:useLocalDpi xmlns:a14="http://schemas.microsoft.com/office/drawing/2010/main"/>
              </a:ext>
            </a:extLst>
          </a:blip>
          <a:stretch>
            <a:fillRect/>
          </a:stretch>
        </p:blipFill>
        <p:spPr>
          <a:xfrm>
            <a:off x="7842250" y="6124346"/>
            <a:ext cx="228600" cy="195072"/>
          </a:xfrm>
          <a:prstGeom prst="rect">
            <a:avLst/>
          </a:prstGeom>
        </p:spPr>
      </p:pic>
      <p:grpSp>
        <p:nvGrpSpPr>
          <p:cNvPr id="125" name="object 125"/>
          <p:cNvGrpSpPr/>
          <p:nvPr/>
        </p:nvGrpSpPr>
        <p:grpSpPr>
          <a:xfrm>
            <a:off x="4070858" y="6441338"/>
            <a:ext cx="2298700" cy="195580"/>
            <a:chOff x="4070858" y="6441338"/>
            <a:chExt cx="2298700" cy="195580"/>
          </a:xfrm>
        </p:grpSpPr>
        <p:pic>
          <p:nvPicPr>
            <p:cNvPr id="126" name="object 126"/>
            <p:cNvPicPr/>
            <p:nvPr/>
          </p:nvPicPr>
          <p:blipFill>
            <a:blip r:embed="rId82" cstate="screen">
              <a:extLst>
                <a:ext uri="{28A0092B-C50C-407E-A947-70E740481C1C}">
                  <a14:useLocalDpi xmlns:a14="http://schemas.microsoft.com/office/drawing/2010/main"/>
                </a:ext>
              </a:extLst>
            </a:blip>
            <a:stretch>
              <a:fillRect/>
            </a:stretch>
          </p:blipFill>
          <p:spPr>
            <a:xfrm>
              <a:off x="4070858" y="6441338"/>
              <a:ext cx="1422400" cy="195072"/>
            </a:xfrm>
            <a:prstGeom prst="rect">
              <a:avLst/>
            </a:prstGeom>
          </p:spPr>
        </p:pic>
        <p:pic>
          <p:nvPicPr>
            <p:cNvPr id="127" name="object 127"/>
            <p:cNvPicPr/>
            <p:nvPr/>
          </p:nvPicPr>
          <p:blipFill>
            <a:blip r:embed="rId37" cstate="screen">
              <a:extLst>
                <a:ext uri="{28A0092B-C50C-407E-A947-70E740481C1C}">
                  <a14:useLocalDpi xmlns:a14="http://schemas.microsoft.com/office/drawing/2010/main"/>
                </a:ext>
              </a:extLst>
            </a:blip>
            <a:stretch>
              <a:fillRect/>
            </a:stretch>
          </p:blipFill>
          <p:spPr>
            <a:xfrm>
              <a:off x="5436362" y="6441338"/>
              <a:ext cx="176784" cy="195072"/>
            </a:xfrm>
            <a:prstGeom prst="rect">
              <a:avLst/>
            </a:prstGeom>
          </p:spPr>
        </p:pic>
        <p:pic>
          <p:nvPicPr>
            <p:cNvPr id="128" name="object 128"/>
            <p:cNvPicPr/>
            <p:nvPr/>
          </p:nvPicPr>
          <p:blipFill>
            <a:blip r:embed="rId43" cstate="screen">
              <a:extLst>
                <a:ext uri="{28A0092B-C50C-407E-A947-70E740481C1C}">
                  <a14:useLocalDpi xmlns:a14="http://schemas.microsoft.com/office/drawing/2010/main"/>
                </a:ext>
              </a:extLst>
            </a:blip>
            <a:stretch>
              <a:fillRect/>
            </a:stretch>
          </p:blipFill>
          <p:spPr>
            <a:xfrm>
              <a:off x="5559806" y="6441338"/>
              <a:ext cx="809320" cy="195072"/>
            </a:xfrm>
            <a:prstGeom prst="rect">
              <a:avLst/>
            </a:prstGeom>
          </p:spPr>
        </p:pic>
      </p:grpSp>
      <p:pic>
        <p:nvPicPr>
          <p:cNvPr id="129" name="object 129"/>
          <p:cNvPicPr/>
          <p:nvPr/>
        </p:nvPicPr>
        <p:blipFill>
          <a:blip r:embed="rId83" cstate="screen">
            <a:extLst>
              <a:ext uri="{28A0092B-C50C-407E-A947-70E740481C1C}">
                <a14:useLocalDpi xmlns:a14="http://schemas.microsoft.com/office/drawing/2010/main"/>
              </a:ext>
            </a:extLst>
          </a:blip>
          <a:stretch>
            <a:fillRect/>
          </a:stretch>
        </p:blipFill>
        <p:spPr>
          <a:xfrm>
            <a:off x="7840726" y="6484315"/>
            <a:ext cx="233172" cy="195072"/>
          </a:xfrm>
          <a:prstGeom prst="rect">
            <a:avLst/>
          </a:prstGeom>
        </p:spPr>
      </p:pic>
      <p:sp>
        <p:nvSpPr>
          <p:cNvPr id="130" name="object 130"/>
          <p:cNvSpPr txBox="1"/>
          <p:nvPr/>
        </p:nvSpPr>
        <p:spPr>
          <a:xfrm>
            <a:off x="173736" y="1382394"/>
            <a:ext cx="83820" cy="1000760"/>
          </a:xfrm>
          <a:prstGeom prst="rect">
            <a:avLst/>
          </a:prstGeom>
        </p:spPr>
        <p:txBody>
          <a:bodyPr vert="horz" wrap="square" lIns="0" tIns="12065" rIns="0" bIns="0" rtlCol="0">
            <a:spAutoFit/>
          </a:bodyPr>
          <a:lstStyle/>
          <a:p>
            <a:pPr marL="0" marR="0" lvl="0" indent="0"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Arial"/>
                <a:ea typeface="+mn-ea"/>
                <a:cs typeface="Arial"/>
              </a:rPr>
              <a:t>•</a:t>
            </a: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defTabSz="914400" eaLnBrk="1" fontAlgn="auto" latinLnBrk="0" hangingPunct="1">
              <a:lnSpc>
                <a:spcPct val="100000"/>
              </a:lnSpc>
              <a:spcBef>
                <a:spcPts val="160"/>
              </a:spcBef>
              <a:spcAft>
                <a:spcPts val="0"/>
              </a:spcAft>
              <a:buClrTx/>
              <a:buSzTx/>
              <a:buFontTx/>
              <a:buNone/>
              <a:tabLst/>
              <a:defRPr/>
            </a:pP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50" normalizeH="0" baseline="0" noProof="0" dirty="0">
                <a:ln>
                  <a:noFill/>
                </a:ln>
                <a:solidFill>
                  <a:srgbClr val="09211C"/>
                </a:solidFill>
                <a:effectLst/>
                <a:uLnTx/>
                <a:uFillTx/>
                <a:latin typeface="Arial"/>
                <a:ea typeface="+mn-ea"/>
                <a:cs typeface="Arial"/>
              </a:rPr>
              <a:t>•</a:t>
            </a:r>
            <a:endParaRPr kumimoji="0" sz="16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131" name="object 131"/>
          <p:cNvGrpSpPr/>
          <p:nvPr/>
        </p:nvGrpSpPr>
        <p:grpSpPr>
          <a:xfrm>
            <a:off x="460248" y="2129917"/>
            <a:ext cx="2827655" cy="748665"/>
            <a:chOff x="460248" y="2129917"/>
            <a:chExt cx="2827655" cy="748665"/>
          </a:xfrm>
        </p:grpSpPr>
        <p:pic>
          <p:nvPicPr>
            <p:cNvPr id="132" name="object 132"/>
            <p:cNvPicPr/>
            <p:nvPr/>
          </p:nvPicPr>
          <p:blipFill>
            <a:blip r:embed="rId84" cstate="screen">
              <a:extLst>
                <a:ext uri="{28A0092B-C50C-407E-A947-70E740481C1C}">
                  <a14:useLocalDpi xmlns:a14="http://schemas.microsoft.com/office/drawing/2010/main"/>
                </a:ext>
              </a:extLst>
            </a:blip>
            <a:stretch>
              <a:fillRect/>
            </a:stretch>
          </p:blipFill>
          <p:spPr>
            <a:xfrm>
              <a:off x="460248" y="2129917"/>
              <a:ext cx="2827274" cy="260603"/>
            </a:xfrm>
            <a:prstGeom prst="rect">
              <a:avLst/>
            </a:prstGeom>
          </p:spPr>
        </p:pic>
        <p:pic>
          <p:nvPicPr>
            <p:cNvPr id="133" name="object 133"/>
            <p:cNvPicPr/>
            <p:nvPr/>
          </p:nvPicPr>
          <p:blipFill>
            <a:blip r:embed="rId85" cstate="screen">
              <a:extLst>
                <a:ext uri="{28A0092B-C50C-407E-A947-70E740481C1C}">
                  <a14:useLocalDpi xmlns:a14="http://schemas.microsoft.com/office/drawing/2010/main"/>
                </a:ext>
              </a:extLst>
            </a:blip>
            <a:stretch>
              <a:fillRect/>
            </a:stretch>
          </p:blipFill>
          <p:spPr>
            <a:xfrm>
              <a:off x="460248" y="2373757"/>
              <a:ext cx="2535047" cy="260603"/>
            </a:xfrm>
            <a:prstGeom prst="rect">
              <a:avLst/>
            </a:prstGeom>
          </p:spPr>
        </p:pic>
        <p:pic>
          <p:nvPicPr>
            <p:cNvPr id="134" name="object 134"/>
            <p:cNvPicPr/>
            <p:nvPr/>
          </p:nvPicPr>
          <p:blipFill>
            <a:blip r:embed="rId86" cstate="screen">
              <a:extLst>
                <a:ext uri="{28A0092B-C50C-407E-A947-70E740481C1C}">
                  <a14:useLocalDpi xmlns:a14="http://schemas.microsoft.com/office/drawing/2010/main"/>
                </a:ext>
              </a:extLst>
            </a:blip>
            <a:stretch>
              <a:fillRect/>
            </a:stretch>
          </p:blipFill>
          <p:spPr>
            <a:xfrm>
              <a:off x="460248" y="2617597"/>
              <a:ext cx="884682" cy="260603"/>
            </a:xfrm>
            <a:prstGeom prst="rect">
              <a:avLst/>
            </a:prstGeom>
          </p:spPr>
        </p:pic>
      </p:grpSp>
      <p:pic>
        <p:nvPicPr>
          <p:cNvPr id="135" name="object 135"/>
          <p:cNvPicPr/>
          <p:nvPr/>
        </p:nvPicPr>
        <p:blipFill>
          <a:blip r:embed="rId87" cstate="print"/>
          <a:stretch>
            <a:fillRect/>
          </a:stretch>
        </p:blipFill>
        <p:spPr>
          <a:xfrm>
            <a:off x="8345423" y="1177536"/>
            <a:ext cx="3748947" cy="5223778"/>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 name="object 3"/>
          <p:cNvGrpSpPr/>
          <p:nvPr/>
        </p:nvGrpSpPr>
        <p:grpSpPr>
          <a:xfrm>
            <a:off x="0" y="0"/>
            <a:ext cx="12192000" cy="988060"/>
            <a:chOff x="0" y="0"/>
            <a:chExt cx="12192000" cy="988060"/>
          </a:xfrm>
        </p:grpSpPr>
        <p:sp>
          <p:nvSpPr>
            <p:cNvPr id="4" name="object 4"/>
            <p:cNvSpPr/>
            <p:nvPr/>
          </p:nvSpPr>
          <p:spPr>
            <a:xfrm>
              <a:off x="0" y="0"/>
              <a:ext cx="12192000" cy="988060"/>
            </a:xfrm>
            <a:custGeom>
              <a:avLst/>
              <a:gdLst/>
              <a:ahLst/>
              <a:cxnLst/>
              <a:rect l="l" t="t" r="r" b="b"/>
              <a:pathLst>
                <a:path w="12192000" h="988060">
                  <a:moveTo>
                    <a:pt x="12192000" y="0"/>
                  </a:moveTo>
                  <a:lnTo>
                    <a:pt x="0" y="0"/>
                  </a:lnTo>
                  <a:lnTo>
                    <a:pt x="0" y="799846"/>
                  </a:lnTo>
                  <a:lnTo>
                    <a:pt x="6096000" y="987551"/>
                  </a:lnTo>
                  <a:lnTo>
                    <a:pt x="12192000" y="799846"/>
                  </a:lnTo>
                  <a:lnTo>
                    <a:pt x="12192000"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5" name="object 5"/>
            <p:cNvPicPr/>
            <p:nvPr/>
          </p:nvPicPr>
          <p:blipFill>
            <a:blip r:embed="rId2" cstate="screen">
              <a:extLst>
                <a:ext uri="{28A0092B-C50C-407E-A947-70E740481C1C}">
                  <a14:useLocalDpi xmlns:a14="http://schemas.microsoft.com/office/drawing/2010/main"/>
                </a:ext>
              </a:extLst>
            </a:blip>
            <a:stretch>
              <a:fillRect/>
            </a:stretch>
          </p:blipFill>
          <p:spPr>
            <a:xfrm>
              <a:off x="4978272" y="110058"/>
              <a:ext cx="2484501" cy="651052"/>
            </a:xfrm>
            <a:prstGeom prst="rect">
              <a:avLst/>
            </a:prstGeom>
          </p:spPr>
        </p:pic>
        <p:sp>
          <p:nvSpPr>
            <p:cNvPr id="6" name="object 6"/>
            <p:cNvSpPr/>
            <p:nvPr/>
          </p:nvSpPr>
          <p:spPr>
            <a:xfrm>
              <a:off x="10287369" y="231421"/>
              <a:ext cx="33020" cy="141605"/>
            </a:xfrm>
            <a:custGeom>
              <a:avLst/>
              <a:gdLst/>
              <a:ahLst/>
              <a:cxnLst/>
              <a:rect l="l" t="t" r="r" b="b"/>
              <a:pathLst>
                <a:path w="33020" h="141604">
                  <a:moveTo>
                    <a:pt x="32690" y="0"/>
                  </a:moveTo>
                  <a:lnTo>
                    <a:pt x="0" y="0"/>
                  </a:lnTo>
                  <a:lnTo>
                    <a:pt x="0" y="141543"/>
                  </a:lnTo>
                  <a:lnTo>
                    <a:pt x="32690" y="141543"/>
                  </a:lnTo>
                  <a:lnTo>
                    <a:pt x="32690"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7" name="object 7"/>
            <p:cNvPicPr/>
            <p:nvPr/>
          </p:nvPicPr>
          <p:blipFill>
            <a:blip r:embed="rId3" cstate="screen">
              <a:extLst>
                <a:ext uri="{28A0092B-C50C-407E-A947-70E740481C1C}">
                  <a14:useLocalDpi xmlns:a14="http://schemas.microsoft.com/office/drawing/2010/main"/>
                </a:ext>
              </a:extLst>
            </a:blip>
            <a:stretch>
              <a:fillRect/>
            </a:stretch>
          </p:blipFill>
          <p:spPr>
            <a:xfrm>
              <a:off x="10351314" y="231421"/>
              <a:ext cx="137493" cy="141543"/>
            </a:xfrm>
            <a:prstGeom prst="rect">
              <a:avLst/>
            </a:prstGeom>
          </p:spPr>
        </p:pic>
        <p:sp>
          <p:nvSpPr>
            <p:cNvPr id="8" name="object 8"/>
            <p:cNvSpPr/>
            <p:nvPr/>
          </p:nvSpPr>
          <p:spPr>
            <a:xfrm>
              <a:off x="10519575" y="228053"/>
              <a:ext cx="837565" cy="148590"/>
            </a:xfrm>
            <a:custGeom>
              <a:avLst/>
              <a:gdLst/>
              <a:ahLst/>
              <a:cxnLst/>
              <a:rect l="l" t="t" r="r" b="b"/>
              <a:pathLst>
                <a:path w="837565" h="148590">
                  <a:moveTo>
                    <a:pt x="78384" y="3327"/>
                  </a:moveTo>
                  <a:lnTo>
                    <a:pt x="0" y="3327"/>
                  </a:lnTo>
                  <a:lnTo>
                    <a:pt x="0" y="31330"/>
                  </a:lnTo>
                  <a:lnTo>
                    <a:pt x="0" y="58064"/>
                  </a:lnTo>
                  <a:lnTo>
                    <a:pt x="0" y="86067"/>
                  </a:lnTo>
                  <a:lnTo>
                    <a:pt x="0" y="144627"/>
                  </a:lnTo>
                  <a:lnTo>
                    <a:pt x="32753" y="144627"/>
                  </a:lnTo>
                  <a:lnTo>
                    <a:pt x="32753" y="86067"/>
                  </a:lnTo>
                  <a:lnTo>
                    <a:pt x="75057" y="86067"/>
                  </a:lnTo>
                  <a:lnTo>
                    <a:pt x="75057" y="58064"/>
                  </a:lnTo>
                  <a:lnTo>
                    <a:pt x="32753" y="58064"/>
                  </a:lnTo>
                  <a:lnTo>
                    <a:pt x="32753" y="31330"/>
                  </a:lnTo>
                  <a:lnTo>
                    <a:pt x="78384" y="31330"/>
                  </a:lnTo>
                  <a:lnTo>
                    <a:pt x="78384" y="3327"/>
                  </a:lnTo>
                  <a:close/>
                </a:path>
                <a:path w="837565" h="148590">
                  <a:moveTo>
                    <a:pt x="212547" y="144919"/>
                  </a:moveTo>
                  <a:lnTo>
                    <a:pt x="170726" y="88887"/>
                  </a:lnTo>
                  <a:lnTo>
                    <a:pt x="169278" y="86956"/>
                  </a:lnTo>
                  <a:lnTo>
                    <a:pt x="176974" y="85013"/>
                  </a:lnTo>
                  <a:lnTo>
                    <a:pt x="184150" y="80670"/>
                  </a:lnTo>
                  <a:lnTo>
                    <a:pt x="188963" y="75831"/>
                  </a:lnTo>
                  <a:lnTo>
                    <a:pt x="194564" y="68935"/>
                  </a:lnTo>
                  <a:lnTo>
                    <a:pt x="195160" y="67627"/>
                  </a:lnTo>
                  <a:lnTo>
                    <a:pt x="197942" y="61582"/>
                  </a:lnTo>
                  <a:lnTo>
                    <a:pt x="199605" y="54229"/>
                  </a:lnTo>
                  <a:lnTo>
                    <a:pt x="200050" y="47332"/>
                  </a:lnTo>
                  <a:lnTo>
                    <a:pt x="198907" y="36449"/>
                  </a:lnTo>
                  <a:lnTo>
                    <a:pt x="173837" y="7061"/>
                  </a:lnTo>
                  <a:lnTo>
                    <a:pt x="166839" y="5194"/>
                  </a:lnTo>
                  <a:lnTo>
                    <a:pt x="166839" y="39611"/>
                  </a:lnTo>
                  <a:lnTo>
                    <a:pt x="166839" y="54584"/>
                  </a:lnTo>
                  <a:lnTo>
                    <a:pt x="163957" y="58928"/>
                  </a:lnTo>
                  <a:lnTo>
                    <a:pt x="161594" y="61353"/>
                  </a:lnTo>
                  <a:lnTo>
                    <a:pt x="156273" y="67144"/>
                  </a:lnTo>
                  <a:lnTo>
                    <a:pt x="148132" y="67627"/>
                  </a:lnTo>
                  <a:lnTo>
                    <a:pt x="134670" y="67627"/>
                  </a:lnTo>
                  <a:lnTo>
                    <a:pt x="134670" y="28498"/>
                  </a:lnTo>
                  <a:lnTo>
                    <a:pt x="146659" y="28498"/>
                  </a:lnTo>
                  <a:lnTo>
                    <a:pt x="154863" y="28981"/>
                  </a:lnTo>
                  <a:lnTo>
                    <a:pt x="160108" y="33324"/>
                  </a:lnTo>
                  <a:lnTo>
                    <a:pt x="163004" y="35267"/>
                  </a:lnTo>
                  <a:lnTo>
                    <a:pt x="166839" y="39611"/>
                  </a:lnTo>
                  <a:lnTo>
                    <a:pt x="166839" y="5194"/>
                  </a:lnTo>
                  <a:lnTo>
                    <a:pt x="163855" y="4381"/>
                  </a:lnTo>
                  <a:lnTo>
                    <a:pt x="151460" y="3378"/>
                  </a:lnTo>
                  <a:lnTo>
                    <a:pt x="102425" y="3378"/>
                  </a:lnTo>
                  <a:lnTo>
                    <a:pt x="102425" y="144919"/>
                  </a:lnTo>
                  <a:lnTo>
                    <a:pt x="134670" y="144919"/>
                  </a:lnTo>
                  <a:lnTo>
                    <a:pt x="134670" y="88887"/>
                  </a:lnTo>
                  <a:lnTo>
                    <a:pt x="172618" y="144919"/>
                  </a:lnTo>
                  <a:lnTo>
                    <a:pt x="212547" y="144919"/>
                  </a:lnTo>
                  <a:close/>
                </a:path>
                <a:path w="837565" h="148590">
                  <a:moveTo>
                    <a:pt x="360172" y="144919"/>
                  </a:moveTo>
                  <a:lnTo>
                    <a:pt x="349707" y="118351"/>
                  </a:lnTo>
                  <a:lnTo>
                    <a:pt x="339801" y="93230"/>
                  </a:lnTo>
                  <a:lnTo>
                    <a:pt x="320967" y="45402"/>
                  </a:lnTo>
                  <a:lnTo>
                    <a:pt x="306768" y="9372"/>
                  </a:lnTo>
                  <a:lnTo>
                    <a:pt x="306768" y="93230"/>
                  </a:lnTo>
                  <a:lnTo>
                    <a:pt x="272161" y="93230"/>
                  </a:lnTo>
                  <a:lnTo>
                    <a:pt x="289471" y="45402"/>
                  </a:lnTo>
                  <a:lnTo>
                    <a:pt x="306768" y="93230"/>
                  </a:lnTo>
                  <a:lnTo>
                    <a:pt x="306768" y="9372"/>
                  </a:lnTo>
                  <a:lnTo>
                    <a:pt x="304406" y="3378"/>
                  </a:lnTo>
                  <a:lnTo>
                    <a:pt x="274599" y="3378"/>
                  </a:lnTo>
                  <a:lnTo>
                    <a:pt x="217805" y="144919"/>
                  </a:lnTo>
                  <a:lnTo>
                    <a:pt x="251523" y="144919"/>
                  </a:lnTo>
                  <a:lnTo>
                    <a:pt x="262547" y="118351"/>
                  </a:lnTo>
                  <a:lnTo>
                    <a:pt x="315937" y="118351"/>
                  </a:lnTo>
                  <a:lnTo>
                    <a:pt x="326517" y="144919"/>
                  </a:lnTo>
                  <a:lnTo>
                    <a:pt x="360172" y="144919"/>
                  </a:lnTo>
                  <a:close/>
                </a:path>
                <a:path w="837565" h="148590">
                  <a:moveTo>
                    <a:pt x="468820" y="98539"/>
                  </a:moveTo>
                  <a:lnTo>
                    <a:pt x="445287" y="63766"/>
                  </a:lnTo>
                  <a:lnTo>
                    <a:pt x="428434" y="57480"/>
                  </a:lnTo>
                  <a:lnTo>
                    <a:pt x="419265" y="53619"/>
                  </a:lnTo>
                  <a:lnTo>
                    <a:pt x="414007" y="52654"/>
                  </a:lnTo>
                  <a:lnTo>
                    <a:pt x="408686" y="47332"/>
                  </a:lnTo>
                  <a:lnTo>
                    <a:pt x="407733" y="44919"/>
                  </a:lnTo>
                  <a:lnTo>
                    <a:pt x="407733" y="37680"/>
                  </a:lnTo>
                  <a:lnTo>
                    <a:pt x="409206" y="34785"/>
                  </a:lnTo>
                  <a:lnTo>
                    <a:pt x="411124" y="32359"/>
                  </a:lnTo>
                  <a:lnTo>
                    <a:pt x="414972" y="28498"/>
                  </a:lnTo>
                  <a:lnTo>
                    <a:pt x="420738" y="27533"/>
                  </a:lnTo>
                  <a:lnTo>
                    <a:pt x="425043" y="27533"/>
                  </a:lnTo>
                  <a:lnTo>
                    <a:pt x="428853" y="27825"/>
                  </a:lnTo>
                  <a:lnTo>
                    <a:pt x="434301" y="29159"/>
                  </a:lnTo>
                  <a:lnTo>
                    <a:pt x="441020" y="32219"/>
                  </a:lnTo>
                  <a:lnTo>
                    <a:pt x="448627" y="37680"/>
                  </a:lnTo>
                  <a:lnTo>
                    <a:pt x="463054" y="14008"/>
                  </a:lnTo>
                  <a:lnTo>
                    <a:pt x="451040" y="6718"/>
                  </a:lnTo>
                  <a:lnTo>
                    <a:pt x="439788" y="2463"/>
                  </a:lnTo>
                  <a:lnTo>
                    <a:pt x="429704" y="482"/>
                  </a:lnTo>
                  <a:lnTo>
                    <a:pt x="421195" y="0"/>
                  </a:lnTo>
                  <a:lnTo>
                    <a:pt x="411746" y="609"/>
                  </a:lnTo>
                  <a:lnTo>
                    <a:pt x="377088" y="27533"/>
                  </a:lnTo>
                  <a:lnTo>
                    <a:pt x="374078" y="44919"/>
                  </a:lnTo>
                  <a:lnTo>
                    <a:pt x="374421" y="50533"/>
                  </a:lnTo>
                  <a:lnTo>
                    <a:pt x="402475" y="80670"/>
                  </a:lnTo>
                  <a:lnTo>
                    <a:pt x="417855" y="86474"/>
                  </a:lnTo>
                  <a:lnTo>
                    <a:pt x="426516" y="89369"/>
                  </a:lnTo>
                  <a:lnTo>
                    <a:pt x="433247" y="95161"/>
                  </a:lnTo>
                  <a:lnTo>
                    <a:pt x="435165" y="98056"/>
                  </a:lnTo>
                  <a:lnTo>
                    <a:pt x="435165" y="108204"/>
                  </a:lnTo>
                  <a:lnTo>
                    <a:pt x="433247" y="112064"/>
                  </a:lnTo>
                  <a:lnTo>
                    <a:pt x="425551" y="118351"/>
                  </a:lnTo>
                  <a:lnTo>
                    <a:pt x="419785" y="119316"/>
                  </a:lnTo>
                  <a:lnTo>
                    <a:pt x="409206" y="119316"/>
                  </a:lnTo>
                  <a:lnTo>
                    <a:pt x="384657" y="103365"/>
                  </a:lnTo>
                  <a:lnTo>
                    <a:pt x="367855" y="126555"/>
                  </a:lnTo>
                  <a:lnTo>
                    <a:pt x="401916" y="146786"/>
                  </a:lnTo>
                  <a:lnTo>
                    <a:pt x="416382" y="148297"/>
                  </a:lnTo>
                  <a:lnTo>
                    <a:pt x="424738" y="147866"/>
                  </a:lnTo>
                  <a:lnTo>
                    <a:pt x="461327" y="127076"/>
                  </a:lnTo>
                  <a:lnTo>
                    <a:pt x="467880" y="109080"/>
                  </a:lnTo>
                  <a:lnTo>
                    <a:pt x="468820" y="98539"/>
                  </a:lnTo>
                  <a:close/>
                </a:path>
                <a:path w="837565" h="148590">
                  <a:moveTo>
                    <a:pt x="572211" y="3327"/>
                  </a:moveTo>
                  <a:lnTo>
                    <a:pt x="478434" y="3327"/>
                  </a:lnTo>
                  <a:lnTo>
                    <a:pt x="478434" y="31330"/>
                  </a:lnTo>
                  <a:lnTo>
                    <a:pt x="509193" y="31330"/>
                  </a:lnTo>
                  <a:lnTo>
                    <a:pt x="509193" y="144627"/>
                  </a:lnTo>
                  <a:lnTo>
                    <a:pt x="541896" y="144627"/>
                  </a:lnTo>
                  <a:lnTo>
                    <a:pt x="541896" y="31330"/>
                  </a:lnTo>
                  <a:lnTo>
                    <a:pt x="572211" y="31330"/>
                  </a:lnTo>
                  <a:lnTo>
                    <a:pt x="572211" y="3327"/>
                  </a:lnTo>
                  <a:close/>
                </a:path>
                <a:path w="837565" h="148590">
                  <a:moveTo>
                    <a:pt x="699643" y="144919"/>
                  </a:moveTo>
                  <a:lnTo>
                    <a:pt x="657809" y="88887"/>
                  </a:lnTo>
                  <a:lnTo>
                    <a:pt x="656374" y="86956"/>
                  </a:lnTo>
                  <a:lnTo>
                    <a:pt x="664514" y="85013"/>
                  </a:lnTo>
                  <a:lnTo>
                    <a:pt x="671245" y="80670"/>
                  </a:lnTo>
                  <a:lnTo>
                    <a:pt x="687146" y="47332"/>
                  </a:lnTo>
                  <a:lnTo>
                    <a:pt x="686066" y="36449"/>
                  </a:lnTo>
                  <a:lnTo>
                    <a:pt x="661200" y="7061"/>
                  </a:lnTo>
                  <a:lnTo>
                    <a:pt x="654443" y="5257"/>
                  </a:lnTo>
                  <a:lnTo>
                    <a:pt x="654443" y="39611"/>
                  </a:lnTo>
                  <a:lnTo>
                    <a:pt x="654443" y="54584"/>
                  </a:lnTo>
                  <a:lnTo>
                    <a:pt x="651052" y="58928"/>
                  </a:lnTo>
                  <a:lnTo>
                    <a:pt x="649135" y="61353"/>
                  </a:lnTo>
                  <a:lnTo>
                    <a:pt x="643356" y="67144"/>
                  </a:lnTo>
                  <a:lnTo>
                    <a:pt x="635152" y="67627"/>
                  </a:lnTo>
                  <a:lnTo>
                    <a:pt x="622211" y="67627"/>
                  </a:lnTo>
                  <a:lnTo>
                    <a:pt x="622211" y="28498"/>
                  </a:lnTo>
                  <a:lnTo>
                    <a:pt x="633742" y="28498"/>
                  </a:lnTo>
                  <a:lnTo>
                    <a:pt x="642404" y="28981"/>
                  </a:lnTo>
                  <a:lnTo>
                    <a:pt x="647712" y="33324"/>
                  </a:lnTo>
                  <a:lnTo>
                    <a:pt x="650608" y="35267"/>
                  </a:lnTo>
                  <a:lnTo>
                    <a:pt x="654443" y="39611"/>
                  </a:lnTo>
                  <a:lnTo>
                    <a:pt x="654443" y="5257"/>
                  </a:lnTo>
                  <a:lnTo>
                    <a:pt x="651205" y="4381"/>
                  </a:lnTo>
                  <a:lnTo>
                    <a:pt x="639000" y="3378"/>
                  </a:lnTo>
                  <a:lnTo>
                    <a:pt x="589521" y="3378"/>
                  </a:lnTo>
                  <a:lnTo>
                    <a:pt x="589521" y="144919"/>
                  </a:lnTo>
                  <a:lnTo>
                    <a:pt x="622211" y="144919"/>
                  </a:lnTo>
                  <a:lnTo>
                    <a:pt x="622211" y="88887"/>
                  </a:lnTo>
                  <a:lnTo>
                    <a:pt x="660222" y="144919"/>
                  </a:lnTo>
                  <a:lnTo>
                    <a:pt x="699643" y="144919"/>
                  </a:lnTo>
                  <a:close/>
                </a:path>
                <a:path w="837565" h="148590">
                  <a:moveTo>
                    <a:pt x="837133" y="3378"/>
                  </a:moveTo>
                  <a:lnTo>
                    <a:pt x="804443" y="3378"/>
                  </a:lnTo>
                  <a:lnTo>
                    <a:pt x="804443" y="92265"/>
                  </a:lnTo>
                  <a:lnTo>
                    <a:pt x="803922" y="102882"/>
                  </a:lnTo>
                  <a:lnTo>
                    <a:pt x="791425" y="116420"/>
                  </a:lnTo>
                  <a:lnTo>
                    <a:pt x="783742" y="117386"/>
                  </a:lnTo>
                  <a:lnTo>
                    <a:pt x="771232" y="117386"/>
                  </a:lnTo>
                  <a:lnTo>
                    <a:pt x="763549" y="116420"/>
                  </a:lnTo>
                  <a:lnTo>
                    <a:pt x="757783" y="110134"/>
                  </a:lnTo>
                  <a:lnTo>
                    <a:pt x="750595" y="102882"/>
                  </a:lnTo>
                  <a:lnTo>
                    <a:pt x="750595" y="3378"/>
                  </a:lnTo>
                  <a:lnTo>
                    <a:pt x="717905" y="3378"/>
                  </a:lnTo>
                  <a:lnTo>
                    <a:pt x="717905" y="86956"/>
                  </a:lnTo>
                  <a:lnTo>
                    <a:pt x="718350" y="97637"/>
                  </a:lnTo>
                  <a:lnTo>
                    <a:pt x="743966" y="140347"/>
                  </a:lnTo>
                  <a:lnTo>
                    <a:pt x="777519" y="148297"/>
                  </a:lnTo>
                  <a:lnTo>
                    <a:pt x="788733" y="147701"/>
                  </a:lnTo>
                  <a:lnTo>
                    <a:pt x="829614" y="120637"/>
                  </a:lnTo>
                  <a:lnTo>
                    <a:pt x="837133" y="86956"/>
                  </a:lnTo>
                  <a:lnTo>
                    <a:pt x="837133" y="3378"/>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9" name="object 9"/>
            <p:cNvPicPr/>
            <p:nvPr/>
          </p:nvPicPr>
          <p:blipFill>
            <a:blip r:embed="rId4" cstate="screen">
              <a:extLst>
                <a:ext uri="{28A0092B-C50C-407E-A947-70E740481C1C}">
                  <a14:useLocalDpi xmlns:a14="http://schemas.microsoft.com/office/drawing/2010/main"/>
                </a:ext>
              </a:extLst>
            </a:blip>
            <a:stretch>
              <a:fillRect/>
            </a:stretch>
          </p:blipFill>
          <p:spPr>
            <a:xfrm>
              <a:off x="11380751" y="228041"/>
              <a:ext cx="351008" cy="148305"/>
            </a:xfrm>
            <a:prstGeom prst="rect">
              <a:avLst/>
            </a:prstGeom>
          </p:spPr>
        </p:pic>
        <p:pic>
          <p:nvPicPr>
            <p:cNvPr id="10" name="object 10"/>
            <p:cNvPicPr/>
            <p:nvPr/>
          </p:nvPicPr>
          <p:blipFill>
            <a:blip r:embed="rId5" cstate="screen">
              <a:extLst>
                <a:ext uri="{28A0092B-C50C-407E-A947-70E740481C1C}">
                  <a14:useLocalDpi xmlns:a14="http://schemas.microsoft.com/office/drawing/2010/main"/>
                </a:ext>
              </a:extLst>
            </a:blip>
            <a:stretch>
              <a:fillRect/>
            </a:stretch>
          </p:blipFill>
          <p:spPr>
            <a:xfrm>
              <a:off x="11762526" y="231378"/>
              <a:ext cx="208194" cy="141587"/>
            </a:xfrm>
            <a:prstGeom prst="rect">
              <a:avLst/>
            </a:prstGeom>
          </p:spPr>
        </p:pic>
        <p:pic>
          <p:nvPicPr>
            <p:cNvPr id="11" name="object 11"/>
            <p:cNvPicPr/>
            <p:nvPr/>
          </p:nvPicPr>
          <p:blipFill>
            <a:blip r:embed="rId6" cstate="screen">
              <a:extLst>
                <a:ext uri="{28A0092B-C50C-407E-A947-70E740481C1C}">
                  <a14:useLocalDpi xmlns:a14="http://schemas.microsoft.com/office/drawing/2010/main"/>
                </a:ext>
              </a:extLst>
            </a:blip>
            <a:stretch>
              <a:fillRect/>
            </a:stretch>
          </p:blipFill>
          <p:spPr>
            <a:xfrm>
              <a:off x="10286888" y="430450"/>
              <a:ext cx="405819" cy="141537"/>
            </a:xfrm>
            <a:prstGeom prst="rect">
              <a:avLst/>
            </a:prstGeom>
          </p:spPr>
        </p:pic>
        <p:pic>
          <p:nvPicPr>
            <p:cNvPr id="12" name="object 12"/>
            <p:cNvPicPr/>
            <p:nvPr/>
          </p:nvPicPr>
          <p:blipFill>
            <a:blip r:embed="rId7" cstate="screen">
              <a:extLst>
                <a:ext uri="{28A0092B-C50C-407E-A947-70E740481C1C}">
                  <a14:useLocalDpi xmlns:a14="http://schemas.microsoft.com/office/drawing/2010/main"/>
                </a:ext>
              </a:extLst>
            </a:blip>
            <a:stretch>
              <a:fillRect/>
            </a:stretch>
          </p:blipFill>
          <p:spPr>
            <a:xfrm>
              <a:off x="10723475" y="430450"/>
              <a:ext cx="124993" cy="141537"/>
            </a:xfrm>
            <a:prstGeom prst="rect">
              <a:avLst/>
            </a:prstGeom>
          </p:spPr>
        </p:pic>
        <p:sp>
          <p:nvSpPr>
            <p:cNvPr id="13" name="object 13"/>
            <p:cNvSpPr/>
            <p:nvPr/>
          </p:nvSpPr>
          <p:spPr>
            <a:xfrm>
              <a:off x="10089750" y="231421"/>
              <a:ext cx="141605" cy="340995"/>
            </a:xfrm>
            <a:custGeom>
              <a:avLst/>
              <a:gdLst/>
              <a:ahLst/>
              <a:cxnLst/>
              <a:rect l="l" t="t" r="r" b="b"/>
              <a:pathLst>
                <a:path w="141604" h="340995">
                  <a:moveTo>
                    <a:pt x="141358" y="0"/>
                  </a:moveTo>
                  <a:lnTo>
                    <a:pt x="0" y="0"/>
                  </a:lnTo>
                  <a:lnTo>
                    <a:pt x="10922" y="2204"/>
                  </a:lnTo>
                  <a:lnTo>
                    <a:pt x="19954" y="8213"/>
                  </a:lnTo>
                  <a:lnTo>
                    <a:pt x="26100" y="17120"/>
                  </a:lnTo>
                  <a:lnTo>
                    <a:pt x="28370" y="28017"/>
                  </a:lnTo>
                  <a:lnTo>
                    <a:pt x="28370" y="340565"/>
                  </a:lnTo>
                  <a:lnTo>
                    <a:pt x="141358" y="340565"/>
                  </a:lnTo>
                  <a:lnTo>
                    <a:pt x="141358" y="284047"/>
                  </a:lnTo>
                  <a:lnTo>
                    <a:pt x="56253" y="170044"/>
                  </a:lnTo>
                  <a:lnTo>
                    <a:pt x="141358" y="56518"/>
                  </a:lnTo>
                  <a:lnTo>
                    <a:pt x="141358"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4" name="object 14"/>
            <p:cNvSpPr/>
            <p:nvPr/>
          </p:nvSpPr>
          <p:spPr>
            <a:xfrm>
              <a:off x="9948386" y="231421"/>
              <a:ext cx="141605" cy="340995"/>
            </a:xfrm>
            <a:custGeom>
              <a:avLst/>
              <a:gdLst/>
              <a:ahLst/>
              <a:cxnLst/>
              <a:rect l="l" t="t" r="r" b="b"/>
              <a:pathLst>
                <a:path w="141604" h="340995">
                  <a:moveTo>
                    <a:pt x="141364" y="0"/>
                  </a:moveTo>
                  <a:lnTo>
                    <a:pt x="0" y="0"/>
                  </a:lnTo>
                  <a:lnTo>
                    <a:pt x="0" y="284047"/>
                  </a:lnTo>
                  <a:lnTo>
                    <a:pt x="4395" y="306124"/>
                  </a:lnTo>
                  <a:lnTo>
                    <a:pt x="16409" y="324080"/>
                  </a:lnTo>
                  <a:lnTo>
                    <a:pt x="34283" y="336149"/>
                  </a:lnTo>
                  <a:lnTo>
                    <a:pt x="56260" y="340565"/>
                  </a:lnTo>
                  <a:lnTo>
                    <a:pt x="78310" y="336150"/>
                  </a:lnTo>
                  <a:lnTo>
                    <a:pt x="96347" y="324080"/>
                  </a:lnTo>
                  <a:lnTo>
                    <a:pt x="108524" y="306124"/>
                  </a:lnTo>
                  <a:lnTo>
                    <a:pt x="112994" y="284047"/>
                  </a:lnTo>
                  <a:lnTo>
                    <a:pt x="112994" y="24154"/>
                  </a:lnTo>
                  <a:lnTo>
                    <a:pt x="113955" y="20290"/>
                  </a:lnTo>
                  <a:lnTo>
                    <a:pt x="115398" y="16909"/>
                  </a:lnTo>
                  <a:lnTo>
                    <a:pt x="115398" y="16426"/>
                  </a:lnTo>
                  <a:lnTo>
                    <a:pt x="116359" y="14495"/>
                  </a:lnTo>
                  <a:lnTo>
                    <a:pt x="120739" y="8562"/>
                  </a:lnTo>
                  <a:lnTo>
                    <a:pt x="126518" y="3987"/>
                  </a:lnTo>
                  <a:lnTo>
                    <a:pt x="133469" y="1042"/>
                  </a:lnTo>
                  <a:lnTo>
                    <a:pt x="141364"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15" name="object 15"/>
          <p:cNvGrpSpPr/>
          <p:nvPr/>
        </p:nvGrpSpPr>
        <p:grpSpPr>
          <a:xfrm>
            <a:off x="3500623" y="1194771"/>
            <a:ext cx="6416675" cy="948055"/>
            <a:chOff x="3500623" y="1194771"/>
            <a:chExt cx="6416675" cy="948055"/>
          </a:xfrm>
        </p:grpSpPr>
        <p:pic>
          <p:nvPicPr>
            <p:cNvPr id="16" name="object 16"/>
            <p:cNvPicPr/>
            <p:nvPr/>
          </p:nvPicPr>
          <p:blipFill>
            <a:blip r:embed="rId8" cstate="print"/>
            <a:stretch>
              <a:fillRect/>
            </a:stretch>
          </p:blipFill>
          <p:spPr>
            <a:xfrm>
              <a:off x="3500623" y="1194771"/>
              <a:ext cx="6416048" cy="948001"/>
            </a:xfrm>
            <a:prstGeom prst="rect">
              <a:avLst/>
            </a:prstGeom>
          </p:spPr>
        </p:pic>
        <p:sp>
          <p:nvSpPr>
            <p:cNvPr id="17" name="object 17"/>
            <p:cNvSpPr/>
            <p:nvPr/>
          </p:nvSpPr>
          <p:spPr>
            <a:xfrm>
              <a:off x="3517391" y="1202435"/>
              <a:ext cx="6332220" cy="873760"/>
            </a:xfrm>
            <a:custGeom>
              <a:avLst/>
              <a:gdLst/>
              <a:ahLst/>
              <a:cxnLst/>
              <a:rect l="l" t="t" r="r" b="b"/>
              <a:pathLst>
                <a:path w="6332220" h="873760">
                  <a:moveTo>
                    <a:pt x="6186678" y="0"/>
                  </a:moveTo>
                  <a:lnTo>
                    <a:pt x="145542" y="0"/>
                  </a:lnTo>
                  <a:lnTo>
                    <a:pt x="99535" y="7418"/>
                  </a:lnTo>
                  <a:lnTo>
                    <a:pt x="59582" y="28078"/>
                  </a:lnTo>
                  <a:lnTo>
                    <a:pt x="28078" y="59582"/>
                  </a:lnTo>
                  <a:lnTo>
                    <a:pt x="7418" y="99535"/>
                  </a:lnTo>
                  <a:lnTo>
                    <a:pt x="0" y="145541"/>
                  </a:lnTo>
                  <a:lnTo>
                    <a:pt x="0" y="727710"/>
                  </a:lnTo>
                  <a:lnTo>
                    <a:pt x="7418" y="773716"/>
                  </a:lnTo>
                  <a:lnTo>
                    <a:pt x="28078" y="813669"/>
                  </a:lnTo>
                  <a:lnTo>
                    <a:pt x="59582" y="845173"/>
                  </a:lnTo>
                  <a:lnTo>
                    <a:pt x="99535" y="865833"/>
                  </a:lnTo>
                  <a:lnTo>
                    <a:pt x="145542" y="873251"/>
                  </a:lnTo>
                  <a:lnTo>
                    <a:pt x="6186678" y="873251"/>
                  </a:lnTo>
                  <a:lnTo>
                    <a:pt x="6232684" y="865833"/>
                  </a:lnTo>
                  <a:lnTo>
                    <a:pt x="6272637" y="845173"/>
                  </a:lnTo>
                  <a:lnTo>
                    <a:pt x="6304141" y="813669"/>
                  </a:lnTo>
                  <a:lnTo>
                    <a:pt x="6324801" y="773716"/>
                  </a:lnTo>
                  <a:lnTo>
                    <a:pt x="6332220" y="727710"/>
                  </a:lnTo>
                  <a:lnTo>
                    <a:pt x="6332220" y="145541"/>
                  </a:lnTo>
                  <a:lnTo>
                    <a:pt x="6324801" y="99535"/>
                  </a:lnTo>
                  <a:lnTo>
                    <a:pt x="6304141" y="59582"/>
                  </a:lnTo>
                  <a:lnTo>
                    <a:pt x="6272637" y="28078"/>
                  </a:lnTo>
                  <a:lnTo>
                    <a:pt x="6232684" y="7418"/>
                  </a:lnTo>
                  <a:lnTo>
                    <a:pt x="6186678"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8" name="object 18"/>
            <p:cNvPicPr/>
            <p:nvPr/>
          </p:nvPicPr>
          <p:blipFill>
            <a:blip r:embed="rId9" cstate="screen">
              <a:extLst>
                <a:ext uri="{28A0092B-C50C-407E-A947-70E740481C1C}">
                  <a14:useLocalDpi xmlns:a14="http://schemas.microsoft.com/office/drawing/2010/main"/>
                </a:ext>
              </a:extLst>
            </a:blip>
            <a:stretch>
              <a:fillRect/>
            </a:stretch>
          </p:blipFill>
          <p:spPr>
            <a:xfrm>
              <a:off x="4062729" y="1227785"/>
              <a:ext cx="1436497" cy="228904"/>
            </a:xfrm>
            <a:prstGeom prst="rect">
              <a:avLst/>
            </a:prstGeom>
          </p:spPr>
        </p:pic>
        <p:pic>
          <p:nvPicPr>
            <p:cNvPr id="19" name="object 19"/>
            <p:cNvPicPr/>
            <p:nvPr/>
          </p:nvPicPr>
          <p:blipFill>
            <a:blip r:embed="rId10" cstate="screen">
              <a:extLst>
                <a:ext uri="{28A0092B-C50C-407E-A947-70E740481C1C}">
                  <a14:useLocalDpi xmlns:a14="http://schemas.microsoft.com/office/drawing/2010/main"/>
                </a:ext>
              </a:extLst>
            </a:blip>
            <a:stretch>
              <a:fillRect/>
            </a:stretch>
          </p:blipFill>
          <p:spPr>
            <a:xfrm>
              <a:off x="4234941" y="1444751"/>
              <a:ext cx="2244979" cy="195072"/>
            </a:xfrm>
            <a:prstGeom prst="rect">
              <a:avLst/>
            </a:prstGeom>
          </p:spPr>
        </p:pic>
        <p:pic>
          <p:nvPicPr>
            <p:cNvPr id="20" name="object 20"/>
            <p:cNvPicPr/>
            <p:nvPr/>
          </p:nvPicPr>
          <p:blipFill>
            <a:blip r:embed="rId11" cstate="screen">
              <a:extLst>
                <a:ext uri="{28A0092B-C50C-407E-A947-70E740481C1C}">
                  <a14:useLocalDpi xmlns:a14="http://schemas.microsoft.com/office/drawing/2010/main"/>
                </a:ext>
              </a:extLst>
            </a:blip>
            <a:stretch>
              <a:fillRect/>
            </a:stretch>
          </p:blipFill>
          <p:spPr>
            <a:xfrm>
              <a:off x="4234941" y="1627631"/>
              <a:ext cx="5515356" cy="195072"/>
            </a:xfrm>
            <a:prstGeom prst="rect">
              <a:avLst/>
            </a:prstGeom>
          </p:spPr>
        </p:pic>
      </p:grpSp>
      <p:sp>
        <p:nvSpPr>
          <p:cNvPr id="21" name="object 21"/>
          <p:cNvSpPr txBox="1"/>
          <p:nvPr/>
        </p:nvSpPr>
        <p:spPr>
          <a:xfrm>
            <a:off x="4050029" y="1429003"/>
            <a:ext cx="79375" cy="57404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0" i="0" u="none" strike="noStrike" kern="0" cap="none" spc="-50" normalizeH="0" baseline="0" noProof="0" dirty="0">
                <a:ln>
                  <a:noFill/>
                </a:ln>
                <a:solidFill>
                  <a:srgbClr val="09211C"/>
                </a:solidFill>
                <a:effectLst/>
                <a:uLnTx/>
                <a:uFillTx/>
                <a:latin typeface="Arial"/>
                <a:ea typeface="+mn-ea"/>
                <a:cs typeface="Arial"/>
              </a:rPr>
              <a:t>•</a:t>
            </a:r>
            <a:endParaRPr kumimoji="0" sz="1200" b="0" i="0" u="none" strike="noStrike" kern="0" cap="none" spc="0" normalizeH="0" baseline="0" noProof="0" dirty="0">
              <a:ln>
                <a:noFill/>
              </a:ln>
              <a:solidFill>
                <a:sysClr val="windowText" lastClr="000000"/>
              </a:solidFill>
              <a:effectLst/>
              <a:uLnTx/>
              <a:uFillTx/>
              <a:latin typeface="Arial"/>
              <a:ea typeface="+mn-ea"/>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200" b="0" i="0" u="none" strike="noStrike" kern="0" cap="none" spc="-50" normalizeH="0" baseline="0" noProof="0" dirty="0">
                <a:ln>
                  <a:noFill/>
                </a:ln>
                <a:solidFill>
                  <a:srgbClr val="09211C"/>
                </a:solidFill>
                <a:effectLst/>
                <a:uLnTx/>
                <a:uFillTx/>
                <a:latin typeface="Arial"/>
                <a:ea typeface="+mn-ea"/>
                <a:cs typeface="Arial"/>
              </a:rPr>
              <a:t>•</a:t>
            </a:r>
            <a:endParaRPr kumimoji="0" sz="1200" b="0" i="0" u="none" strike="noStrike" kern="0" cap="none" spc="0" normalizeH="0" baseline="0" noProof="0" dirty="0">
              <a:ln>
                <a:noFill/>
              </a:ln>
              <a:solidFill>
                <a:sysClr val="windowText" lastClr="000000"/>
              </a:solidFill>
              <a:effectLst/>
              <a:uLnTx/>
              <a:uFillTx/>
              <a:latin typeface="Arial"/>
              <a:ea typeface="+mn-ea"/>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200" b="0" i="0" u="none" strike="noStrike" kern="0" cap="none" spc="-50" normalizeH="0" baseline="0" noProof="0" dirty="0">
                <a:ln>
                  <a:noFill/>
                </a:ln>
                <a:solidFill>
                  <a:srgbClr val="09211C"/>
                </a:solidFill>
                <a:effectLst/>
                <a:uLnTx/>
                <a:uFillTx/>
                <a:latin typeface="Arial"/>
                <a:ea typeface="+mn-ea"/>
                <a:cs typeface="Arial"/>
              </a:rPr>
              <a:t>•</a:t>
            </a:r>
            <a:endParaRPr kumimoji="0" sz="1200" b="0" i="0" u="none" strike="noStrike" kern="0" cap="none" spc="0" normalizeH="0" baseline="0" noProof="0" dirty="0">
              <a:ln>
                <a:noFill/>
              </a:ln>
              <a:solidFill>
                <a:sysClr val="windowText" lastClr="000000"/>
              </a:solidFill>
              <a:effectLst/>
              <a:uLnTx/>
              <a:uFillTx/>
              <a:latin typeface="Arial"/>
              <a:ea typeface="+mn-ea"/>
              <a:cs typeface="Arial"/>
            </a:endParaRPr>
          </a:p>
        </p:txBody>
      </p:sp>
      <p:grpSp>
        <p:nvGrpSpPr>
          <p:cNvPr id="22" name="object 22"/>
          <p:cNvGrpSpPr/>
          <p:nvPr/>
        </p:nvGrpSpPr>
        <p:grpSpPr>
          <a:xfrm>
            <a:off x="243821" y="2351532"/>
            <a:ext cx="3705225" cy="2390140"/>
            <a:chOff x="243821" y="2351532"/>
            <a:chExt cx="3705225" cy="2390140"/>
          </a:xfrm>
        </p:grpSpPr>
        <p:pic>
          <p:nvPicPr>
            <p:cNvPr id="23" name="object 23"/>
            <p:cNvPicPr/>
            <p:nvPr/>
          </p:nvPicPr>
          <p:blipFill>
            <a:blip r:embed="rId12" cstate="print"/>
            <a:stretch>
              <a:fillRect/>
            </a:stretch>
          </p:blipFill>
          <p:spPr>
            <a:xfrm>
              <a:off x="243821" y="3072334"/>
              <a:ext cx="3704881" cy="1668853"/>
            </a:xfrm>
            <a:prstGeom prst="rect">
              <a:avLst/>
            </a:prstGeom>
          </p:spPr>
        </p:pic>
        <p:sp>
          <p:nvSpPr>
            <p:cNvPr id="24" name="object 24"/>
            <p:cNvSpPr/>
            <p:nvPr/>
          </p:nvSpPr>
          <p:spPr>
            <a:xfrm>
              <a:off x="260604" y="3080004"/>
              <a:ext cx="3621404" cy="1594485"/>
            </a:xfrm>
            <a:custGeom>
              <a:avLst/>
              <a:gdLst/>
              <a:ahLst/>
              <a:cxnLst/>
              <a:rect l="l" t="t" r="r" b="b"/>
              <a:pathLst>
                <a:path w="3621404" h="1594485">
                  <a:moveTo>
                    <a:pt x="3355340" y="0"/>
                  </a:moveTo>
                  <a:lnTo>
                    <a:pt x="265684" y="0"/>
                  </a:lnTo>
                  <a:lnTo>
                    <a:pt x="217926" y="4282"/>
                  </a:lnTo>
                  <a:lnTo>
                    <a:pt x="172977" y="16627"/>
                  </a:lnTo>
                  <a:lnTo>
                    <a:pt x="131587" y="36284"/>
                  </a:lnTo>
                  <a:lnTo>
                    <a:pt x="94506" y="62501"/>
                  </a:lnTo>
                  <a:lnTo>
                    <a:pt x="62484" y="94527"/>
                  </a:lnTo>
                  <a:lnTo>
                    <a:pt x="36273" y="131609"/>
                  </a:lnTo>
                  <a:lnTo>
                    <a:pt x="16621" y="172997"/>
                  </a:lnTo>
                  <a:lnTo>
                    <a:pt x="4280" y="217939"/>
                  </a:lnTo>
                  <a:lnTo>
                    <a:pt x="0" y="265684"/>
                  </a:lnTo>
                  <a:lnTo>
                    <a:pt x="0" y="1328420"/>
                  </a:lnTo>
                  <a:lnTo>
                    <a:pt x="4280" y="1376164"/>
                  </a:lnTo>
                  <a:lnTo>
                    <a:pt x="16621" y="1421106"/>
                  </a:lnTo>
                  <a:lnTo>
                    <a:pt x="36273" y="1462494"/>
                  </a:lnTo>
                  <a:lnTo>
                    <a:pt x="62484" y="1499576"/>
                  </a:lnTo>
                  <a:lnTo>
                    <a:pt x="94506" y="1531602"/>
                  </a:lnTo>
                  <a:lnTo>
                    <a:pt x="131587" y="1557819"/>
                  </a:lnTo>
                  <a:lnTo>
                    <a:pt x="172977" y="1577476"/>
                  </a:lnTo>
                  <a:lnTo>
                    <a:pt x="217926" y="1589821"/>
                  </a:lnTo>
                  <a:lnTo>
                    <a:pt x="265684" y="1594104"/>
                  </a:lnTo>
                  <a:lnTo>
                    <a:pt x="3355340" y="1594104"/>
                  </a:lnTo>
                  <a:lnTo>
                    <a:pt x="3403084" y="1589821"/>
                  </a:lnTo>
                  <a:lnTo>
                    <a:pt x="3448026" y="1577476"/>
                  </a:lnTo>
                  <a:lnTo>
                    <a:pt x="3489414" y="1557819"/>
                  </a:lnTo>
                  <a:lnTo>
                    <a:pt x="3526496" y="1531602"/>
                  </a:lnTo>
                  <a:lnTo>
                    <a:pt x="3558522" y="1499576"/>
                  </a:lnTo>
                  <a:lnTo>
                    <a:pt x="3584739" y="1462494"/>
                  </a:lnTo>
                  <a:lnTo>
                    <a:pt x="3604396" y="1421106"/>
                  </a:lnTo>
                  <a:lnTo>
                    <a:pt x="3616741" y="1376164"/>
                  </a:lnTo>
                  <a:lnTo>
                    <a:pt x="3621024" y="1328420"/>
                  </a:lnTo>
                  <a:lnTo>
                    <a:pt x="3621024" y="265684"/>
                  </a:lnTo>
                  <a:lnTo>
                    <a:pt x="3616741" y="217939"/>
                  </a:lnTo>
                  <a:lnTo>
                    <a:pt x="3604396" y="172997"/>
                  </a:lnTo>
                  <a:lnTo>
                    <a:pt x="3584739" y="131609"/>
                  </a:lnTo>
                  <a:lnTo>
                    <a:pt x="3558522" y="94527"/>
                  </a:lnTo>
                  <a:lnTo>
                    <a:pt x="3526496" y="62501"/>
                  </a:lnTo>
                  <a:lnTo>
                    <a:pt x="3489414" y="36284"/>
                  </a:lnTo>
                  <a:lnTo>
                    <a:pt x="3448026" y="16627"/>
                  </a:lnTo>
                  <a:lnTo>
                    <a:pt x="3403084" y="4282"/>
                  </a:lnTo>
                  <a:lnTo>
                    <a:pt x="3355340"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5" name="object 25"/>
            <p:cNvPicPr/>
            <p:nvPr/>
          </p:nvPicPr>
          <p:blipFill>
            <a:blip r:embed="rId13" cstate="screen">
              <a:extLst>
                <a:ext uri="{28A0092B-C50C-407E-A947-70E740481C1C}">
                  <a14:useLocalDpi xmlns:a14="http://schemas.microsoft.com/office/drawing/2010/main"/>
                </a:ext>
              </a:extLst>
            </a:blip>
            <a:stretch>
              <a:fillRect/>
            </a:stretch>
          </p:blipFill>
          <p:spPr>
            <a:xfrm>
              <a:off x="424891" y="3247009"/>
              <a:ext cx="1707006" cy="228600"/>
            </a:xfrm>
            <a:prstGeom prst="rect">
              <a:avLst/>
            </a:prstGeom>
          </p:spPr>
        </p:pic>
        <p:pic>
          <p:nvPicPr>
            <p:cNvPr id="26" name="object 26"/>
            <p:cNvPicPr/>
            <p:nvPr/>
          </p:nvPicPr>
          <p:blipFill>
            <a:blip r:embed="rId14" cstate="screen">
              <a:extLst>
                <a:ext uri="{28A0092B-C50C-407E-A947-70E740481C1C}">
                  <a14:useLocalDpi xmlns:a14="http://schemas.microsoft.com/office/drawing/2010/main"/>
                </a:ext>
              </a:extLst>
            </a:blip>
            <a:stretch>
              <a:fillRect/>
            </a:stretch>
          </p:blipFill>
          <p:spPr>
            <a:xfrm>
              <a:off x="424891" y="3463417"/>
              <a:ext cx="3174111" cy="195072"/>
            </a:xfrm>
            <a:prstGeom prst="rect">
              <a:avLst/>
            </a:prstGeom>
          </p:spPr>
        </p:pic>
        <p:pic>
          <p:nvPicPr>
            <p:cNvPr id="27" name="object 27"/>
            <p:cNvPicPr/>
            <p:nvPr/>
          </p:nvPicPr>
          <p:blipFill>
            <a:blip r:embed="rId15" cstate="screen">
              <a:extLst>
                <a:ext uri="{28A0092B-C50C-407E-A947-70E740481C1C}">
                  <a14:useLocalDpi xmlns:a14="http://schemas.microsoft.com/office/drawing/2010/main"/>
                </a:ext>
              </a:extLst>
            </a:blip>
            <a:stretch>
              <a:fillRect/>
            </a:stretch>
          </p:blipFill>
          <p:spPr>
            <a:xfrm>
              <a:off x="424891" y="3645992"/>
              <a:ext cx="3399282" cy="195376"/>
            </a:xfrm>
            <a:prstGeom prst="rect">
              <a:avLst/>
            </a:prstGeom>
          </p:spPr>
        </p:pic>
        <p:pic>
          <p:nvPicPr>
            <p:cNvPr id="28" name="object 28"/>
            <p:cNvPicPr/>
            <p:nvPr/>
          </p:nvPicPr>
          <p:blipFill>
            <a:blip r:embed="rId16" cstate="screen">
              <a:extLst>
                <a:ext uri="{28A0092B-C50C-407E-A947-70E740481C1C}">
                  <a14:useLocalDpi xmlns:a14="http://schemas.microsoft.com/office/drawing/2010/main"/>
                </a:ext>
              </a:extLst>
            </a:blip>
            <a:stretch>
              <a:fillRect/>
            </a:stretch>
          </p:blipFill>
          <p:spPr>
            <a:xfrm>
              <a:off x="424891" y="3829558"/>
              <a:ext cx="782573" cy="195071"/>
            </a:xfrm>
            <a:prstGeom prst="rect">
              <a:avLst/>
            </a:prstGeom>
          </p:spPr>
        </p:pic>
        <p:pic>
          <p:nvPicPr>
            <p:cNvPr id="29" name="object 29"/>
            <p:cNvPicPr/>
            <p:nvPr/>
          </p:nvPicPr>
          <p:blipFill>
            <a:blip r:embed="rId17" cstate="screen">
              <a:extLst>
                <a:ext uri="{28A0092B-C50C-407E-A947-70E740481C1C}">
                  <a14:useLocalDpi xmlns:a14="http://schemas.microsoft.com/office/drawing/2010/main"/>
                </a:ext>
              </a:extLst>
            </a:blip>
            <a:stretch>
              <a:fillRect/>
            </a:stretch>
          </p:blipFill>
          <p:spPr>
            <a:xfrm>
              <a:off x="1147267" y="3829558"/>
              <a:ext cx="97535" cy="195071"/>
            </a:xfrm>
            <a:prstGeom prst="rect">
              <a:avLst/>
            </a:prstGeom>
          </p:spPr>
        </p:pic>
        <p:pic>
          <p:nvPicPr>
            <p:cNvPr id="30" name="object 30"/>
            <p:cNvPicPr/>
            <p:nvPr/>
          </p:nvPicPr>
          <p:blipFill>
            <a:blip r:embed="rId18" cstate="screen">
              <a:extLst>
                <a:ext uri="{28A0092B-C50C-407E-A947-70E740481C1C}">
                  <a14:useLocalDpi xmlns:a14="http://schemas.microsoft.com/office/drawing/2010/main"/>
                </a:ext>
              </a:extLst>
            </a:blip>
            <a:stretch>
              <a:fillRect/>
            </a:stretch>
          </p:blipFill>
          <p:spPr>
            <a:xfrm>
              <a:off x="1196035" y="3829558"/>
              <a:ext cx="2574671" cy="195071"/>
            </a:xfrm>
            <a:prstGeom prst="rect">
              <a:avLst/>
            </a:prstGeom>
          </p:spPr>
        </p:pic>
        <p:pic>
          <p:nvPicPr>
            <p:cNvPr id="31" name="object 31"/>
            <p:cNvPicPr/>
            <p:nvPr/>
          </p:nvPicPr>
          <p:blipFill>
            <a:blip r:embed="rId19" cstate="screen">
              <a:extLst>
                <a:ext uri="{28A0092B-C50C-407E-A947-70E740481C1C}">
                  <a14:useLocalDpi xmlns:a14="http://schemas.microsoft.com/office/drawing/2010/main"/>
                </a:ext>
              </a:extLst>
            </a:blip>
            <a:stretch>
              <a:fillRect/>
            </a:stretch>
          </p:blipFill>
          <p:spPr>
            <a:xfrm>
              <a:off x="424891" y="4012438"/>
              <a:ext cx="3212211" cy="195072"/>
            </a:xfrm>
            <a:prstGeom prst="rect">
              <a:avLst/>
            </a:prstGeom>
          </p:spPr>
        </p:pic>
        <p:pic>
          <p:nvPicPr>
            <p:cNvPr id="32" name="object 32"/>
            <p:cNvPicPr/>
            <p:nvPr/>
          </p:nvPicPr>
          <p:blipFill>
            <a:blip r:embed="rId20" cstate="screen">
              <a:extLst>
                <a:ext uri="{28A0092B-C50C-407E-A947-70E740481C1C}">
                  <a14:useLocalDpi xmlns:a14="http://schemas.microsoft.com/office/drawing/2010/main"/>
                </a:ext>
              </a:extLst>
            </a:blip>
            <a:stretch>
              <a:fillRect/>
            </a:stretch>
          </p:blipFill>
          <p:spPr>
            <a:xfrm>
              <a:off x="424891" y="4195317"/>
              <a:ext cx="3409823" cy="195072"/>
            </a:xfrm>
            <a:prstGeom prst="rect">
              <a:avLst/>
            </a:prstGeom>
          </p:spPr>
        </p:pic>
        <p:pic>
          <p:nvPicPr>
            <p:cNvPr id="33" name="object 33"/>
            <p:cNvPicPr/>
            <p:nvPr/>
          </p:nvPicPr>
          <p:blipFill>
            <a:blip r:embed="rId21" cstate="screen">
              <a:extLst>
                <a:ext uri="{28A0092B-C50C-407E-A947-70E740481C1C}">
                  <a14:useLocalDpi xmlns:a14="http://schemas.microsoft.com/office/drawing/2010/main"/>
                </a:ext>
              </a:extLst>
            </a:blip>
            <a:stretch>
              <a:fillRect/>
            </a:stretch>
          </p:blipFill>
          <p:spPr>
            <a:xfrm>
              <a:off x="424891" y="4378198"/>
              <a:ext cx="576072" cy="195071"/>
            </a:xfrm>
            <a:prstGeom prst="rect">
              <a:avLst/>
            </a:prstGeom>
          </p:spPr>
        </p:pic>
        <p:pic>
          <p:nvPicPr>
            <p:cNvPr id="34" name="object 34"/>
            <p:cNvPicPr/>
            <p:nvPr/>
          </p:nvPicPr>
          <p:blipFill>
            <a:blip r:embed="rId22" cstate="screen">
              <a:extLst>
                <a:ext uri="{28A0092B-C50C-407E-A947-70E740481C1C}">
                  <a14:useLocalDpi xmlns:a14="http://schemas.microsoft.com/office/drawing/2010/main"/>
                </a:ext>
              </a:extLst>
            </a:blip>
            <a:stretch>
              <a:fillRect/>
            </a:stretch>
          </p:blipFill>
          <p:spPr>
            <a:xfrm>
              <a:off x="1964436" y="2351532"/>
              <a:ext cx="1075944" cy="1075944"/>
            </a:xfrm>
            <a:prstGeom prst="rect">
              <a:avLst/>
            </a:prstGeom>
          </p:spPr>
        </p:pic>
      </p:grpSp>
      <p:grpSp>
        <p:nvGrpSpPr>
          <p:cNvPr id="35" name="object 35"/>
          <p:cNvGrpSpPr/>
          <p:nvPr/>
        </p:nvGrpSpPr>
        <p:grpSpPr>
          <a:xfrm>
            <a:off x="2793492" y="1075956"/>
            <a:ext cx="9124950" cy="3689985"/>
            <a:chOff x="2793492" y="1075956"/>
            <a:chExt cx="9124950" cy="3689985"/>
          </a:xfrm>
        </p:grpSpPr>
        <p:pic>
          <p:nvPicPr>
            <p:cNvPr id="36" name="object 36"/>
            <p:cNvPicPr/>
            <p:nvPr/>
          </p:nvPicPr>
          <p:blipFill>
            <a:blip r:embed="rId23" cstate="screen">
              <a:extLst>
                <a:ext uri="{28A0092B-C50C-407E-A947-70E740481C1C}">
                  <a14:useLocalDpi xmlns:a14="http://schemas.microsoft.com/office/drawing/2010/main"/>
                </a:ext>
              </a:extLst>
            </a:blip>
            <a:stretch>
              <a:fillRect/>
            </a:stretch>
          </p:blipFill>
          <p:spPr>
            <a:xfrm>
              <a:off x="4234942" y="1810512"/>
              <a:ext cx="3453765" cy="195072"/>
            </a:xfrm>
            <a:prstGeom prst="rect">
              <a:avLst/>
            </a:prstGeom>
          </p:spPr>
        </p:pic>
        <p:pic>
          <p:nvPicPr>
            <p:cNvPr id="37" name="object 37"/>
            <p:cNvPicPr/>
            <p:nvPr/>
          </p:nvPicPr>
          <p:blipFill>
            <a:blip r:embed="rId24" cstate="print"/>
            <a:stretch>
              <a:fillRect/>
            </a:stretch>
          </p:blipFill>
          <p:spPr>
            <a:xfrm>
              <a:off x="2793492" y="1075956"/>
              <a:ext cx="1179588" cy="1178039"/>
            </a:xfrm>
            <a:prstGeom prst="rect">
              <a:avLst/>
            </a:prstGeom>
          </p:spPr>
        </p:pic>
        <p:pic>
          <p:nvPicPr>
            <p:cNvPr id="38" name="object 38"/>
            <p:cNvPicPr/>
            <p:nvPr/>
          </p:nvPicPr>
          <p:blipFill>
            <a:blip r:embed="rId25" cstate="screen">
              <a:extLst>
                <a:ext uri="{28A0092B-C50C-407E-A947-70E740481C1C}">
                  <a14:useLocalDpi xmlns:a14="http://schemas.microsoft.com/office/drawing/2010/main"/>
                </a:ext>
              </a:extLst>
            </a:blip>
            <a:stretch>
              <a:fillRect/>
            </a:stretch>
          </p:blipFill>
          <p:spPr>
            <a:xfrm>
              <a:off x="2819400" y="1101852"/>
              <a:ext cx="1077468" cy="1075944"/>
            </a:xfrm>
            <a:prstGeom prst="rect">
              <a:avLst/>
            </a:prstGeom>
          </p:spPr>
        </p:pic>
        <p:pic>
          <p:nvPicPr>
            <p:cNvPr id="39" name="object 39"/>
            <p:cNvPicPr/>
            <p:nvPr/>
          </p:nvPicPr>
          <p:blipFill>
            <a:blip r:embed="rId26" cstate="print"/>
            <a:stretch>
              <a:fillRect/>
            </a:stretch>
          </p:blipFill>
          <p:spPr>
            <a:xfrm>
              <a:off x="4149833" y="2869634"/>
              <a:ext cx="3704881" cy="1895942"/>
            </a:xfrm>
            <a:prstGeom prst="rect">
              <a:avLst/>
            </a:prstGeom>
          </p:spPr>
        </p:pic>
        <p:sp>
          <p:nvSpPr>
            <p:cNvPr id="40" name="object 40"/>
            <p:cNvSpPr/>
            <p:nvPr/>
          </p:nvSpPr>
          <p:spPr>
            <a:xfrm>
              <a:off x="4166616" y="2877312"/>
              <a:ext cx="3621404" cy="1821180"/>
            </a:xfrm>
            <a:custGeom>
              <a:avLst/>
              <a:gdLst/>
              <a:ahLst/>
              <a:cxnLst/>
              <a:rect l="l" t="t" r="r" b="b"/>
              <a:pathLst>
                <a:path w="3621404" h="1821179">
                  <a:moveTo>
                    <a:pt x="3317493" y="0"/>
                  </a:moveTo>
                  <a:lnTo>
                    <a:pt x="303530" y="0"/>
                  </a:lnTo>
                  <a:lnTo>
                    <a:pt x="254294" y="3972"/>
                  </a:lnTo>
                  <a:lnTo>
                    <a:pt x="207589" y="15473"/>
                  </a:lnTo>
                  <a:lnTo>
                    <a:pt x="164038" y="33878"/>
                  </a:lnTo>
                  <a:lnTo>
                    <a:pt x="124266" y="58562"/>
                  </a:lnTo>
                  <a:lnTo>
                    <a:pt x="88900" y="88900"/>
                  </a:lnTo>
                  <a:lnTo>
                    <a:pt x="58562" y="124266"/>
                  </a:lnTo>
                  <a:lnTo>
                    <a:pt x="33878" y="164038"/>
                  </a:lnTo>
                  <a:lnTo>
                    <a:pt x="15473" y="207589"/>
                  </a:lnTo>
                  <a:lnTo>
                    <a:pt x="3972" y="254294"/>
                  </a:lnTo>
                  <a:lnTo>
                    <a:pt x="0" y="303529"/>
                  </a:lnTo>
                  <a:lnTo>
                    <a:pt x="0" y="1517650"/>
                  </a:lnTo>
                  <a:lnTo>
                    <a:pt x="3972" y="1566885"/>
                  </a:lnTo>
                  <a:lnTo>
                    <a:pt x="15473" y="1613590"/>
                  </a:lnTo>
                  <a:lnTo>
                    <a:pt x="33878" y="1657141"/>
                  </a:lnTo>
                  <a:lnTo>
                    <a:pt x="58562" y="1696913"/>
                  </a:lnTo>
                  <a:lnTo>
                    <a:pt x="88900" y="1732280"/>
                  </a:lnTo>
                  <a:lnTo>
                    <a:pt x="124266" y="1762617"/>
                  </a:lnTo>
                  <a:lnTo>
                    <a:pt x="164038" y="1787301"/>
                  </a:lnTo>
                  <a:lnTo>
                    <a:pt x="207589" y="1805706"/>
                  </a:lnTo>
                  <a:lnTo>
                    <a:pt x="254294" y="1817207"/>
                  </a:lnTo>
                  <a:lnTo>
                    <a:pt x="303530" y="1821180"/>
                  </a:lnTo>
                  <a:lnTo>
                    <a:pt x="3317493" y="1821180"/>
                  </a:lnTo>
                  <a:lnTo>
                    <a:pt x="3366729" y="1817207"/>
                  </a:lnTo>
                  <a:lnTo>
                    <a:pt x="3413434" y="1805706"/>
                  </a:lnTo>
                  <a:lnTo>
                    <a:pt x="3456985" y="1787301"/>
                  </a:lnTo>
                  <a:lnTo>
                    <a:pt x="3496757" y="1762617"/>
                  </a:lnTo>
                  <a:lnTo>
                    <a:pt x="3532123" y="1732280"/>
                  </a:lnTo>
                  <a:lnTo>
                    <a:pt x="3562461" y="1696913"/>
                  </a:lnTo>
                  <a:lnTo>
                    <a:pt x="3587145" y="1657141"/>
                  </a:lnTo>
                  <a:lnTo>
                    <a:pt x="3605550" y="1613590"/>
                  </a:lnTo>
                  <a:lnTo>
                    <a:pt x="3617051" y="1566885"/>
                  </a:lnTo>
                  <a:lnTo>
                    <a:pt x="3621024" y="1517650"/>
                  </a:lnTo>
                  <a:lnTo>
                    <a:pt x="3621024" y="303529"/>
                  </a:lnTo>
                  <a:lnTo>
                    <a:pt x="3617051" y="254294"/>
                  </a:lnTo>
                  <a:lnTo>
                    <a:pt x="3605550" y="207589"/>
                  </a:lnTo>
                  <a:lnTo>
                    <a:pt x="3587145" y="164038"/>
                  </a:lnTo>
                  <a:lnTo>
                    <a:pt x="3562461" y="124266"/>
                  </a:lnTo>
                  <a:lnTo>
                    <a:pt x="3532124" y="88900"/>
                  </a:lnTo>
                  <a:lnTo>
                    <a:pt x="3496757" y="58562"/>
                  </a:lnTo>
                  <a:lnTo>
                    <a:pt x="3456985" y="33878"/>
                  </a:lnTo>
                  <a:lnTo>
                    <a:pt x="3413434" y="15473"/>
                  </a:lnTo>
                  <a:lnTo>
                    <a:pt x="3366729" y="3972"/>
                  </a:lnTo>
                  <a:lnTo>
                    <a:pt x="3317493"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1" name="object 41"/>
            <p:cNvPicPr/>
            <p:nvPr/>
          </p:nvPicPr>
          <p:blipFill>
            <a:blip r:embed="rId27" cstate="screen">
              <a:extLst>
                <a:ext uri="{28A0092B-C50C-407E-A947-70E740481C1C}">
                  <a14:useLocalDpi xmlns:a14="http://schemas.microsoft.com/office/drawing/2010/main"/>
                </a:ext>
              </a:extLst>
            </a:blip>
            <a:stretch>
              <a:fillRect/>
            </a:stretch>
          </p:blipFill>
          <p:spPr>
            <a:xfrm>
              <a:off x="4247388" y="3048965"/>
              <a:ext cx="1129499" cy="228904"/>
            </a:xfrm>
            <a:prstGeom prst="rect">
              <a:avLst/>
            </a:prstGeom>
          </p:spPr>
        </p:pic>
        <p:pic>
          <p:nvPicPr>
            <p:cNvPr id="42" name="object 42"/>
            <p:cNvPicPr/>
            <p:nvPr/>
          </p:nvPicPr>
          <p:blipFill>
            <a:blip r:embed="rId28" cstate="screen">
              <a:extLst>
                <a:ext uri="{28A0092B-C50C-407E-A947-70E740481C1C}">
                  <a14:useLocalDpi xmlns:a14="http://schemas.microsoft.com/office/drawing/2010/main"/>
                </a:ext>
              </a:extLst>
            </a:blip>
            <a:stretch>
              <a:fillRect/>
            </a:stretch>
          </p:blipFill>
          <p:spPr>
            <a:xfrm>
              <a:off x="4247388" y="3265931"/>
              <a:ext cx="3427729" cy="195072"/>
            </a:xfrm>
            <a:prstGeom prst="rect">
              <a:avLst/>
            </a:prstGeom>
          </p:spPr>
        </p:pic>
        <p:pic>
          <p:nvPicPr>
            <p:cNvPr id="43" name="object 43"/>
            <p:cNvPicPr/>
            <p:nvPr/>
          </p:nvPicPr>
          <p:blipFill>
            <a:blip r:embed="rId29" cstate="screen">
              <a:extLst>
                <a:ext uri="{28A0092B-C50C-407E-A947-70E740481C1C}">
                  <a14:useLocalDpi xmlns:a14="http://schemas.microsoft.com/office/drawing/2010/main"/>
                </a:ext>
              </a:extLst>
            </a:blip>
            <a:stretch>
              <a:fillRect/>
            </a:stretch>
          </p:blipFill>
          <p:spPr>
            <a:xfrm>
              <a:off x="4247388" y="3448812"/>
              <a:ext cx="535266" cy="195071"/>
            </a:xfrm>
            <a:prstGeom prst="rect">
              <a:avLst/>
            </a:prstGeom>
          </p:spPr>
        </p:pic>
        <p:pic>
          <p:nvPicPr>
            <p:cNvPr id="44" name="object 44"/>
            <p:cNvPicPr/>
            <p:nvPr/>
          </p:nvPicPr>
          <p:blipFill>
            <a:blip r:embed="rId17" cstate="screen">
              <a:extLst>
                <a:ext uri="{28A0092B-C50C-407E-A947-70E740481C1C}">
                  <a14:useLocalDpi xmlns:a14="http://schemas.microsoft.com/office/drawing/2010/main"/>
                </a:ext>
              </a:extLst>
            </a:blip>
            <a:stretch>
              <a:fillRect/>
            </a:stretch>
          </p:blipFill>
          <p:spPr>
            <a:xfrm>
              <a:off x="4723130" y="3448812"/>
              <a:ext cx="97536" cy="195071"/>
            </a:xfrm>
            <a:prstGeom prst="rect">
              <a:avLst/>
            </a:prstGeom>
          </p:spPr>
        </p:pic>
        <p:pic>
          <p:nvPicPr>
            <p:cNvPr id="45" name="object 45"/>
            <p:cNvPicPr/>
            <p:nvPr/>
          </p:nvPicPr>
          <p:blipFill>
            <a:blip r:embed="rId30" cstate="screen">
              <a:extLst>
                <a:ext uri="{28A0092B-C50C-407E-A947-70E740481C1C}">
                  <a14:useLocalDpi xmlns:a14="http://schemas.microsoft.com/office/drawing/2010/main"/>
                </a:ext>
              </a:extLst>
            </a:blip>
            <a:stretch>
              <a:fillRect/>
            </a:stretch>
          </p:blipFill>
          <p:spPr>
            <a:xfrm>
              <a:off x="4771898" y="3448812"/>
              <a:ext cx="2946019" cy="195071"/>
            </a:xfrm>
            <a:prstGeom prst="rect">
              <a:avLst/>
            </a:prstGeom>
          </p:spPr>
        </p:pic>
        <p:pic>
          <p:nvPicPr>
            <p:cNvPr id="46" name="object 46"/>
            <p:cNvPicPr/>
            <p:nvPr/>
          </p:nvPicPr>
          <p:blipFill>
            <a:blip r:embed="rId31" cstate="screen">
              <a:extLst>
                <a:ext uri="{28A0092B-C50C-407E-A947-70E740481C1C}">
                  <a14:useLocalDpi xmlns:a14="http://schemas.microsoft.com/office/drawing/2010/main"/>
                </a:ext>
              </a:extLst>
            </a:blip>
            <a:stretch>
              <a:fillRect/>
            </a:stretch>
          </p:blipFill>
          <p:spPr>
            <a:xfrm>
              <a:off x="4247388" y="3631691"/>
              <a:ext cx="3508375" cy="195072"/>
            </a:xfrm>
            <a:prstGeom prst="rect">
              <a:avLst/>
            </a:prstGeom>
          </p:spPr>
        </p:pic>
        <p:pic>
          <p:nvPicPr>
            <p:cNvPr id="47" name="object 47"/>
            <p:cNvPicPr/>
            <p:nvPr/>
          </p:nvPicPr>
          <p:blipFill>
            <a:blip r:embed="rId32" cstate="screen">
              <a:extLst>
                <a:ext uri="{28A0092B-C50C-407E-A947-70E740481C1C}">
                  <a14:useLocalDpi xmlns:a14="http://schemas.microsoft.com/office/drawing/2010/main"/>
                </a:ext>
              </a:extLst>
            </a:blip>
            <a:stretch>
              <a:fillRect/>
            </a:stretch>
          </p:blipFill>
          <p:spPr>
            <a:xfrm>
              <a:off x="4247388" y="3814572"/>
              <a:ext cx="3561079" cy="195071"/>
            </a:xfrm>
            <a:prstGeom prst="rect">
              <a:avLst/>
            </a:prstGeom>
          </p:spPr>
        </p:pic>
        <p:pic>
          <p:nvPicPr>
            <p:cNvPr id="48" name="object 48"/>
            <p:cNvPicPr/>
            <p:nvPr/>
          </p:nvPicPr>
          <p:blipFill>
            <a:blip r:embed="rId33" cstate="screen">
              <a:extLst>
                <a:ext uri="{28A0092B-C50C-407E-A947-70E740481C1C}">
                  <a14:useLocalDpi xmlns:a14="http://schemas.microsoft.com/office/drawing/2010/main"/>
                </a:ext>
              </a:extLst>
            </a:blip>
            <a:stretch>
              <a:fillRect/>
            </a:stretch>
          </p:blipFill>
          <p:spPr>
            <a:xfrm>
              <a:off x="4247388" y="3997452"/>
              <a:ext cx="3542538" cy="195072"/>
            </a:xfrm>
            <a:prstGeom prst="rect">
              <a:avLst/>
            </a:prstGeom>
          </p:spPr>
        </p:pic>
        <p:pic>
          <p:nvPicPr>
            <p:cNvPr id="49" name="object 49"/>
            <p:cNvPicPr/>
            <p:nvPr/>
          </p:nvPicPr>
          <p:blipFill>
            <a:blip r:embed="rId34" cstate="screen">
              <a:extLst>
                <a:ext uri="{28A0092B-C50C-407E-A947-70E740481C1C}">
                  <a14:useLocalDpi xmlns:a14="http://schemas.microsoft.com/office/drawing/2010/main"/>
                </a:ext>
              </a:extLst>
            </a:blip>
            <a:stretch>
              <a:fillRect/>
            </a:stretch>
          </p:blipFill>
          <p:spPr>
            <a:xfrm>
              <a:off x="4247388" y="4180331"/>
              <a:ext cx="3158109" cy="195071"/>
            </a:xfrm>
            <a:prstGeom prst="rect">
              <a:avLst/>
            </a:prstGeom>
          </p:spPr>
        </p:pic>
        <p:pic>
          <p:nvPicPr>
            <p:cNvPr id="50" name="object 50"/>
            <p:cNvPicPr/>
            <p:nvPr/>
          </p:nvPicPr>
          <p:blipFill>
            <a:blip r:embed="rId35" cstate="screen">
              <a:extLst>
                <a:ext uri="{28A0092B-C50C-407E-A947-70E740481C1C}">
                  <a14:useLocalDpi xmlns:a14="http://schemas.microsoft.com/office/drawing/2010/main"/>
                </a:ext>
              </a:extLst>
            </a:blip>
            <a:stretch>
              <a:fillRect/>
            </a:stretch>
          </p:blipFill>
          <p:spPr>
            <a:xfrm>
              <a:off x="4247388" y="4362907"/>
              <a:ext cx="2050668" cy="195376"/>
            </a:xfrm>
            <a:prstGeom prst="rect">
              <a:avLst/>
            </a:prstGeom>
          </p:spPr>
        </p:pic>
        <p:pic>
          <p:nvPicPr>
            <p:cNvPr id="51" name="object 51"/>
            <p:cNvPicPr/>
            <p:nvPr/>
          </p:nvPicPr>
          <p:blipFill>
            <a:blip r:embed="rId17" cstate="screen">
              <a:extLst>
                <a:ext uri="{28A0092B-C50C-407E-A947-70E740481C1C}">
                  <a14:useLocalDpi xmlns:a14="http://schemas.microsoft.com/office/drawing/2010/main"/>
                </a:ext>
              </a:extLst>
            </a:blip>
            <a:stretch>
              <a:fillRect/>
            </a:stretch>
          </p:blipFill>
          <p:spPr>
            <a:xfrm>
              <a:off x="6241033" y="4362907"/>
              <a:ext cx="97536" cy="195376"/>
            </a:xfrm>
            <a:prstGeom prst="rect">
              <a:avLst/>
            </a:prstGeom>
          </p:spPr>
        </p:pic>
        <p:pic>
          <p:nvPicPr>
            <p:cNvPr id="52" name="object 52"/>
            <p:cNvPicPr/>
            <p:nvPr/>
          </p:nvPicPr>
          <p:blipFill>
            <a:blip r:embed="rId36" cstate="screen">
              <a:extLst>
                <a:ext uri="{28A0092B-C50C-407E-A947-70E740481C1C}">
                  <a14:useLocalDpi xmlns:a14="http://schemas.microsoft.com/office/drawing/2010/main"/>
                </a:ext>
              </a:extLst>
            </a:blip>
            <a:stretch>
              <a:fillRect/>
            </a:stretch>
          </p:blipFill>
          <p:spPr>
            <a:xfrm>
              <a:off x="6289801" y="4362907"/>
              <a:ext cx="1128941" cy="195376"/>
            </a:xfrm>
            <a:prstGeom prst="rect">
              <a:avLst/>
            </a:prstGeom>
          </p:spPr>
        </p:pic>
        <p:pic>
          <p:nvPicPr>
            <p:cNvPr id="53" name="object 53"/>
            <p:cNvPicPr/>
            <p:nvPr/>
          </p:nvPicPr>
          <p:blipFill>
            <a:blip r:embed="rId37" cstate="screen">
              <a:extLst>
                <a:ext uri="{28A0092B-C50C-407E-A947-70E740481C1C}">
                  <a14:useLocalDpi xmlns:a14="http://schemas.microsoft.com/office/drawing/2010/main"/>
                </a:ext>
              </a:extLst>
            </a:blip>
            <a:stretch>
              <a:fillRect/>
            </a:stretch>
          </p:blipFill>
          <p:spPr>
            <a:xfrm>
              <a:off x="5347716" y="2200655"/>
              <a:ext cx="1077467" cy="1077468"/>
            </a:xfrm>
            <a:prstGeom prst="rect">
              <a:avLst/>
            </a:prstGeom>
          </p:spPr>
        </p:pic>
        <p:pic>
          <p:nvPicPr>
            <p:cNvPr id="54" name="object 54"/>
            <p:cNvPicPr/>
            <p:nvPr/>
          </p:nvPicPr>
          <p:blipFill>
            <a:blip r:embed="rId38" cstate="print"/>
            <a:stretch>
              <a:fillRect/>
            </a:stretch>
          </p:blipFill>
          <p:spPr>
            <a:xfrm>
              <a:off x="8151857" y="3067746"/>
              <a:ext cx="3704881" cy="1667354"/>
            </a:xfrm>
            <a:prstGeom prst="rect">
              <a:avLst/>
            </a:prstGeom>
          </p:spPr>
        </p:pic>
        <p:sp>
          <p:nvSpPr>
            <p:cNvPr id="55" name="object 55"/>
            <p:cNvSpPr/>
            <p:nvPr/>
          </p:nvSpPr>
          <p:spPr>
            <a:xfrm>
              <a:off x="8168639" y="3075431"/>
              <a:ext cx="3621404" cy="1592580"/>
            </a:xfrm>
            <a:custGeom>
              <a:avLst/>
              <a:gdLst/>
              <a:ahLst/>
              <a:cxnLst/>
              <a:rect l="l" t="t" r="r" b="b"/>
              <a:pathLst>
                <a:path w="3621404" h="1592579">
                  <a:moveTo>
                    <a:pt x="3355593" y="0"/>
                  </a:moveTo>
                  <a:lnTo>
                    <a:pt x="265429" y="0"/>
                  </a:lnTo>
                  <a:lnTo>
                    <a:pt x="217727" y="4277"/>
                  </a:lnTo>
                  <a:lnTo>
                    <a:pt x="172826" y="16609"/>
                  </a:lnTo>
                  <a:lnTo>
                    <a:pt x="131477" y="36246"/>
                  </a:lnTo>
                  <a:lnTo>
                    <a:pt x="94431" y="62437"/>
                  </a:lnTo>
                  <a:lnTo>
                    <a:pt x="62437" y="94431"/>
                  </a:lnTo>
                  <a:lnTo>
                    <a:pt x="36246" y="131477"/>
                  </a:lnTo>
                  <a:lnTo>
                    <a:pt x="16609" y="172826"/>
                  </a:lnTo>
                  <a:lnTo>
                    <a:pt x="4277" y="217727"/>
                  </a:lnTo>
                  <a:lnTo>
                    <a:pt x="0" y="265429"/>
                  </a:lnTo>
                  <a:lnTo>
                    <a:pt x="0" y="1327149"/>
                  </a:lnTo>
                  <a:lnTo>
                    <a:pt x="4277" y="1374852"/>
                  </a:lnTo>
                  <a:lnTo>
                    <a:pt x="16609" y="1419753"/>
                  </a:lnTo>
                  <a:lnTo>
                    <a:pt x="36246" y="1461102"/>
                  </a:lnTo>
                  <a:lnTo>
                    <a:pt x="62437" y="1498148"/>
                  </a:lnTo>
                  <a:lnTo>
                    <a:pt x="94431" y="1530142"/>
                  </a:lnTo>
                  <a:lnTo>
                    <a:pt x="131477" y="1556333"/>
                  </a:lnTo>
                  <a:lnTo>
                    <a:pt x="172826" y="1575970"/>
                  </a:lnTo>
                  <a:lnTo>
                    <a:pt x="217727" y="1588302"/>
                  </a:lnTo>
                  <a:lnTo>
                    <a:pt x="265429" y="1592579"/>
                  </a:lnTo>
                  <a:lnTo>
                    <a:pt x="3355593" y="1592579"/>
                  </a:lnTo>
                  <a:lnTo>
                    <a:pt x="3403296" y="1588302"/>
                  </a:lnTo>
                  <a:lnTo>
                    <a:pt x="3448197" y="1575970"/>
                  </a:lnTo>
                  <a:lnTo>
                    <a:pt x="3489546" y="1556333"/>
                  </a:lnTo>
                  <a:lnTo>
                    <a:pt x="3526592" y="1530142"/>
                  </a:lnTo>
                  <a:lnTo>
                    <a:pt x="3558586" y="1498148"/>
                  </a:lnTo>
                  <a:lnTo>
                    <a:pt x="3584777" y="1461102"/>
                  </a:lnTo>
                  <a:lnTo>
                    <a:pt x="3604414" y="1419753"/>
                  </a:lnTo>
                  <a:lnTo>
                    <a:pt x="3616746" y="1374852"/>
                  </a:lnTo>
                  <a:lnTo>
                    <a:pt x="3621024" y="1327149"/>
                  </a:lnTo>
                  <a:lnTo>
                    <a:pt x="3621024" y="265429"/>
                  </a:lnTo>
                  <a:lnTo>
                    <a:pt x="3616746" y="217727"/>
                  </a:lnTo>
                  <a:lnTo>
                    <a:pt x="3604414" y="172826"/>
                  </a:lnTo>
                  <a:lnTo>
                    <a:pt x="3584777" y="131477"/>
                  </a:lnTo>
                  <a:lnTo>
                    <a:pt x="3558586" y="94431"/>
                  </a:lnTo>
                  <a:lnTo>
                    <a:pt x="3526592" y="62437"/>
                  </a:lnTo>
                  <a:lnTo>
                    <a:pt x="3489546" y="36246"/>
                  </a:lnTo>
                  <a:lnTo>
                    <a:pt x="3448197" y="16609"/>
                  </a:lnTo>
                  <a:lnTo>
                    <a:pt x="3403296" y="4277"/>
                  </a:lnTo>
                  <a:lnTo>
                    <a:pt x="3355593"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56" name="object 56"/>
            <p:cNvPicPr/>
            <p:nvPr/>
          </p:nvPicPr>
          <p:blipFill>
            <a:blip r:embed="rId39" cstate="screen">
              <a:extLst>
                <a:ext uri="{28A0092B-C50C-407E-A947-70E740481C1C}">
                  <a14:useLocalDpi xmlns:a14="http://schemas.microsoft.com/office/drawing/2010/main"/>
                </a:ext>
              </a:extLst>
            </a:blip>
            <a:stretch>
              <a:fillRect/>
            </a:stretch>
          </p:blipFill>
          <p:spPr>
            <a:xfrm>
              <a:off x="8407273" y="3317112"/>
              <a:ext cx="1068438" cy="228600"/>
            </a:xfrm>
            <a:prstGeom prst="rect">
              <a:avLst/>
            </a:prstGeom>
          </p:spPr>
        </p:pic>
        <p:pic>
          <p:nvPicPr>
            <p:cNvPr id="57" name="object 57"/>
            <p:cNvPicPr/>
            <p:nvPr/>
          </p:nvPicPr>
          <p:blipFill>
            <a:blip r:embed="rId40" cstate="screen">
              <a:extLst>
                <a:ext uri="{28A0092B-C50C-407E-A947-70E740481C1C}">
                  <a14:useLocalDpi xmlns:a14="http://schemas.microsoft.com/office/drawing/2010/main"/>
                </a:ext>
              </a:extLst>
            </a:blip>
            <a:stretch>
              <a:fillRect/>
            </a:stretch>
          </p:blipFill>
          <p:spPr>
            <a:xfrm>
              <a:off x="8407273" y="3533521"/>
              <a:ext cx="3490467" cy="195071"/>
            </a:xfrm>
            <a:prstGeom prst="rect">
              <a:avLst/>
            </a:prstGeom>
          </p:spPr>
        </p:pic>
        <p:pic>
          <p:nvPicPr>
            <p:cNvPr id="58" name="object 58"/>
            <p:cNvPicPr/>
            <p:nvPr/>
          </p:nvPicPr>
          <p:blipFill>
            <a:blip r:embed="rId41" cstate="screen">
              <a:extLst>
                <a:ext uri="{28A0092B-C50C-407E-A947-70E740481C1C}">
                  <a14:useLocalDpi xmlns:a14="http://schemas.microsoft.com/office/drawing/2010/main"/>
                </a:ext>
              </a:extLst>
            </a:blip>
            <a:stretch>
              <a:fillRect/>
            </a:stretch>
          </p:blipFill>
          <p:spPr>
            <a:xfrm>
              <a:off x="8407273" y="3716096"/>
              <a:ext cx="3258438" cy="195376"/>
            </a:xfrm>
            <a:prstGeom prst="rect">
              <a:avLst/>
            </a:prstGeom>
          </p:spPr>
        </p:pic>
        <p:pic>
          <p:nvPicPr>
            <p:cNvPr id="59" name="object 59"/>
            <p:cNvPicPr/>
            <p:nvPr/>
          </p:nvPicPr>
          <p:blipFill>
            <a:blip r:embed="rId42" cstate="screen">
              <a:extLst>
                <a:ext uri="{28A0092B-C50C-407E-A947-70E740481C1C}">
                  <a14:useLocalDpi xmlns:a14="http://schemas.microsoft.com/office/drawing/2010/main"/>
                </a:ext>
              </a:extLst>
            </a:blip>
            <a:stretch>
              <a:fillRect/>
            </a:stretch>
          </p:blipFill>
          <p:spPr>
            <a:xfrm>
              <a:off x="8407273" y="3899662"/>
              <a:ext cx="3344290" cy="195071"/>
            </a:xfrm>
            <a:prstGeom prst="rect">
              <a:avLst/>
            </a:prstGeom>
          </p:spPr>
        </p:pic>
        <p:pic>
          <p:nvPicPr>
            <p:cNvPr id="60" name="object 60"/>
            <p:cNvPicPr/>
            <p:nvPr/>
          </p:nvPicPr>
          <p:blipFill>
            <a:blip r:embed="rId43" cstate="screen">
              <a:extLst>
                <a:ext uri="{28A0092B-C50C-407E-A947-70E740481C1C}">
                  <a14:useLocalDpi xmlns:a14="http://schemas.microsoft.com/office/drawing/2010/main"/>
                </a:ext>
              </a:extLst>
            </a:blip>
            <a:stretch>
              <a:fillRect/>
            </a:stretch>
          </p:blipFill>
          <p:spPr>
            <a:xfrm>
              <a:off x="8407273" y="4082541"/>
              <a:ext cx="3510661" cy="195072"/>
            </a:xfrm>
            <a:prstGeom prst="rect">
              <a:avLst/>
            </a:prstGeom>
          </p:spPr>
        </p:pic>
        <p:pic>
          <p:nvPicPr>
            <p:cNvPr id="61" name="object 61"/>
            <p:cNvPicPr/>
            <p:nvPr/>
          </p:nvPicPr>
          <p:blipFill>
            <a:blip r:embed="rId44" cstate="screen">
              <a:extLst>
                <a:ext uri="{28A0092B-C50C-407E-A947-70E740481C1C}">
                  <a14:useLocalDpi xmlns:a14="http://schemas.microsoft.com/office/drawing/2010/main"/>
                </a:ext>
              </a:extLst>
            </a:blip>
            <a:stretch>
              <a:fillRect/>
            </a:stretch>
          </p:blipFill>
          <p:spPr>
            <a:xfrm>
              <a:off x="8407273" y="4265422"/>
              <a:ext cx="3231642" cy="195071"/>
            </a:xfrm>
            <a:prstGeom prst="rect">
              <a:avLst/>
            </a:prstGeom>
          </p:spPr>
        </p:pic>
        <p:pic>
          <p:nvPicPr>
            <p:cNvPr id="62" name="object 62"/>
            <p:cNvPicPr/>
            <p:nvPr/>
          </p:nvPicPr>
          <p:blipFill>
            <a:blip r:embed="rId45" cstate="screen">
              <a:extLst>
                <a:ext uri="{28A0092B-C50C-407E-A947-70E740481C1C}">
                  <a14:useLocalDpi xmlns:a14="http://schemas.microsoft.com/office/drawing/2010/main"/>
                </a:ext>
              </a:extLst>
            </a:blip>
            <a:stretch>
              <a:fillRect/>
            </a:stretch>
          </p:blipFill>
          <p:spPr>
            <a:xfrm>
              <a:off x="8407273" y="4448302"/>
              <a:ext cx="368046" cy="195072"/>
            </a:xfrm>
            <a:prstGeom prst="rect">
              <a:avLst/>
            </a:prstGeom>
          </p:spPr>
        </p:pic>
        <p:pic>
          <p:nvPicPr>
            <p:cNvPr id="63" name="object 63"/>
            <p:cNvPicPr/>
            <p:nvPr/>
          </p:nvPicPr>
          <p:blipFill>
            <a:blip r:embed="rId46" cstate="screen">
              <a:extLst>
                <a:ext uri="{28A0092B-C50C-407E-A947-70E740481C1C}">
                  <a14:useLocalDpi xmlns:a14="http://schemas.microsoft.com/office/drawing/2010/main"/>
                </a:ext>
              </a:extLst>
            </a:blip>
            <a:stretch>
              <a:fillRect/>
            </a:stretch>
          </p:blipFill>
          <p:spPr>
            <a:xfrm>
              <a:off x="9054083" y="2366772"/>
              <a:ext cx="1075944" cy="1075943"/>
            </a:xfrm>
            <a:prstGeom prst="rect">
              <a:avLst/>
            </a:prstGeom>
          </p:spPr>
        </p:pic>
      </p:grpSp>
      <p:grpSp>
        <p:nvGrpSpPr>
          <p:cNvPr id="64" name="object 64"/>
          <p:cNvGrpSpPr/>
          <p:nvPr/>
        </p:nvGrpSpPr>
        <p:grpSpPr>
          <a:xfrm>
            <a:off x="1345691" y="4905700"/>
            <a:ext cx="4685030" cy="1896110"/>
            <a:chOff x="1345691" y="4905700"/>
            <a:chExt cx="4685030" cy="1896110"/>
          </a:xfrm>
        </p:grpSpPr>
        <p:pic>
          <p:nvPicPr>
            <p:cNvPr id="65" name="object 65"/>
            <p:cNvPicPr/>
            <p:nvPr/>
          </p:nvPicPr>
          <p:blipFill>
            <a:blip r:embed="rId26" cstate="print"/>
            <a:stretch>
              <a:fillRect/>
            </a:stretch>
          </p:blipFill>
          <p:spPr>
            <a:xfrm>
              <a:off x="2325605" y="4905700"/>
              <a:ext cx="3704881" cy="1895942"/>
            </a:xfrm>
            <a:prstGeom prst="rect">
              <a:avLst/>
            </a:prstGeom>
          </p:spPr>
        </p:pic>
        <p:sp>
          <p:nvSpPr>
            <p:cNvPr id="66" name="object 66"/>
            <p:cNvSpPr/>
            <p:nvPr/>
          </p:nvSpPr>
          <p:spPr>
            <a:xfrm>
              <a:off x="2342388" y="4913376"/>
              <a:ext cx="3621404" cy="1821180"/>
            </a:xfrm>
            <a:custGeom>
              <a:avLst/>
              <a:gdLst/>
              <a:ahLst/>
              <a:cxnLst/>
              <a:rect l="l" t="t" r="r" b="b"/>
              <a:pathLst>
                <a:path w="3621404" h="1821179">
                  <a:moveTo>
                    <a:pt x="3317494" y="0"/>
                  </a:moveTo>
                  <a:lnTo>
                    <a:pt x="303530" y="0"/>
                  </a:lnTo>
                  <a:lnTo>
                    <a:pt x="254294" y="3972"/>
                  </a:lnTo>
                  <a:lnTo>
                    <a:pt x="207589" y="15473"/>
                  </a:lnTo>
                  <a:lnTo>
                    <a:pt x="164038" y="33878"/>
                  </a:lnTo>
                  <a:lnTo>
                    <a:pt x="124266" y="58562"/>
                  </a:lnTo>
                  <a:lnTo>
                    <a:pt x="88900" y="88900"/>
                  </a:lnTo>
                  <a:lnTo>
                    <a:pt x="58562" y="124266"/>
                  </a:lnTo>
                  <a:lnTo>
                    <a:pt x="33878" y="164038"/>
                  </a:lnTo>
                  <a:lnTo>
                    <a:pt x="15473" y="207589"/>
                  </a:lnTo>
                  <a:lnTo>
                    <a:pt x="3972" y="254294"/>
                  </a:lnTo>
                  <a:lnTo>
                    <a:pt x="0" y="303530"/>
                  </a:lnTo>
                  <a:lnTo>
                    <a:pt x="0" y="1517650"/>
                  </a:lnTo>
                  <a:lnTo>
                    <a:pt x="3972" y="1566882"/>
                  </a:lnTo>
                  <a:lnTo>
                    <a:pt x="15473" y="1613586"/>
                  </a:lnTo>
                  <a:lnTo>
                    <a:pt x="33878" y="1657136"/>
                  </a:lnTo>
                  <a:lnTo>
                    <a:pt x="58562" y="1696907"/>
                  </a:lnTo>
                  <a:lnTo>
                    <a:pt x="88900" y="1732275"/>
                  </a:lnTo>
                  <a:lnTo>
                    <a:pt x="124266" y="1762614"/>
                  </a:lnTo>
                  <a:lnTo>
                    <a:pt x="164038" y="1787299"/>
                  </a:lnTo>
                  <a:lnTo>
                    <a:pt x="207589" y="1805705"/>
                  </a:lnTo>
                  <a:lnTo>
                    <a:pt x="254294" y="1817207"/>
                  </a:lnTo>
                  <a:lnTo>
                    <a:pt x="303530" y="1821180"/>
                  </a:lnTo>
                  <a:lnTo>
                    <a:pt x="3317494" y="1821180"/>
                  </a:lnTo>
                  <a:lnTo>
                    <a:pt x="3366729" y="1817207"/>
                  </a:lnTo>
                  <a:lnTo>
                    <a:pt x="3413434" y="1805705"/>
                  </a:lnTo>
                  <a:lnTo>
                    <a:pt x="3456985" y="1787299"/>
                  </a:lnTo>
                  <a:lnTo>
                    <a:pt x="3496757" y="1762614"/>
                  </a:lnTo>
                  <a:lnTo>
                    <a:pt x="3532124" y="1732275"/>
                  </a:lnTo>
                  <a:lnTo>
                    <a:pt x="3562461" y="1696907"/>
                  </a:lnTo>
                  <a:lnTo>
                    <a:pt x="3587145" y="1657136"/>
                  </a:lnTo>
                  <a:lnTo>
                    <a:pt x="3605550" y="1613586"/>
                  </a:lnTo>
                  <a:lnTo>
                    <a:pt x="3617051" y="1566882"/>
                  </a:lnTo>
                  <a:lnTo>
                    <a:pt x="3621024" y="1517650"/>
                  </a:lnTo>
                  <a:lnTo>
                    <a:pt x="3621024" y="303530"/>
                  </a:lnTo>
                  <a:lnTo>
                    <a:pt x="3617051" y="254294"/>
                  </a:lnTo>
                  <a:lnTo>
                    <a:pt x="3605550" y="207589"/>
                  </a:lnTo>
                  <a:lnTo>
                    <a:pt x="3587145" y="164038"/>
                  </a:lnTo>
                  <a:lnTo>
                    <a:pt x="3562461" y="124266"/>
                  </a:lnTo>
                  <a:lnTo>
                    <a:pt x="3532124" y="88900"/>
                  </a:lnTo>
                  <a:lnTo>
                    <a:pt x="3496757" y="58562"/>
                  </a:lnTo>
                  <a:lnTo>
                    <a:pt x="3456985" y="33878"/>
                  </a:lnTo>
                  <a:lnTo>
                    <a:pt x="3413434" y="15473"/>
                  </a:lnTo>
                  <a:lnTo>
                    <a:pt x="3366729" y="3972"/>
                  </a:lnTo>
                  <a:lnTo>
                    <a:pt x="3317494"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67" name="object 67"/>
            <p:cNvPicPr/>
            <p:nvPr/>
          </p:nvPicPr>
          <p:blipFill>
            <a:blip r:embed="rId47" cstate="screen">
              <a:extLst>
                <a:ext uri="{28A0092B-C50C-407E-A947-70E740481C1C}">
                  <a14:useLocalDpi xmlns:a14="http://schemas.microsoft.com/office/drawing/2010/main"/>
                </a:ext>
              </a:extLst>
            </a:blip>
            <a:stretch>
              <a:fillRect/>
            </a:stretch>
          </p:blipFill>
          <p:spPr>
            <a:xfrm>
              <a:off x="2489961" y="4984115"/>
              <a:ext cx="1232801" cy="228600"/>
            </a:xfrm>
            <a:prstGeom prst="rect">
              <a:avLst/>
            </a:prstGeom>
          </p:spPr>
        </p:pic>
        <p:pic>
          <p:nvPicPr>
            <p:cNvPr id="68" name="object 68"/>
            <p:cNvPicPr/>
            <p:nvPr/>
          </p:nvPicPr>
          <p:blipFill>
            <a:blip r:embed="rId48" cstate="screen">
              <a:extLst>
                <a:ext uri="{28A0092B-C50C-407E-A947-70E740481C1C}">
                  <a14:useLocalDpi xmlns:a14="http://schemas.microsoft.com/office/drawing/2010/main"/>
                </a:ext>
              </a:extLst>
            </a:blip>
            <a:stretch>
              <a:fillRect/>
            </a:stretch>
          </p:blipFill>
          <p:spPr>
            <a:xfrm>
              <a:off x="2489961" y="5200523"/>
              <a:ext cx="3402584" cy="195071"/>
            </a:xfrm>
            <a:prstGeom prst="rect">
              <a:avLst/>
            </a:prstGeom>
          </p:spPr>
        </p:pic>
        <p:pic>
          <p:nvPicPr>
            <p:cNvPr id="69" name="object 69"/>
            <p:cNvPicPr/>
            <p:nvPr/>
          </p:nvPicPr>
          <p:blipFill>
            <a:blip r:embed="rId49" cstate="screen">
              <a:extLst>
                <a:ext uri="{28A0092B-C50C-407E-A947-70E740481C1C}">
                  <a14:useLocalDpi xmlns:a14="http://schemas.microsoft.com/office/drawing/2010/main"/>
                </a:ext>
              </a:extLst>
            </a:blip>
            <a:stretch>
              <a:fillRect/>
            </a:stretch>
          </p:blipFill>
          <p:spPr>
            <a:xfrm>
              <a:off x="2489961" y="5383403"/>
              <a:ext cx="3389249" cy="195072"/>
            </a:xfrm>
            <a:prstGeom prst="rect">
              <a:avLst/>
            </a:prstGeom>
          </p:spPr>
        </p:pic>
        <p:pic>
          <p:nvPicPr>
            <p:cNvPr id="70" name="object 70"/>
            <p:cNvPicPr/>
            <p:nvPr/>
          </p:nvPicPr>
          <p:blipFill>
            <a:blip r:embed="rId50" cstate="screen">
              <a:extLst>
                <a:ext uri="{28A0092B-C50C-407E-A947-70E740481C1C}">
                  <a14:useLocalDpi xmlns:a14="http://schemas.microsoft.com/office/drawing/2010/main"/>
                </a:ext>
              </a:extLst>
            </a:blip>
            <a:stretch>
              <a:fillRect/>
            </a:stretch>
          </p:blipFill>
          <p:spPr>
            <a:xfrm>
              <a:off x="2489961" y="5566257"/>
              <a:ext cx="3199384" cy="195072"/>
            </a:xfrm>
            <a:prstGeom prst="rect">
              <a:avLst/>
            </a:prstGeom>
          </p:spPr>
        </p:pic>
        <p:pic>
          <p:nvPicPr>
            <p:cNvPr id="71" name="object 71"/>
            <p:cNvPicPr/>
            <p:nvPr/>
          </p:nvPicPr>
          <p:blipFill>
            <a:blip r:embed="rId51" cstate="screen">
              <a:extLst>
                <a:ext uri="{28A0092B-C50C-407E-A947-70E740481C1C}">
                  <a14:useLocalDpi xmlns:a14="http://schemas.microsoft.com/office/drawing/2010/main"/>
                </a:ext>
              </a:extLst>
            </a:blip>
            <a:stretch>
              <a:fillRect/>
            </a:stretch>
          </p:blipFill>
          <p:spPr>
            <a:xfrm>
              <a:off x="2489961" y="5749137"/>
              <a:ext cx="3460241" cy="195072"/>
            </a:xfrm>
            <a:prstGeom prst="rect">
              <a:avLst/>
            </a:prstGeom>
          </p:spPr>
        </p:pic>
        <p:pic>
          <p:nvPicPr>
            <p:cNvPr id="72" name="object 72"/>
            <p:cNvPicPr/>
            <p:nvPr/>
          </p:nvPicPr>
          <p:blipFill>
            <a:blip r:embed="rId52" cstate="screen">
              <a:extLst>
                <a:ext uri="{28A0092B-C50C-407E-A947-70E740481C1C}">
                  <a14:useLocalDpi xmlns:a14="http://schemas.microsoft.com/office/drawing/2010/main"/>
                </a:ext>
              </a:extLst>
            </a:blip>
            <a:stretch>
              <a:fillRect/>
            </a:stretch>
          </p:blipFill>
          <p:spPr>
            <a:xfrm>
              <a:off x="2489961" y="5931713"/>
              <a:ext cx="3251073" cy="195376"/>
            </a:xfrm>
            <a:prstGeom prst="rect">
              <a:avLst/>
            </a:prstGeom>
          </p:spPr>
        </p:pic>
        <p:pic>
          <p:nvPicPr>
            <p:cNvPr id="73" name="object 73"/>
            <p:cNvPicPr/>
            <p:nvPr/>
          </p:nvPicPr>
          <p:blipFill>
            <a:blip r:embed="rId53" cstate="screen">
              <a:extLst>
                <a:ext uri="{28A0092B-C50C-407E-A947-70E740481C1C}">
                  <a14:useLocalDpi xmlns:a14="http://schemas.microsoft.com/office/drawing/2010/main"/>
                </a:ext>
              </a:extLst>
            </a:blip>
            <a:stretch>
              <a:fillRect/>
            </a:stretch>
          </p:blipFill>
          <p:spPr>
            <a:xfrm>
              <a:off x="2489961" y="6115202"/>
              <a:ext cx="3303397" cy="195072"/>
            </a:xfrm>
            <a:prstGeom prst="rect">
              <a:avLst/>
            </a:prstGeom>
          </p:spPr>
        </p:pic>
        <p:pic>
          <p:nvPicPr>
            <p:cNvPr id="74" name="object 74"/>
            <p:cNvPicPr/>
            <p:nvPr/>
          </p:nvPicPr>
          <p:blipFill>
            <a:blip r:embed="rId54" cstate="screen">
              <a:extLst>
                <a:ext uri="{28A0092B-C50C-407E-A947-70E740481C1C}">
                  <a14:useLocalDpi xmlns:a14="http://schemas.microsoft.com/office/drawing/2010/main"/>
                </a:ext>
              </a:extLst>
            </a:blip>
            <a:stretch>
              <a:fillRect/>
            </a:stretch>
          </p:blipFill>
          <p:spPr>
            <a:xfrm>
              <a:off x="2489961" y="6298082"/>
              <a:ext cx="2430907" cy="195072"/>
            </a:xfrm>
            <a:prstGeom prst="rect">
              <a:avLst/>
            </a:prstGeom>
          </p:spPr>
        </p:pic>
        <p:pic>
          <p:nvPicPr>
            <p:cNvPr id="75" name="object 75"/>
            <p:cNvPicPr/>
            <p:nvPr/>
          </p:nvPicPr>
          <p:blipFill>
            <a:blip r:embed="rId17" cstate="screen">
              <a:extLst>
                <a:ext uri="{28A0092B-C50C-407E-A947-70E740481C1C}">
                  <a14:useLocalDpi xmlns:a14="http://schemas.microsoft.com/office/drawing/2010/main"/>
                </a:ext>
              </a:extLst>
            </a:blip>
            <a:stretch>
              <a:fillRect/>
            </a:stretch>
          </p:blipFill>
          <p:spPr>
            <a:xfrm>
              <a:off x="4858512" y="6298082"/>
              <a:ext cx="97536" cy="195072"/>
            </a:xfrm>
            <a:prstGeom prst="rect">
              <a:avLst/>
            </a:prstGeom>
          </p:spPr>
        </p:pic>
        <p:pic>
          <p:nvPicPr>
            <p:cNvPr id="76" name="object 76"/>
            <p:cNvPicPr/>
            <p:nvPr/>
          </p:nvPicPr>
          <p:blipFill>
            <a:blip r:embed="rId55" cstate="screen">
              <a:extLst>
                <a:ext uri="{28A0092B-C50C-407E-A947-70E740481C1C}">
                  <a14:useLocalDpi xmlns:a14="http://schemas.microsoft.com/office/drawing/2010/main"/>
                </a:ext>
              </a:extLst>
            </a:blip>
            <a:stretch>
              <a:fillRect/>
            </a:stretch>
          </p:blipFill>
          <p:spPr>
            <a:xfrm>
              <a:off x="4907280" y="6298082"/>
              <a:ext cx="517398" cy="195072"/>
            </a:xfrm>
            <a:prstGeom prst="rect">
              <a:avLst/>
            </a:prstGeom>
          </p:spPr>
        </p:pic>
        <p:pic>
          <p:nvPicPr>
            <p:cNvPr id="77" name="object 77"/>
            <p:cNvPicPr/>
            <p:nvPr/>
          </p:nvPicPr>
          <p:blipFill>
            <a:blip r:embed="rId56" cstate="screen">
              <a:extLst>
                <a:ext uri="{28A0092B-C50C-407E-A947-70E740481C1C}">
                  <a14:useLocalDpi xmlns:a14="http://schemas.microsoft.com/office/drawing/2010/main"/>
                </a:ext>
              </a:extLst>
            </a:blip>
            <a:stretch>
              <a:fillRect/>
            </a:stretch>
          </p:blipFill>
          <p:spPr>
            <a:xfrm>
              <a:off x="2489961" y="6480962"/>
              <a:ext cx="724788" cy="195072"/>
            </a:xfrm>
            <a:prstGeom prst="rect">
              <a:avLst/>
            </a:prstGeom>
          </p:spPr>
        </p:pic>
        <p:pic>
          <p:nvPicPr>
            <p:cNvPr id="78" name="object 78"/>
            <p:cNvPicPr/>
            <p:nvPr/>
          </p:nvPicPr>
          <p:blipFill>
            <a:blip r:embed="rId57" cstate="print"/>
            <a:stretch>
              <a:fillRect/>
            </a:stretch>
          </p:blipFill>
          <p:spPr>
            <a:xfrm>
              <a:off x="1345691" y="5234940"/>
              <a:ext cx="1161300" cy="1175004"/>
            </a:xfrm>
            <a:prstGeom prst="rect">
              <a:avLst/>
            </a:prstGeom>
          </p:spPr>
        </p:pic>
        <p:pic>
          <p:nvPicPr>
            <p:cNvPr id="79" name="object 79"/>
            <p:cNvPicPr/>
            <p:nvPr/>
          </p:nvPicPr>
          <p:blipFill>
            <a:blip r:embed="rId58" cstate="screen">
              <a:extLst>
                <a:ext uri="{28A0092B-C50C-407E-A947-70E740481C1C}">
                  <a14:useLocalDpi xmlns:a14="http://schemas.microsoft.com/office/drawing/2010/main"/>
                </a:ext>
              </a:extLst>
            </a:blip>
            <a:stretch>
              <a:fillRect/>
            </a:stretch>
          </p:blipFill>
          <p:spPr>
            <a:xfrm>
              <a:off x="1371599" y="5260848"/>
              <a:ext cx="1059180" cy="1072896"/>
            </a:xfrm>
            <a:prstGeom prst="rect">
              <a:avLst/>
            </a:prstGeom>
          </p:spPr>
        </p:pic>
      </p:grpSp>
      <p:grpSp>
        <p:nvGrpSpPr>
          <p:cNvPr id="80" name="object 80"/>
          <p:cNvGrpSpPr/>
          <p:nvPr/>
        </p:nvGrpSpPr>
        <p:grpSpPr>
          <a:xfrm>
            <a:off x="6079225" y="4942277"/>
            <a:ext cx="4839335" cy="1859914"/>
            <a:chOff x="6079225" y="4942277"/>
            <a:chExt cx="4839335" cy="1859914"/>
          </a:xfrm>
        </p:grpSpPr>
        <p:pic>
          <p:nvPicPr>
            <p:cNvPr id="81" name="object 81"/>
            <p:cNvPicPr/>
            <p:nvPr/>
          </p:nvPicPr>
          <p:blipFill>
            <a:blip r:embed="rId59" cstate="print"/>
            <a:stretch>
              <a:fillRect/>
            </a:stretch>
          </p:blipFill>
          <p:spPr>
            <a:xfrm>
              <a:off x="6079225" y="4942277"/>
              <a:ext cx="3918225" cy="1859368"/>
            </a:xfrm>
            <a:prstGeom prst="rect">
              <a:avLst/>
            </a:prstGeom>
          </p:spPr>
        </p:pic>
        <p:sp>
          <p:nvSpPr>
            <p:cNvPr id="82" name="object 82"/>
            <p:cNvSpPr/>
            <p:nvPr/>
          </p:nvSpPr>
          <p:spPr>
            <a:xfrm>
              <a:off x="6096000" y="4949952"/>
              <a:ext cx="3834765" cy="1784985"/>
            </a:xfrm>
            <a:custGeom>
              <a:avLst/>
              <a:gdLst/>
              <a:ahLst/>
              <a:cxnLst/>
              <a:rect l="l" t="t" r="r" b="b"/>
              <a:pathLst>
                <a:path w="3834765" h="1784984">
                  <a:moveTo>
                    <a:pt x="3536950" y="0"/>
                  </a:moveTo>
                  <a:lnTo>
                    <a:pt x="297434" y="0"/>
                  </a:lnTo>
                  <a:lnTo>
                    <a:pt x="249202" y="3894"/>
                  </a:lnTo>
                  <a:lnTo>
                    <a:pt x="203443" y="15168"/>
                  </a:lnTo>
                  <a:lnTo>
                    <a:pt x="160771" y="33209"/>
                  </a:lnTo>
                  <a:lnTo>
                    <a:pt x="121798" y="57404"/>
                  </a:lnTo>
                  <a:lnTo>
                    <a:pt x="87137" y="87137"/>
                  </a:lnTo>
                  <a:lnTo>
                    <a:pt x="57403" y="121798"/>
                  </a:lnTo>
                  <a:lnTo>
                    <a:pt x="33209" y="160771"/>
                  </a:lnTo>
                  <a:lnTo>
                    <a:pt x="15168" y="203443"/>
                  </a:lnTo>
                  <a:lnTo>
                    <a:pt x="3894" y="249202"/>
                  </a:lnTo>
                  <a:lnTo>
                    <a:pt x="0" y="297434"/>
                  </a:lnTo>
                  <a:lnTo>
                    <a:pt x="0" y="1487157"/>
                  </a:lnTo>
                  <a:lnTo>
                    <a:pt x="3894" y="1535404"/>
                  </a:lnTo>
                  <a:lnTo>
                    <a:pt x="15168" y="1581173"/>
                  </a:lnTo>
                  <a:lnTo>
                    <a:pt x="33209" y="1623850"/>
                  </a:lnTo>
                  <a:lnTo>
                    <a:pt x="57403" y="1662825"/>
                  </a:lnTo>
                  <a:lnTo>
                    <a:pt x="87137" y="1697483"/>
                  </a:lnTo>
                  <a:lnTo>
                    <a:pt x="121798" y="1727213"/>
                  </a:lnTo>
                  <a:lnTo>
                    <a:pt x="160771" y="1751403"/>
                  </a:lnTo>
                  <a:lnTo>
                    <a:pt x="203443" y="1769439"/>
                  </a:lnTo>
                  <a:lnTo>
                    <a:pt x="249202" y="1780710"/>
                  </a:lnTo>
                  <a:lnTo>
                    <a:pt x="297434" y="1784604"/>
                  </a:lnTo>
                  <a:lnTo>
                    <a:pt x="3536950" y="1784604"/>
                  </a:lnTo>
                  <a:lnTo>
                    <a:pt x="3585181" y="1780710"/>
                  </a:lnTo>
                  <a:lnTo>
                    <a:pt x="3630940" y="1769439"/>
                  </a:lnTo>
                  <a:lnTo>
                    <a:pt x="3673612" y="1751403"/>
                  </a:lnTo>
                  <a:lnTo>
                    <a:pt x="3712585" y="1727213"/>
                  </a:lnTo>
                  <a:lnTo>
                    <a:pt x="3747246" y="1697483"/>
                  </a:lnTo>
                  <a:lnTo>
                    <a:pt x="3776979" y="1662825"/>
                  </a:lnTo>
                  <a:lnTo>
                    <a:pt x="3801174" y="1623850"/>
                  </a:lnTo>
                  <a:lnTo>
                    <a:pt x="3819215" y="1581173"/>
                  </a:lnTo>
                  <a:lnTo>
                    <a:pt x="3830489" y="1535404"/>
                  </a:lnTo>
                  <a:lnTo>
                    <a:pt x="3834383" y="1487157"/>
                  </a:lnTo>
                  <a:lnTo>
                    <a:pt x="3834383" y="297434"/>
                  </a:lnTo>
                  <a:lnTo>
                    <a:pt x="3830489" y="249202"/>
                  </a:lnTo>
                  <a:lnTo>
                    <a:pt x="3819215" y="203443"/>
                  </a:lnTo>
                  <a:lnTo>
                    <a:pt x="3801174" y="160771"/>
                  </a:lnTo>
                  <a:lnTo>
                    <a:pt x="3776979" y="121798"/>
                  </a:lnTo>
                  <a:lnTo>
                    <a:pt x="3747246" y="87137"/>
                  </a:lnTo>
                  <a:lnTo>
                    <a:pt x="3712585" y="57403"/>
                  </a:lnTo>
                  <a:lnTo>
                    <a:pt x="3673612" y="33209"/>
                  </a:lnTo>
                  <a:lnTo>
                    <a:pt x="3630940" y="15168"/>
                  </a:lnTo>
                  <a:lnTo>
                    <a:pt x="3585181" y="3894"/>
                  </a:lnTo>
                  <a:lnTo>
                    <a:pt x="3536950"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83" name="object 83"/>
            <p:cNvPicPr/>
            <p:nvPr/>
          </p:nvPicPr>
          <p:blipFill>
            <a:blip r:embed="rId60" cstate="screen">
              <a:extLst>
                <a:ext uri="{28A0092B-C50C-407E-A947-70E740481C1C}">
                  <a14:useLocalDpi xmlns:a14="http://schemas.microsoft.com/office/drawing/2010/main"/>
                </a:ext>
              </a:extLst>
            </a:blip>
            <a:stretch>
              <a:fillRect/>
            </a:stretch>
          </p:blipFill>
          <p:spPr>
            <a:xfrm>
              <a:off x="9849611" y="5329428"/>
              <a:ext cx="1068324" cy="1068324"/>
            </a:xfrm>
            <a:prstGeom prst="rect">
              <a:avLst/>
            </a:prstGeom>
          </p:spPr>
        </p:pic>
        <p:pic>
          <p:nvPicPr>
            <p:cNvPr id="84" name="object 84"/>
            <p:cNvPicPr/>
            <p:nvPr/>
          </p:nvPicPr>
          <p:blipFill>
            <a:blip r:embed="rId61" cstate="screen">
              <a:extLst>
                <a:ext uri="{28A0092B-C50C-407E-A947-70E740481C1C}">
                  <a14:useLocalDpi xmlns:a14="http://schemas.microsoft.com/office/drawing/2010/main"/>
                </a:ext>
              </a:extLst>
            </a:blip>
            <a:stretch>
              <a:fillRect/>
            </a:stretch>
          </p:blipFill>
          <p:spPr>
            <a:xfrm>
              <a:off x="6489827" y="5160518"/>
              <a:ext cx="1410970" cy="228600"/>
            </a:xfrm>
            <a:prstGeom prst="rect">
              <a:avLst/>
            </a:prstGeom>
          </p:spPr>
        </p:pic>
        <p:pic>
          <p:nvPicPr>
            <p:cNvPr id="85" name="object 85"/>
            <p:cNvPicPr/>
            <p:nvPr/>
          </p:nvPicPr>
          <p:blipFill>
            <a:blip r:embed="rId62" cstate="screen">
              <a:extLst>
                <a:ext uri="{28A0092B-C50C-407E-A947-70E740481C1C}">
                  <a14:useLocalDpi xmlns:a14="http://schemas.microsoft.com/office/drawing/2010/main"/>
                </a:ext>
              </a:extLst>
            </a:blip>
            <a:stretch>
              <a:fillRect/>
            </a:stretch>
          </p:blipFill>
          <p:spPr>
            <a:xfrm>
              <a:off x="6489827" y="5376926"/>
              <a:ext cx="3423792" cy="195072"/>
            </a:xfrm>
            <a:prstGeom prst="rect">
              <a:avLst/>
            </a:prstGeom>
          </p:spPr>
        </p:pic>
        <p:pic>
          <p:nvPicPr>
            <p:cNvPr id="86" name="object 86"/>
            <p:cNvPicPr/>
            <p:nvPr/>
          </p:nvPicPr>
          <p:blipFill>
            <a:blip r:embed="rId63" cstate="screen">
              <a:extLst>
                <a:ext uri="{28A0092B-C50C-407E-A947-70E740481C1C}">
                  <a14:useLocalDpi xmlns:a14="http://schemas.microsoft.com/office/drawing/2010/main"/>
                </a:ext>
              </a:extLst>
            </a:blip>
            <a:stretch>
              <a:fillRect/>
            </a:stretch>
          </p:blipFill>
          <p:spPr>
            <a:xfrm>
              <a:off x="6489827" y="5559856"/>
              <a:ext cx="3385057" cy="195072"/>
            </a:xfrm>
            <a:prstGeom prst="rect">
              <a:avLst/>
            </a:prstGeom>
          </p:spPr>
        </p:pic>
        <p:pic>
          <p:nvPicPr>
            <p:cNvPr id="87" name="object 87"/>
            <p:cNvPicPr/>
            <p:nvPr/>
          </p:nvPicPr>
          <p:blipFill>
            <a:blip r:embed="rId64" cstate="screen">
              <a:extLst>
                <a:ext uri="{28A0092B-C50C-407E-A947-70E740481C1C}">
                  <a14:useLocalDpi xmlns:a14="http://schemas.microsoft.com/office/drawing/2010/main"/>
                </a:ext>
              </a:extLst>
            </a:blip>
            <a:stretch>
              <a:fillRect/>
            </a:stretch>
          </p:blipFill>
          <p:spPr>
            <a:xfrm>
              <a:off x="6489827" y="5742736"/>
              <a:ext cx="3217036" cy="195072"/>
            </a:xfrm>
            <a:prstGeom prst="rect">
              <a:avLst/>
            </a:prstGeom>
          </p:spPr>
        </p:pic>
        <p:pic>
          <p:nvPicPr>
            <p:cNvPr id="88" name="object 88"/>
            <p:cNvPicPr/>
            <p:nvPr/>
          </p:nvPicPr>
          <p:blipFill>
            <a:blip r:embed="rId65" cstate="screen">
              <a:extLst>
                <a:ext uri="{28A0092B-C50C-407E-A947-70E740481C1C}">
                  <a14:useLocalDpi xmlns:a14="http://schemas.microsoft.com/office/drawing/2010/main"/>
                </a:ext>
              </a:extLst>
            </a:blip>
            <a:stretch>
              <a:fillRect/>
            </a:stretch>
          </p:blipFill>
          <p:spPr>
            <a:xfrm>
              <a:off x="6489827" y="5925312"/>
              <a:ext cx="3377946" cy="195376"/>
            </a:xfrm>
            <a:prstGeom prst="rect">
              <a:avLst/>
            </a:prstGeom>
          </p:spPr>
        </p:pic>
        <p:pic>
          <p:nvPicPr>
            <p:cNvPr id="89" name="object 89"/>
            <p:cNvPicPr/>
            <p:nvPr/>
          </p:nvPicPr>
          <p:blipFill>
            <a:blip r:embed="rId66" cstate="screen">
              <a:extLst>
                <a:ext uri="{28A0092B-C50C-407E-A947-70E740481C1C}">
                  <a14:useLocalDpi xmlns:a14="http://schemas.microsoft.com/office/drawing/2010/main"/>
                </a:ext>
              </a:extLst>
            </a:blip>
            <a:stretch>
              <a:fillRect/>
            </a:stretch>
          </p:blipFill>
          <p:spPr>
            <a:xfrm>
              <a:off x="6489827" y="6108801"/>
              <a:ext cx="3493134" cy="195072"/>
            </a:xfrm>
            <a:prstGeom prst="rect">
              <a:avLst/>
            </a:prstGeom>
          </p:spPr>
        </p:pic>
        <p:pic>
          <p:nvPicPr>
            <p:cNvPr id="90" name="object 90"/>
            <p:cNvPicPr/>
            <p:nvPr/>
          </p:nvPicPr>
          <p:blipFill>
            <a:blip r:embed="rId67" cstate="screen">
              <a:extLst>
                <a:ext uri="{28A0092B-C50C-407E-A947-70E740481C1C}">
                  <a14:useLocalDpi xmlns:a14="http://schemas.microsoft.com/office/drawing/2010/main"/>
                </a:ext>
              </a:extLst>
            </a:blip>
            <a:stretch>
              <a:fillRect/>
            </a:stretch>
          </p:blipFill>
          <p:spPr>
            <a:xfrm>
              <a:off x="6489827" y="6291681"/>
              <a:ext cx="3166491" cy="195072"/>
            </a:xfrm>
            <a:prstGeom prst="rect">
              <a:avLst/>
            </a:prstGeom>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92695-7796-E07F-E2B7-B4DEB22F7A86}"/>
              </a:ext>
            </a:extLst>
          </p:cNvPr>
          <p:cNvSpPr>
            <a:spLocks noGrp="1"/>
          </p:cNvSpPr>
          <p:nvPr>
            <p:ph type="title"/>
          </p:nvPr>
        </p:nvSpPr>
        <p:spPr>
          <a:xfrm>
            <a:off x="511174" y="1601788"/>
            <a:ext cx="6520929" cy="2398712"/>
          </a:xfrm>
        </p:spPr>
        <p:txBody>
          <a:bodyPr/>
          <a:lstStyle/>
          <a:p>
            <a:r>
              <a:rPr lang="en-US" sz="2800" dirty="0"/>
              <a:t>Welcome</a:t>
            </a:r>
          </a:p>
        </p:txBody>
      </p:sp>
      <p:sp>
        <p:nvSpPr>
          <p:cNvPr id="3" name="Text Placeholder 2">
            <a:extLst>
              <a:ext uri="{FF2B5EF4-FFF2-40B4-BE49-F238E27FC236}">
                <a16:creationId xmlns:a16="http://schemas.microsoft.com/office/drawing/2014/main" id="{E01B5F8D-DE66-FA82-18A8-A0D59EAA2DAD}"/>
              </a:ext>
            </a:extLst>
          </p:cNvPr>
          <p:cNvSpPr>
            <a:spLocks noGrp="1"/>
          </p:cNvSpPr>
          <p:nvPr>
            <p:ph type="body" sz="quarter" idx="10"/>
          </p:nvPr>
        </p:nvSpPr>
        <p:spPr/>
        <p:txBody>
          <a:bodyPr/>
          <a:lstStyle/>
          <a:p>
            <a:r>
              <a:rPr lang="en-US" dirty="0"/>
              <a:t>1</a:t>
            </a:r>
          </a:p>
        </p:txBody>
      </p:sp>
      <p:sp>
        <p:nvSpPr>
          <p:cNvPr id="5" name="Title 1">
            <a:extLst>
              <a:ext uri="{FF2B5EF4-FFF2-40B4-BE49-F238E27FC236}">
                <a16:creationId xmlns:a16="http://schemas.microsoft.com/office/drawing/2014/main" id="{8529CE8D-2D21-851E-9B41-D79F5173F45F}"/>
              </a:ext>
            </a:extLst>
          </p:cNvPr>
          <p:cNvSpPr txBox="1">
            <a:spLocks/>
          </p:cNvSpPr>
          <p:nvPr/>
        </p:nvSpPr>
        <p:spPr>
          <a:xfrm>
            <a:off x="511175" y="5940870"/>
            <a:ext cx="2971800" cy="470898"/>
          </a:xfrm>
          <a:prstGeom prst="rect">
            <a:avLst/>
          </a:prstGeom>
        </p:spPr>
        <p:txBody>
          <a:bodyPr vert="horz" lIns="0" tIns="0" rIns="0" bIns="0" rtlCol="0" anchor="t">
            <a:spAutoFit/>
          </a:bodyPr>
          <a:lstStyle>
            <a:lvl1pPr eaLnBrk="1" hangingPunct="1">
              <a:lnSpc>
                <a:spcPct val="90000"/>
              </a:lnSpc>
              <a:defRPr sz="3600" b="0" kern="1200" baseline="0">
                <a:solidFill>
                  <a:schemeClr val="bg1">
                    <a:alpha val="80000"/>
                  </a:schemeClr>
                </a:solidFill>
                <a:latin typeface="+mj-lt"/>
                <a:ea typeface="+mj-ea"/>
                <a:cs typeface="+mj-cs"/>
              </a:defRPr>
            </a:lvl1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80BBAD"/>
                </a:solidFill>
                <a:effectLst/>
                <a:uLnTx/>
                <a:uFillTx/>
                <a:latin typeface="Calibre Semibold" panose="020B0703030202060203" pitchFamily="34" charset="0"/>
                <a:ea typeface="+mj-ea"/>
                <a:cs typeface="+mj-cs"/>
              </a:rPr>
              <a:t>Jonathan Moseley</a:t>
            </a:r>
          </a:p>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D1D3"/>
                </a:solidFill>
                <a:effectLst/>
                <a:uLnTx/>
                <a:uFillTx/>
                <a:latin typeface="Calibre"/>
                <a:ea typeface="+mj-ea"/>
                <a:cs typeface="+mj-cs"/>
              </a:rPr>
              <a:t>Head of Infrastructure, CBRE</a:t>
            </a:r>
          </a:p>
        </p:txBody>
      </p:sp>
      <p:pic>
        <p:nvPicPr>
          <p:cNvPr id="8" name="Picture 7">
            <a:extLst>
              <a:ext uri="{FF2B5EF4-FFF2-40B4-BE49-F238E27FC236}">
                <a16:creationId xmlns:a16="http://schemas.microsoft.com/office/drawing/2014/main" id="{76E90E4A-9211-16E2-0270-106C6E014D9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11175" y="4595829"/>
            <a:ext cx="1016125" cy="1256337"/>
          </a:xfrm>
          <a:prstGeom prst="rect">
            <a:avLst/>
          </a:prstGeom>
        </p:spPr>
      </p:pic>
      <p:pic>
        <p:nvPicPr>
          <p:cNvPr id="9" name="Picture Placeholder 7" descr="A picture containing people, group&#10;&#10;Description automatically generated">
            <a:extLst>
              <a:ext uri="{FF2B5EF4-FFF2-40B4-BE49-F238E27FC236}">
                <a16:creationId xmlns:a16="http://schemas.microsoft.com/office/drawing/2014/main" id="{56EE7544-A0B9-FFD5-2EE8-A58637C0673B}"/>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a:xfrm>
            <a:off x="7683500" y="476250"/>
            <a:ext cx="3995738" cy="5905500"/>
          </a:xfrm>
        </p:spPr>
      </p:pic>
    </p:spTree>
    <p:extLst>
      <p:ext uri="{BB962C8B-B14F-4D97-AF65-F5344CB8AC3E}">
        <p14:creationId xmlns:p14="http://schemas.microsoft.com/office/powerpoint/2010/main" val="5820093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screen">
            <a:extLst>
              <a:ext uri="{28A0092B-C50C-407E-A947-70E740481C1C}">
                <a14:useLocalDpi xmlns:a14="http://schemas.microsoft.com/office/drawing/2010/main"/>
              </a:ext>
            </a:extLst>
          </a:blip>
          <a:stretch>
            <a:fillRect/>
          </a:stretch>
        </p:blipFill>
        <p:spPr>
          <a:xfrm>
            <a:off x="1300225" y="1047622"/>
            <a:ext cx="9896221" cy="326136"/>
          </a:xfrm>
          <a:prstGeom prst="rect">
            <a:avLst/>
          </a:prstGeom>
        </p:spPr>
      </p:pic>
      <p:grpSp>
        <p:nvGrpSpPr>
          <p:cNvPr id="4" name="object 4"/>
          <p:cNvGrpSpPr/>
          <p:nvPr/>
        </p:nvGrpSpPr>
        <p:grpSpPr>
          <a:xfrm>
            <a:off x="10455406" y="427129"/>
            <a:ext cx="1432560" cy="126364"/>
            <a:chOff x="10455406" y="427129"/>
            <a:chExt cx="1432560" cy="126364"/>
          </a:xfrm>
        </p:grpSpPr>
        <p:sp>
          <p:nvSpPr>
            <p:cNvPr id="5" name="object 5"/>
            <p:cNvSpPr/>
            <p:nvPr/>
          </p:nvSpPr>
          <p:spPr>
            <a:xfrm>
              <a:off x="10455406" y="430003"/>
              <a:ext cx="27940" cy="120650"/>
            </a:xfrm>
            <a:custGeom>
              <a:avLst/>
              <a:gdLst/>
              <a:ahLst/>
              <a:cxnLst/>
              <a:rect l="l" t="t" r="r" b="b"/>
              <a:pathLst>
                <a:path w="27940" h="120650">
                  <a:moveTo>
                    <a:pt x="27818" y="0"/>
                  </a:moveTo>
                  <a:lnTo>
                    <a:pt x="0" y="0"/>
                  </a:lnTo>
                  <a:lnTo>
                    <a:pt x="0" y="120338"/>
                  </a:lnTo>
                  <a:lnTo>
                    <a:pt x="27818" y="120338"/>
                  </a:lnTo>
                  <a:lnTo>
                    <a:pt x="27818"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6" name="object 6"/>
            <p:cNvPicPr/>
            <p:nvPr/>
          </p:nvPicPr>
          <p:blipFill>
            <a:blip r:embed="rId3" cstate="screen">
              <a:extLst>
                <a:ext uri="{28A0092B-C50C-407E-A947-70E740481C1C}">
                  <a14:useLocalDpi xmlns:a14="http://schemas.microsoft.com/office/drawing/2010/main"/>
                </a:ext>
              </a:extLst>
            </a:blip>
            <a:stretch>
              <a:fillRect/>
            </a:stretch>
          </p:blipFill>
          <p:spPr>
            <a:xfrm>
              <a:off x="10509820" y="430003"/>
              <a:ext cx="116999" cy="120338"/>
            </a:xfrm>
            <a:prstGeom prst="rect">
              <a:avLst/>
            </a:prstGeom>
          </p:spPr>
        </p:pic>
        <p:pic>
          <p:nvPicPr>
            <p:cNvPr id="7" name="object 7"/>
            <p:cNvPicPr/>
            <p:nvPr/>
          </p:nvPicPr>
          <p:blipFill>
            <a:blip r:embed="rId4" cstate="screen">
              <a:extLst>
                <a:ext uri="{28A0092B-C50C-407E-A947-70E740481C1C}">
                  <a14:useLocalDpi xmlns:a14="http://schemas.microsoft.com/office/drawing/2010/main"/>
                </a:ext>
              </a:extLst>
            </a:blip>
            <a:stretch>
              <a:fillRect/>
            </a:stretch>
          </p:blipFill>
          <p:spPr>
            <a:xfrm>
              <a:off x="10653001" y="429903"/>
              <a:ext cx="66708" cy="120872"/>
            </a:xfrm>
            <a:prstGeom prst="rect">
              <a:avLst/>
            </a:prstGeom>
          </p:spPr>
        </p:pic>
        <p:sp>
          <p:nvSpPr>
            <p:cNvPr id="8" name="object 8"/>
            <p:cNvSpPr/>
            <p:nvPr/>
          </p:nvSpPr>
          <p:spPr>
            <a:xfrm>
              <a:off x="10740161" y="427138"/>
              <a:ext cx="625475" cy="126364"/>
            </a:xfrm>
            <a:custGeom>
              <a:avLst/>
              <a:gdLst/>
              <a:ahLst/>
              <a:cxnLst/>
              <a:rect l="l" t="t" r="r" b="b"/>
              <a:pathLst>
                <a:path w="625475" h="126365">
                  <a:moveTo>
                    <a:pt x="93700" y="123215"/>
                  </a:moveTo>
                  <a:lnTo>
                    <a:pt x="58115" y="75565"/>
                  </a:lnTo>
                  <a:lnTo>
                    <a:pt x="56883" y="73926"/>
                  </a:lnTo>
                  <a:lnTo>
                    <a:pt x="63436" y="72275"/>
                  </a:lnTo>
                  <a:lnTo>
                    <a:pt x="83070" y="40246"/>
                  </a:lnTo>
                  <a:lnTo>
                    <a:pt x="82092" y="30988"/>
                  </a:lnTo>
                  <a:lnTo>
                    <a:pt x="79844" y="24231"/>
                  </a:lnTo>
                  <a:lnTo>
                    <a:pt x="79590" y="23456"/>
                  </a:lnTo>
                  <a:lnTo>
                    <a:pt x="54813" y="4406"/>
                  </a:lnTo>
                  <a:lnTo>
                    <a:pt x="54813" y="33680"/>
                  </a:lnTo>
                  <a:lnTo>
                    <a:pt x="54813" y="46405"/>
                  </a:lnTo>
                  <a:lnTo>
                    <a:pt x="52362" y="50101"/>
                  </a:lnTo>
                  <a:lnTo>
                    <a:pt x="50342" y="52158"/>
                  </a:lnTo>
                  <a:lnTo>
                    <a:pt x="45821" y="57086"/>
                  </a:lnTo>
                  <a:lnTo>
                    <a:pt x="38887" y="57492"/>
                  </a:lnTo>
                  <a:lnTo>
                    <a:pt x="27432" y="57492"/>
                  </a:lnTo>
                  <a:lnTo>
                    <a:pt x="27432" y="24231"/>
                  </a:lnTo>
                  <a:lnTo>
                    <a:pt x="37630" y="24231"/>
                  </a:lnTo>
                  <a:lnTo>
                    <a:pt x="44615" y="24638"/>
                  </a:lnTo>
                  <a:lnTo>
                    <a:pt x="49085" y="28333"/>
                  </a:lnTo>
                  <a:lnTo>
                    <a:pt x="51536" y="29984"/>
                  </a:lnTo>
                  <a:lnTo>
                    <a:pt x="54813" y="33680"/>
                  </a:lnTo>
                  <a:lnTo>
                    <a:pt x="54813" y="4406"/>
                  </a:lnTo>
                  <a:lnTo>
                    <a:pt x="52273" y="3721"/>
                  </a:lnTo>
                  <a:lnTo>
                    <a:pt x="41719" y="2870"/>
                  </a:lnTo>
                  <a:lnTo>
                    <a:pt x="0" y="2870"/>
                  </a:lnTo>
                  <a:lnTo>
                    <a:pt x="0" y="123215"/>
                  </a:lnTo>
                  <a:lnTo>
                    <a:pt x="27432" y="123215"/>
                  </a:lnTo>
                  <a:lnTo>
                    <a:pt x="27432" y="75565"/>
                  </a:lnTo>
                  <a:lnTo>
                    <a:pt x="59728" y="123215"/>
                  </a:lnTo>
                  <a:lnTo>
                    <a:pt x="93700" y="123215"/>
                  </a:lnTo>
                  <a:close/>
                </a:path>
                <a:path w="625475" h="126365">
                  <a:moveTo>
                    <a:pt x="219329" y="123215"/>
                  </a:moveTo>
                  <a:lnTo>
                    <a:pt x="210413" y="100622"/>
                  </a:lnTo>
                  <a:lnTo>
                    <a:pt x="201993" y="79260"/>
                  </a:lnTo>
                  <a:lnTo>
                    <a:pt x="185966" y="38608"/>
                  </a:lnTo>
                  <a:lnTo>
                    <a:pt x="173888" y="8001"/>
                  </a:lnTo>
                  <a:lnTo>
                    <a:pt x="173888" y="79260"/>
                  </a:lnTo>
                  <a:lnTo>
                    <a:pt x="144437" y="79260"/>
                  </a:lnTo>
                  <a:lnTo>
                    <a:pt x="159156" y="38608"/>
                  </a:lnTo>
                  <a:lnTo>
                    <a:pt x="173888" y="79260"/>
                  </a:lnTo>
                  <a:lnTo>
                    <a:pt x="173888" y="8001"/>
                  </a:lnTo>
                  <a:lnTo>
                    <a:pt x="171869" y="2870"/>
                  </a:lnTo>
                  <a:lnTo>
                    <a:pt x="146507" y="2870"/>
                  </a:lnTo>
                  <a:lnTo>
                    <a:pt x="98183" y="123215"/>
                  </a:lnTo>
                  <a:lnTo>
                    <a:pt x="126873" y="123215"/>
                  </a:lnTo>
                  <a:lnTo>
                    <a:pt x="136245" y="100622"/>
                  </a:lnTo>
                  <a:lnTo>
                    <a:pt x="181686" y="100622"/>
                  </a:lnTo>
                  <a:lnTo>
                    <a:pt x="190690" y="123215"/>
                  </a:lnTo>
                  <a:lnTo>
                    <a:pt x="219329" y="123215"/>
                  </a:lnTo>
                  <a:close/>
                </a:path>
                <a:path w="625475" h="126365">
                  <a:moveTo>
                    <a:pt x="311772" y="76796"/>
                  </a:moveTo>
                  <a:lnTo>
                    <a:pt x="310146" y="68173"/>
                  </a:lnTo>
                  <a:lnTo>
                    <a:pt x="302780" y="61607"/>
                  </a:lnTo>
                  <a:lnTo>
                    <a:pt x="298310" y="57086"/>
                  </a:lnTo>
                  <a:lnTo>
                    <a:pt x="291757" y="54216"/>
                  </a:lnTo>
                  <a:lnTo>
                    <a:pt x="286410" y="52158"/>
                  </a:lnTo>
                  <a:lnTo>
                    <a:pt x="277418" y="48869"/>
                  </a:lnTo>
                  <a:lnTo>
                    <a:pt x="269608" y="45580"/>
                  </a:lnTo>
                  <a:lnTo>
                    <a:pt x="265137" y="44767"/>
                  </a:lnTo>
                  <a:lnTo>
                    <a:pt x="260616" y="40246"/>
                  </a:lnTo>
                  <a:lnTo>
                    <a:pt x="259791" y="38188"/>
                  </a:lnTo>
                  <a:lnTo>
                    <a:pt x="259791" y="32029"/>
                  </a:lnTo>
                  <a:lnTo>
                    <a:pt x="261048" y="29565"/>
                  </a:lnTo>
                  <a:lnTo>
                    <a:pt x="262686" y="27508"/>
                  </a:lnTo>
                  <a:lnTo>
                    <a:pt x="265963" y="24231"/>
                  </a:lnTo>
                  <a:lnTo>
                    <a:pt x="270865" y="23406"/>
                  </a:lnTo>
                  <a:lnTo>
                    <a:pt x="277799" y="23406"/>
                  </a:lnTo>
                  <a:lnTo>
                    <a:pt x="285597" y="24231"/>
                  </a:lnTo>
                  <a:lnTo>
                    <a:pt x="294601" y="32029"/>
                  </a:lnTo>
                  <a:lnTo>
                    <a:pt x="306870" y="11912"/>
                  </a:lnTo>
                  <a:lnTo>
                    <a:pt x="296646" y="5715"/>
                  </a:lnTo>
                  <a:lnTo>
                    <a:pt x="287070" y="2108"/>
                  </a:lnTo>
                  <a:lnTo>
                    <a:pt x="278498" y="419"/>
                  </a:lnTo>
                  <a:lnTo>
                    <a:pt x="271246" y="0"/>
                  </a:lnTo>
                  <a:lnTo>
                    <a:pt x="263207" y="520"/>
                  </a:lnTo>
                  <a:lnTo>
                    <a:pt x="231787" y="30492"/>
                  </a:lnTo>
                  <a:lnTo>
                    <a:pt x="231165" y="38188"/>
                  </a:lnTo>
                  <a:lnTo>
                    <a:pt x="231165" y="43942"/>
                  </a:lnTo>
                  <a:lnTo>
                    <a:pt x="232410" y="52565"/>
                  </a:lnTo>
                  <a:lnTo>
                    <a:pt x="243052" y="64071"/>
                  </a:lnTo>
                  <a:lnTo>
                    <a:pt x="255320" y="68580"/>
                  </a:lnTo>
                  <a:lnTo>
                    <a:pt x="268414" y="73520"/>
                  </a:lnTo>
                  <a:lnTo>
                    <a:pt x="275780" y="75984"/>
                  </a:lnTo>
                  <a:lnTo>
                    <a:pt x="281508" y="80911"/>
                  </a:lnTo>
                  <a:lnTo>
                    <a:pt x="283146" y="83375"/>
                  </a:lnTo>
                  <a:lnTo>
                    <a:pt x="283146" y="91998"/>
                  </a:lnTo>
                  <a:lnTo>
                    <a:pt x="281508" y="95275"/>
                  </a:lnTo>
                  <a:lnTo>
                    <a:pt x="274955" y="100622"/>
                  </a:lnTo>
                  <a:lnTo>
                    <a:pt x="270052" y="101447"/>
                  </a:lnTo>
                  <a:lnTo>
                    <a:pt x="261048" y="101447"/>
                  </a:lnTo>
                  <a:lnTo>
                    <a:pt x="240157" y="87884"/>
                  </a:lnTo>
                  <a:lnTo>
                    <a:pt x="225869" y="107607"/>
                  </a:lnTo>
                  <a:lnTo>
                    <a:pt x="230339" y="112115"/>
                  </a:lnTo>
                  <a:lnTo>
                    <a:pt x="237324" y="117868"/>
                  </a:lnTo>
                  <a:lnTo>
                    <a:pt x="243433" y="120751"/>
                  </a:lnTo>
                  <a:lnTo>
                    <a:pt x="250799" y="124447"/>
                  </a:lnTo>
                  <a:lnTo>
                    <a:pt x="258597" y="126085"/>
                  </a:lnTo>
                  <a:lnTo>
                    <a:pt x="267157" y="126085"/>
                  </a:lnTo>
                  <a:lnTo>
                    <a:pt x="305409" y="108038"/>
                  </a:lnTo>
                  <a:lnTo>
                    <a:pt x="311772" y="83781"/>
                  </a:lnTo>
                  <a:lnTo>
                    <a:pt x="311772" y="76796"/>
                  </a:lnTo>
                  <a:close/>
                </a:path>
                <a:path w="625475" h="126365">
                  <a:moveTo>
                    <a:pt x="399757" y="2768"/>
                  </a:moveTo>
                  <a:lnTo>
                    <a:pt x="319963" y="2768"/>
                  </a:lnTo>
                  <a:lnTo>
                    <a:pt x="319963" y="25666"/>
                  </a:lnTo>
                  <a:lnTo>
                    <a:pt x="346138" y="25666"/>
                  </a:lnTo>
                  <a:lnTo>
                    <a:pt x="346138" y="123647"/>
                  </a:lnTo>
                  <a:lnTo>
                    <a:pt x="373964" y="123647"/>
                  </a:lnTo>
                  <a:lnTo>
                    <a:pt x="373964" y="25666"/>
                  </a:lnTo>
                  <a:lnTo>
                    <a:pt x="399757" y="25666"/>
                  </a:lnTo>
                  <a:lnTo>
                    <a:pt x="399757" y="2768"/>
                  </a:lnTo>
                  <a:close/>
                </a:path>
                <a:path w="625475" h="126365">
                  <a:moveTo>
                    <a:pt x="508190" y="123215"/>
                  </a:moveTo>
                  <a:lnTo>
                    <a:pt x="472605" y="75565"/>
                  </a:lnTo>
                  <a:lnTo>
                    <a:pt x="471373" y="73926"/>
                  </a:lnTo>
                  <a:lnTo>
                    <a:pt x="478307" y="72275"/>
                  </a:lnTo>
                  <a:lnTo>
                    <a:pt x="484035" y="68580"/>
                  </a:lnTo>
                  <a:lnTo>
                    <a:pt x="488124" y="64477"/>
                  </a:lnTo>
                  <a:lnTo>
                    <a:pt x="492887" y="58610"/>
                  </a:lnTo>
                  <a:lnTo>
                    <a:pt x="493395" y="57492"/>
                  </a:lnTo>
                  <a:lnTo>
                    <a:pt x="495769" y="52362"/>
                  </a:lnTo>
                  <a:lnTo>
                    <a:pt x="497179" y="46113"/>
                  </a:lnTo>
                  <a:lnTo>
                    <a:pt x="497560" y="40246"/>
                  </a:lnTo>
                  <a:lnTo>
                    <a:pt x="496646" y="30988"/>
                  </a:lnTo>
                  <a:lnTo>
                    <a:pt x="494512" y="24231"/>
                  </a:lnTo>
                  <a:lnTo>
                    <a:pt x="494271" y="23456"/>
                  </a:lnTo>
                  <a:lnTo>
                    <a:pt x="469734" y="4470"/>
                  </a:lnTo>
                  <a:lnTo>
                    <a:pt x="469734" y="33680"/>
                  </a:lnTo>
                  <a:lnTo>
                    <a:pt x="469734" y="46405"/>
                  </a:lnTo>
                  <a:lnTo>
                    <a:pt x="466852" y="50101"/>
                  </a:lnTo>
                  <a:lnTo>
                    <a:pt x="465213" y="52158"/>
                  </a:lnTo>
                  <a:lnTo>
                    <a:pt x="460298" y="57086"/>
                  </a:lnTo>
                  <a:lnTo>
                    <a:pt x="453326" y="57492"/>
                  </a:lnTo>
                  <a:lnTo>
                    <a:pt x="442302" y="57492"/>
                  </a:lnTo>
                  <a:lnTo>
                    <a:pt x="442302" y="24231"/>
                  </a:lnTo>
                  <a:lnTo>
                    <a:pt x="452120" y="24231"/>
                  </a:lnTo>
                  <a:lnTo>
                    <a:pt x="459486" y="24638"/>
                  </a:lnTo>
                  <a:lnTo>
                    <a:pt x="464007" y="28333"/>
                  </a:lnTo>
                  <a:lnTo>
                    <a:pt x="466471" y="29984"/>
                  </a:lnTo>
                  <a:lnTo>
                    <a:pt x="469734" y="33680"/>
                  </a:lnTo>
                  <a:lnTo>
                    <a:pt x="469734" y="4470"/>
                  </a:lnTo>
                  <a:lnTo>
                    <a:pt x="466979" y="3721"/>
                  </a:lnTo>
                  <a:lnTo>
                    <a:pt x="456590" y="2870"/>
                  </a:lnTo>
                  <a:lnTo>
                    <a:pt x="414489" y="2870"/>
                  </a:lnTo>
                  <a:lnTo>
                    <a:pt x="414489" y="123215"/>
                  </a:lnTo>
                  <a:lnTo>
                    <a:pt x="442302" y="123215"/>
                  </a:lnTo>
                  <a:lnTo>
                    <a:pt x="442302" y="75565"/>
                  </a:lnTo>
                  <a:lnTo>
                    <a:pt x="474649" y="123215"/>
                  </a:lnTo>
                  <a:lnTo>
                    <a:pt x="508190" y="123215"/>
                  </a:lnTo>
                  <a:close/>
                </a:path>
                <a:path w="625475" h="126365">
                  <a:moveTo>
                    <a:pt x="625195" y="2870"/>
                  </a:moveTo>
                  <a:lnTo>
                    <a:pt x="597369" y="2870"/>
                  </a:lnTo>
                  <a:lnTo>
                    <a:pt x="597369" y="78447"/>
                  </a:lnTo>
                  <a:lnTo>
                    <a:pt x="596938" y="87477"/>
                  </a:lnTo>
                  <a:lnTo>
                    <a:pt x="586308" y="98983"/>
                  </a:lnTo>
                  <a:lnTo>
                    <a:pt x="579755" y="99796"/>
                  </a:lnTo>
                  <a:lnTo>
                    <a:pt x="569125" y="99796"/>
                  </a:lnTo>
                  <a:lnTo>
                    <a:pt x="562571" y="98983"/>
                  </a:lnTo>
                  <a:lnTo>
                    <a:pt x="557669" y="93637"/>
                  </a:lnTo>
                  <a:lnTo>
                    <a:pt x="551561" y="87477"/>
                  </a:lnTo>
                  <a:lnTo>
                    <a:pt x="551561" y="2870"/>
                  </a:lnTo>
                  <a:lnTo>
                    <a:pt x="523735" y="2870"/>
                  </a:lnTo>
                  <a:lnTo>
                    <a:pt x="523735" y="73926"/>
                  </a:lnTo>
                  <a:lnTo>
                    <a:pt x="524116" y="83007"/>
                  </a:lnTo>
                  <a:lnTo>
                    <a:pt x="545922" y="119329"/>
                  </a:lnTo>
                  <a:lnTo>
                    <a:pt x="574471" y="126085"/>
                  </a:lnTo>
                  <a:lnTo>
                    <a:pt x="584009" y="125577"/>
                  </a:lnTo>
                  <a:lnTo>
                    <a:pt x="618794" y="102565"/>
                  </a:lnTo>
                  <a:lnTo>
                    <a:pt x="625195" y="73926"/>
                  </a:lnTo>
                  <a:lnTo>
                    <a:pt x="625195" y="287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9" name="object 9"/>
            <p:cNvPicPr/>
            <p:nvPr/>
          </p:nvPicPr>
          <p:blipFill>
            <a:blip r:embed="rId5" cstate="screen">
              <a:extLst>
                <a:ext uri="{28A0092B-C50C-407E-A947-70E740481C1C}">
                  <a14:useLocalDpi xmlns:a14="http://schemas.microsoft.com/office/drawing/2010/main"/>
                </a:ext>
              </a:extLst>
            </a:blip>
            <a:stretch>
              <a:fillRect/>
            </a:stretch>
          </p:blipFill>
          <p:spPr>
            <a:xfrm>
              <a:off x="11385815" y="427129"/>
              <a:ext cx="298689" cy="126087"/>
            </a:xfrm>
            <a:prstGeom prst="rect">
              <a:avLst/>
            </a:prstGeom>
          </p:spPr>
        </p:pic>
        <p:pic>
          <p:nvPicPr>
            <p:cNvPr id="10" name="object 10"/>
            <p:cNvPicPr/>
            <p:nvPr/>
          </p:nvPicPr>
          <p:blipFill>
            <a:blip r:embed="rId6" cstate="screen">
              <a:extLst>
                <a:ext uri="{28A0092B-C50C-407E-A947-70E740481C1C}">
                  <a14:useLocalDpi xmlns:a14="http://schemas.microsoft.com/office/drawing/2010/main"/>
                </a:ext>
              </a:extLst>
            </a:blip>
            <a:stretch>
              <a:fillRect/>
            </a:stretch>
          </p:blipFill>
          <p:spPr>
            <a:xfrm>
              <a:off x="11710686" y="429903"/>
              <a:ext cx="177162" cy="120872"/>
            </a:xfrm>
            <a:prstGeom prst="rect">
              <a:avLst/>
            </a:prstGeom>
          </p:spPr>
        </p:pic>
      </p:grpSp>
      <p:grpSp>
        <p:nvGrpSpPr>
          <p:cNvPr id="11" name="object 11"/>
          <p:cNvGrpSpPr/>
          <p:nvPr/>
        </p:nvGrpSpPr>
        <p:grpSpPr>
          <a:xfrm>
            <a:off x="10454998" y="599215"/>
            <a:ext cx="478155" cy="120650"/>
            <a:chOff x="10454998" y="599215"/>
            <a:chExt cx="478155" cy="120650"/>
          </a:xfrm>
        </p:grpSpPr>
        <p:pic>
          <p:nvPicPr>
            <p:cNvPr id="12" name="object 12"/>
            <p:cNvPicPr/>
            <p:nvPr/>
          </p:nvPicPr>
          <p:blipFill>
            <a:blip r:embed="rId7" cstate="screen">
              <a:extLst>
                <a:ext uri="{28A0092B-C50C-407E-A947-70E740481C1C}">
                  <a14:useLocalDpi xmlns:a14="http://schemas.microsoft.com/office/drawing/2010/main"/>
                </a:ext>
              </a:extLst>
            </a:blip>
            <a:stretch>
              <a:fillRect/>
            </a:stretch>
          </p:blipFill>
          <p:spPr>
            <a:xfrm>
              <a:off x="10454998" y="599215"/>
              <a:ext cx="345330" cy="120333"/>
            </a:xfrm>
            <a:prstGeom prst="rect">
              <a:avLst/>
            </a:prstGeom>
          </p:spPr>
        </p:pic>
        <p:pic>
          <p:nvPicPr>
            <p:cNvPr id="13" name="object 13"/>
            <p:cNvPicPr/>
            <p:nvPr/>
          </p:nvPicPr>
          <p:blipFill>
            <a:blip r:embed="rId8" cstate="screen">
              <a:extLst>
                <a:ext uri="{28A0092B-C50C-407E-A947-70E740481C1C}">
                  <a14:useLocalDpi xmlns:a14="http://schemas.microsoft.com/office/drawing/2010/main"/>
                </a:ext>
              </a:extLst>
            </a:blip>
            <a:stretch>
              <a:fillRect/>
            </a:stretch>
          </p:blipFill>
          <p:spPr>
            <a:xfrm>
              <a:off x="10826510" y="599215"/>
              <a:ext cx="106363" cy="120333"/>
            </a:xfrm>
            <a:prstGeom prst="rect">
              <a:avLst/>
            </a:prstGeom>
          </p:spPr>
        </p:pic>
      </p:grpSp>
      <p:grpSp>
        <p:nvGrpSpPr>
          <p:cNvPr id="14" name="object 14"/>
          <p:cNvGrpSpPr/>
          <p:nvPr/>
        </p:nvGrpSpPr>
        <p:grpSpPr>
          <a:xfrm>
            <a:off x="0" y="0"/>
            <a:ext cx="12192000" cy="998219"/>
            <a:chOff x="0" y="0"/>
            <a:chExt cx="12192000" cy="998219"/>
          </a:xfrm>
        </p:grpSpPr>
        <p:sp>
          <p:nvSpPr>
            <p:cNvPr id="15" name="object 15"/>
            <p:cNvSpPr/>
            <p:nvPr/>
          </p:nvSpPr>
          <p:spPr>
            <a:xfrm>
              <a:off x="10287244" y="430003"/>
              <a:ext cx="120650" cy="289560"/>
            </a:xfrm>
            <a:custGeom>
              <a:avLst/>
              <a:gdLst/>
              <a:ahLst/>
              <a:cxnLst/>
              <a:rect l="l" t="t" r="r" b="b"/>
              <a:pathLst>
                <a:path w="120650" h="289559">
                  <a:moveTo>
                    <a:pt x="120288" y="0"/>
                  </a:moveTo>
                  <a:lnTo>
                    <a:pt x="0" y="0"/>
                  </a:lnTo>
                  <a:lnTo>
                    <a:pt x="9294" y="1874"/>
                  </a:lnTo>
                  <a:lnTo>
                    <a:pt x="16979" y="6982"/>
                  </a:lnTo>
                  <a:lnTo>
                    <a:pt x="22210" y="14555"/>
                  </a:lnTo>
                  <a:lnTo>
                    <a:pt x="24141" y="23820"/>
                  </a:lnTo>
                  <a:lnTo>
                    <a:pt x="24141" y="289544"/>
                  </a:lnTo>
                  <a:lnTo>
                    <a:pt x="120288" y="289544"/>
                  </a:lnTo>
                  <a:lnTo>
                    <a:pt x="120288" y="241493"/>
                  </a:lnTo>
                  <a:lnTo>
                    <a:pt x="47868" y="144569"/>
                  </a:lnTo>
                  <a:lnTo>
                    <a:pt x="120288" y="48051"/>
                  </a:lnTo>
                  <a:lnTo>
                    <a:pt x="120288"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6" name="object 16"/>
            <p:cNvSpPr/>
            <p:nvPr/>
          </p:nvSpPr>
          <p:spPr>
            <a:xfrm>
              <a:off x="10166950" y="430003"/>
              <a:ext cx="120650" cy="289560"/>
            </a:xfrm>
            <a:custGeom>
              <a:avLst/>
              <a:gdLst/>
              <a:ahLst/>
              <a:cxnLst/>
              <a:rect l="l" t="t" r="r" b="b"/>
              <a:pathLst>
                <a:path w="120650" h="289559">
                  <a:moveTo>
                    <a:pt x="120293" y="0"/>
                  </a:moveTo>
                  <a:lnTo>
                    <a:pt x="0" y="0"/>
                  </a:lnTo>
                  <a:lnTo>
                    <a:pt x="0" y="241493"/>
                  </a:lnTo>
                  <a:lnTo>
                    <a:pt x="3740" y="260263"/>
                  </a:lnTo>
                  <a:lnTo>
                    <a:pt x="13963" y="275529"/>
                  </a:lnTo>
                  <a:lnTo>
                    <a:pt x="29173" y="285790"/>
                  </a:lnTo>
                  <a:lnTo>
                    <a:pt x="47874" y="289544"/>
                  </a:lnTo>
                  <a:lnTo>
                    <a:pt x="66638" y="285790"/>
                  </a:lnTo>
                  <a:lnTo>
                    <a:pt x="81987" y="275529"/>
                  </a:lnTo>
                  <a:lnTo>
                    <a:pt x="92349" y="260263"/>
                  </a:lnTo>
                  <a:lnTo>
                    <a:pt x="96152" y="241493"/>
                  </a:lnTo>
                  <a:lnTo>
                    <a:pt x="96152" y="20535"/>
                  </a:lnTo>
                  <a:lnTo>
                    <a:pt x="96970" y="17250"/>
                  </a:lnTo>
                  <a:lnTo>
                    <a:pt x="98197" y="14376"/>
                  </a:lnTo>
                  <a:lnTo>
                    <a:pt x="98197" y="13965"/>
                  </a:lnTo>
                  <a:lnTo>
                    <a:pt x="103106" y="4932"/>
                  </a:lnTo>
                  <a:lnTo>
                    <a:pt x="110884" y="0"/>
                  </a:lnTo>
                  <a:lnTo>
                    <a:pt x="120293"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7" name="object 17"/>
            <p:cNvSpPr/>
            <p:nvPr/>
          </p:nvSpPr>
          <p:spPr>
            <a:xfrm>
              <a:off x="0" y="0"/>
              <a:ext cx="12192000" cy="998219"/>
            </a:xfrm>
            <a:custGeom>
              <a:avLst/>
              <a:gdLst/>
              <a:ahLst/>
              <a:cxnLst/>
              <a:rect l="l" t="t" r="r" b="b"/>
              <a:pathLst>
                <a:path w="12192000" h="998219">
                  <a:moveTo>
                    <a:pt x="12192000" y="0"/>
                  </a:moveTo>
                  <a:lnTo>
                    <a:pt x="0" y="0"/>
                  </a:lnTo>
                  <a:lnTo>
                    <a:pt x="0" y="808482"/>
                  </a:lnTo>
                  <a:lnTo>
                    <a:pt x="6096000" y="998220"/>
                  </a:lnTo>
                  <a:lnTo>
                    <a:pt x="12192000" y="808482"/>
                  </a:lnTo>
                  <a:lnTo>
                    <a:pt x="12192000"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8" name="object 18"/>
            <p:cNvPicPr/>
            <p:nvPr/>
          </p:nvPicPr>
          <p:blipFill>
            <a:blip r:embed="rId9" cstate="screen">
              <a:extLst>
                <a:ext uri="{28A0092B-C50C-407E-A947-70E740481C1C}">
                  <a14:useLocalDpi xmlns:a14="http://schemas.microsoft.com/office/drawing/2010/main"/>
                </a:ext>
              </a:extLst>
            </a:blip>
            <a:stretch>
              <a:fillRect/>
            </a:stretch>
          </p:blipFill>
          <p:spPr>
            <a:xfrm>
              <a:off x="5054472" y="115188"/>
              <a:ext cx="2345817" cy="650747"/>
            </a:xfrm>
            <a:prstGeom prst="rect">
              <a:avLst/>
            </a:prstGeom>
          </p:spPr>
        </p:pic>
        <p:sp>
          <p:nvSpPr>
            <p:cNvPr id="19" name="object 19"/>
            <p:cNvSpPr/>
            <p:nvPr/>
          </p:nvSpPr>
          <p:spPr>
            <a:xfrm>
              <a:off x="10414111" y="265670"/>
              <a:ext cx="29845" cy="128905"/>
            </a:xfrm>
            <a:custGeom>
              <a:avLst/>
              <a:gdLst/>
              <a:ahLst/>
              <a:cxnLst/>
              <a:rect l="l" t="t" r="r" b="b"/>
              <a:pathLst>
                <a:path w="29845" h="128904">
                  <a:moveTo>
                    <a:pt x="29678" y="0"/>
                  </a:moveTo>
                  <a:lnTo>
                    <a:pt x="0" y="0"/>
                  </a:lnTo>
                  <a:lnTo>
                    <a:pt x="0" y="128325"/>
                  </a:lnTo>
                  <a:lnTo>
                    <a:pt x="29678" y="128325"/>
                  </a:lnTo>
                  <a:lnTo>
                    <a:pt x="29678"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0" name="object 20"/>
            <p:cNvPicPr/>
            <p:nvPr/>
          </p:nvPicPr>
          <p:blipFill>
            <a:blip r:embed="rId10" cstate="screen">
              <a:extLst>
                <a:ext uri="{28A0092B-C50C-407E-A947-70E740481C1C}">
                  <a14:useLocalDpi xmlns:a14="http://schemas.microsoft.com/office/drawing/2010/main"/>
                </a:ext>
              </a:extLst>
            </a:blip>
            <a:stretch>
              <a:fillRect/>
            </a:stretch>
          </p:blipFill>
          <p:spPr>
            <a:xfrm>
              <a:off x="10472166" y="265670"/>
              <a:ext cx="124825" cy="128325"/>
            </a:xfrm>
            <a:prstGeom prst="rect">
              <a:avLst/>
            </a:prstGeom>
          </p:spPr>
        </p:pic>
        <p:sp>
          <p:nvSpPr>
            <p:cNvPr id="21" name="object 21"/>
            <p:cNvSpPr/>
            <p:nvPr/>
          </p:nvSpPr>
          <p:spPr>
            <a:xfrm>
              <a:off x="10624922" y="262610"/>
              <a:ext cx="760095" cy="134620"/>
            </a:xfrm>
            <a:custGeom>
              <a:avLst/>
              <a:gdLst/>
              <a:ahLst/>
              <a:cxnLst/>
              <a:rect l="l" t="t" r="r" b="b"/>
              <a:pathLst>
                <a:path w="760095" h="134620">
                  <a:moveTo>
                    <a:pt x="71170" y="3022"/>
                  </a:moveTo>
                  <a:lnTo>
                    <a:pt x="0" y="3022"/>
                  </a:lnTo>
                  <a:lnTo>
                    <a:pt x="0" y="28473"/>
                  </a:lnTo>
                  <a:lnTo>
                    <a:pt x="0" y="52641"/>
                  </a:lnTo>
                  <a:lnTo>
                    <a:pt x="0" y="78079"/>
                  </a:lnTo>
                  <a:lnTo>
                    <a:pt x="0" y="131495"/>
                  </a:lnTo>
                  <a:lnTo>
                    <a:pt x="29730" y="131495"/>
                  </a:lnTo>
                  <a:lnTo>
                    <a:pt x="29730" y="78079"/>
                  </a:lnTo>
                  <a:lnTo>
                    <a:pt x="68135" y="78079"/>
                  </a:lnTo>
                  <a:lnTo>
                    <a:pt x="68135" y="52641"/>
                  </a:lnTo>
                  <a:lnTo>
                    <a:pt x="29730" y="52641"/>
                  </a:lnTo>
                  <a:lnTo>
                    <a:pt x="29730" y="28473"/>
                  </a:lnTo>
                  <a:lnTo>
                    <a:pt x="71170" y="28473"/>
                  </a:lnTo>
                  <a:lnTo>
                    <a:pt x="71170" y="3022"/>
                  </a:lnTo>
                  <a:close/>
                </a:path>
                <a:path w="760095" h="134620">
                  <a:moveTo>
                    <a:pt x="192963" y="131394"/>
                  </a:moveTo>
                  <a:lnTo>
                    <a:pt x="154990" y="80594"/>
                  </a:lnTo>
                  <a:lnTo>
                    <a:pt x="153682" y="78841"/>
                  </a:lnTo>
                  <a:lnTo>
                    <a:pt x="160667" y="77076"/>
                  </a:lnTo>
                  <a:lnTo>
                    <a:pt x="167182" y="73139"/>
                  </a:lnTo>
                  <a:lnTo>
                    <a:pt x="171551" y="68757"/>
                  </a:lnTo>
                  <a:lnTo>
                    <a:pt x="176631" y="62509"/>
                  </a:lnTo>
                  <a:lnTo>
                    <a:pt x="177177" y="61315"/>
                  </a:lnTo>
                  <a:lnTo>
                    <a:pt x="179705" y="55841"/>
                  </a:lnTo>
                  <a:lnTo>
                    <a:pt x="181216" y="49174"/>
                  </a:lnTo>
                  <a:lnTo>
                    <a:pt x="181622" y="42926"/>
                  </a:lnTo>
                  <a:lnTo>
                    <a:pt x="180581" y="33045"/>
                  </a:lnTo>
                  <a:lnTo>
                    <a:pt x="178181" y="25844"/>
                  </a:lnTo>
                  <a:lnTo>
                    <a:pt x="177914" y="25019"/>
                  </a:lnTo>
                  <a:lnTo>
                    <a:pt x="151472" y="4711"/>
                  </a:lnTo>
                  <a:lnTo>
                    <a:pt x="151472" y="35915"/>
                  </a:lnTo>
                  <a:lnTo>
                    <a:pt x="151472" y="49491"/>
                  </a:lnTo>
                  <a:lnTo>
                    <a:pt x="148856" y="53428"/>
                  </a:lnTo>
                  <a:lnTo>
                    <a:pt x="146697" y="55626"/>
                  </a:lnTo>
                  <a:lnTo>
                    <a:pt x="141871" y="60883"/>
                  </a:lnTo>
                  <a:lnTo>
                    <a:pt x="134480" y="61315"/>
                  </a:lnTo>
                  <a:lnTo>
                    <a:pt x="122262" y="61315"/>
                  </a:lnTo>
                  <a:lnTo>
                    <a:pt x="122262" y="25844"/>
                  </a:lnTo>
                  <a:lnTo>
                    <a:pt x="133146" y="25844"/>
                  </a:lnTo>
                  <a:lnTo>
                    <a:pt x="140589" y="26276"/>
                  </a:lnTo>
                  <a:lnTo>
                    <a:pt x="145364" y="30213"/>
                  </a:lnTo>
                  <a:lnTo>
                    <a:pt x="147980" y="31978"/>
                  </a:lnTo>
                  <a:lnTo>
                    <a:pt x="151472" y="35915"/>
                  </a:lnTo>
                  <a:lnTo>
                    <a:pt x="151472" y="4711"/>
                  </a:lnTo>
                  <a:lnTo>
                    <a:pt x="148767" y="3975"/>
                  </a:lnTo>
                  <a:lnTo>
                    <a:pt x="137502" y="3060"/>
                  </a:lnTo>
                  <a:lnTo>
                    <a:pt x="92989" y="3060"/>
                  </a:lnTo>
                  <a:lnTo>
                    <a:pt x="92989" y="131394"/>
                  </a:lnTo>
                  <a:lnTo>
                    <a:pt x="122262" y="131394"/>
                  </a:lnTo>
                  <a:lnTo>
                    <a:pt x="122262" y="80594"/>
                  </a:lnTo>
                  <a:lnTo>
                    <a:pt x="156718" y="131394"/>
                  </a:lnTo>
                  <a:lnTo>
                    <a:pt x="192963" y="131394"/>
                  </a:lnTo>
                  <a:close/>
                </a:path>
                <a:path w="760095" h="134620">
                  <a:moveTo>
                    <a:pt x="326986" y="131394"/>
                  </a:moveTo>
                  <a:lnTo>
                    <a:pt x="317487" y="107302"/>
                  </a:lnTo>
                  <a:lnTo>
                    <a:pt x="308495" y="84531"/>
                  </a:lnTo>
                  <a:lnTo>
                    <a:pt x="291388" y="41173"/>
                  </a:lnTo>
                  <a:lnTo>
                    <a:pt x="278511" y="8534"/>
                  </a:lnTo>
                  <a:lnTo>
                    <a:pt x="278511" y="84531"/>
                  </a:lnTo>
                  <a:lnTo>
                    <a:pt x="247091" y="84531"/>
                  </a:lnTo>
                  <a:lnTo>
                    <a:pt x="262801" y="41173"/>
                  </a:lnTo>
                  <a:lnTo>
                    <a:pt x="278511" y="84531"/>
                  </a:lnTo>
                  <a:lnTo>
                    <a:pt x="278511" y="8534"/>
                  </a:lnTo>
                  <a:lnTo>
                    <a:pt x="276352" y="3060"/>
                  </a:lnTo>
                  <a:lnTo>
                    <a:pt x="249301" y="3060"/>
                  </a:lnTo>
                  <a:lnTo>
                    <a:pt x="197739" y="131394"/>
                  </a:lnTo>
                  <a:lnTo>
                    <a:pt x="228346" y="131394"/>
                  </a:lnTo>
                  <a:lnTo>
                    <a:pt x="238353" y="107302"/>
                  </a:lnTo>
                  <a:lnTo>
                    <a:pt x="286829" y="107302"/>
                  </a:lnTo>
                  <a:lnTo>
                    <a:pt x="296430" y="131394"/>
                  </a:lnTo>
                  <a:lnTo>
                    <a:pt x="326986" y="131394"/>
                  </a:lnTo>
                  <a:close/>
                </a:path>
                <a:path w="760095" h="134620">
                  <a:moveTo>
                    <a:pt x="425627" y="89344"/>
                  </a:moveTo>
                  <a:lnTo>
                    <a:pt x="398564" y="55626"/>
                  </a:lnTo>
                  <a:lnTo>
                    <a:pt x="388962" y="52120"/>
                  </a:lnTo>
                  <a:lnTo>
                    <a:pt x="380644" y="48615"/>
                  </a:lnTo>
                  <a:lnTo>
                    <a:pt x="375869" y="47739"/>
                  </a:lnTo>
                  <a:lnTo>
                    <a:pt x="371043" y="42926"/>
                  </a:lnTo>
                  <a:lnTo>
                    <a:pt x="370166" y="40728"/>
                  </a:lnTo>
                  <a:lnTo>
                    <a:pt x="370166" y="34163"/>
                  </a:lnTo>
                  <a:lnTo>
                    <a:pt x="371500" y="31534"/>
                  </a:lnTo>
                  <a:lnTo>
                    <a:pt x="373253" y="29349"/>
                  </a:lnTo>
                  <a:lnTo>
                    <a:pt x="376745" y="25844"/>
                  </a:lnTo>
                  <a:lnTo>
                    <a:pt x="381977" y="24968"/>
                  </a:lnTo>
                  <a:lnTo>
                    <a:pt x="389369" y="24968"/>
                  </a:lnTo>
                  <a:lnTo>
                    <a:pt x="397687" y="25844"/>
                  </a:lnTo>
                  <a:lnTo>
                    <a:pt x="407289" y="34163"/>
                  </a:lnTo>
                  <a:lnTo>
                    <a:pt x="420382" y="12700"/>
                  </a:lnTo>
                  <a:lnTo>
                    <a:pt x="409486" y="6096"/>
                  </a:lnTo>
                  <a:lnTo>
                    <a:pt x="399275" y="2247"/>
                  </a:lnTo>
                  <a:lnTo>
                    <a:pt x="390118" y="444"/>
                  </a:lnTo>
                  <a:lnTo>
                    <a:pt x="382384" y="0"/>
                  </a:lnTo>
                  <a:lnTo>
                    <a:pt x="373811" y="558"/>
                  </a:lnTo>
                  <a:lnTo>
                    <a:pt x="342341" y="24968"/>
                  </a:lnTo>
                  <a:lnTo>
                    <a:pt x="339610" y="40728"/>
                  </a:lnTo>
                  <a:lnTo>
                    <a:pt x="339610" y="46863"/>
                  </a:lnTo>
                  <a:lnTo>
                    <a:pt x="340956" y="56057"/>
                  </a:lnTo>
                  <a:lnTo>
                    <a:pt x="352298" y="68326"/>
                  </a:lnTo>
                  <a:lnTo>
                    <a:pt x="365391" y="73139"/>
                  </a:lnTo>
                  <a:lnTo>
                    <a:pt x="379361" y="78397"/>
                  </a:lnTo>
                  <a:lnTo>
                    <a:pt x="387223" y="81026"/>
                  </a:lnTo>
                  <a:lnTo>
                    <a:pt x="393331" y="86283"/>
                  </a:lnTo>
                  <a:lnTo>
                    <a:pt x="395071" y="88912"/>
                  </a:lnTo>
                  <a:lnTo>
                    <a:pt x="395071" y="98107"/>
                  </a:lnTo>
                  <a:lnTo>
                    <a:pt x="393331" y="101612"/>
                  </a:lnTo>
                  <a:lnTo>
                    <a:pt x="386346" y="107302"/>
                  </a:lnTo>
                  <a:lnTo>
                    <a:pt x="381101" y="108178"/>
                  </a:lnTo>
                  <a:lnTo>
                    <a:pt x="371500" y="108178"/>
                  </a:lnTo>
                  <a:lnTo>
                    <a:pt x="349211" y="93726"/>
                  </a:lnTo>
                  <a:lnTo>
                    <a:pt x="333971" y="114744"/>
                  </a:lnTo>
                  <a:lnTo>
                    <a:pt x="371322" y="134124"/>
                  </a:lnTo>
                  <a:lnTo>
                    <a:pt x="378028" y="134454"/>
                  </a:lnTo>
                  <a:lnTo>
                    <a:pt x="385597" y="134061"/>
                  </a:lnTo>
                  <a:lnTo>
                    <a:pt x="418820" y="115214"/>
                  </a:lnTo>
                  <a:lnTo>
                    <a:pt x="424776" y="98894"/>
                  </a:lnTo>
                  <a:lnTo>
                    <a:pt x="425627" y="89344"/>
                  </a:lnTo>
                  <a:close/>
                </a:path>
                <a:path w="760095" h="134620">
                  <a:moveTo>
                    <a:pt x="519493" y="3022"/>
                  </a:moveTo>
                  <a:lnTo>
                    <a:pt x="434352" y="3022"/>
                  </a:lnTo>
                  <a:lnTo>
                    <a:pt x="434352" y="28473"/>
                  </a:lnTo>
                  <a:lnTo>
                    <a:pt x="462292" y="28473"/>
                  </a:lnTo>
                  <a:lnTo>
                    <a:pt x="462292" y="131495"/>
                  </a:lnTo>
                  <a:lnTo>
                    <a:pt x="491959" y="131495"/>
                  </a:lnTo>
                  <a:lnTo>
                    <a:pt x="491959" y="28473"/>
                  </a:lnTo>
                  <a:lnTo>
                    <a:pt x="519493" y="28473"/>
                  </a:lnTo>
                  <a:lnTo>
                    <a:pt x="519493" y="3022"/>
                  </a:lnTo>
                  <a:close/>
                </a:path>
                <a:path w="760095" h="134620">
                  <a:moveTo>
                    <a:pt x="635177" y="131394"/>
                  </a:moveTo>
                  <a:lnTo>
                    <a:pt x="597204" y="80594"/>
                  </a:lnTo>
                  <a:lnTo>
                    <a:pt x="595896" y="78841"/>
                  </a:lnTo>
                  <a:lnTo>
                    <a:pt x="603288" y="77076"/>
                  </a:lnTo>
                  <a:lnTo>
                    <a:pt x="609396" y="73139"/>
                  </a:lnTo>
                  <a:lnTo>
                    <a:pt x="613765" y="68757"/>
                  </a:lnTo>
                  <a:lnTo>
                    <a:pt x="618845" y="62509"/>
                  </a:lnTo>
                  <a:lnTo>
                    <a:pt x="619391" y="61315"/>
                  </a:lnTo>
                  <a:lnTo>
                    <a:pt x="621919" y="55841"/>
                  </a:lnTo>
                  <a:lnTo>
                    <a:pt x="623430" y="49174"/>
                  </a:lnTo>
                  <a:lnTo>
                    <a:pt x="623836" y="42926"/>
                  </a:lnTo>
                  <a:lnTo>
                    <a:pt x="622858" y="33045"/>
                  </a:lnTo>
                  <a:lnTo>
                    <a:pt x="620585" y="25844"/>
                  </a:lnTo>
                  <a:lnTo>
                    <a:pt x="620331" y="25019"/>
                  </a:lnTo>
                  <a:lnTo>
                    <a:pt x="594156" y="4775"/>
                  </a:lnTo>
                  <a:lnTo>
                    <a:pt x="594156" y="35915"/>
                  </a:lnTo>
                  <a:lnTo>
                    <a:pt x="594156" y="49491"/>
                  </a:lnTo>
                  <a:lnTo>
                    <a:pt x="591070" y="53428"/>
                  </a:lnTo>
                  <a:lnTo>
                    <a:pt x="589318" y="55626"/>
                  </a:lnTo>
                  <a:lnTo>
                    <a:pt x="584085" y="60883"/>
                  </a:lnTo>
                  <a:lnTo>
                    <a:pt x="576643" y="61315"/>
                  </a:lnTo>
                  <a:lnTo>
                    <a:pt x="564883" y="61315"/>
                  </a:lnTo>
                  <a:lnTo>
                    <a:pt x="564883" y="25844"/>
                  </a:lnTo>
                  <a:lnTo>
                    <a:pt x="575360" y="25844"/>
                  </a:lnTo>
                  <a:lnTo>
                    <a:pt x="583209" y="26276"/>
                  </a:lnTo>
                  <a:lnTo>
                    <a:pt x="588048" y="30213"/>
                  </a:lnTo>
                  <a:lnTo>
                    <a:pt x="590664" y="31978"/>
                  </a:lnTo>
                  <a:lnTo>
                    <a:pt x="594156" y="35915"/>
                  </a:lnTo>
                  <a:lnTo>
                    <a:pt x="594156" y="4775"/>
                  </a:lnTo>
                  <a:lnTo>
                    <a:pt x="591210" y="3975"/>
                  </a:lnTo>
                  <a:lnTo>
                    <a:pt x="580123" y="3060"/>
                  </a:lnTo>
                  <a:lnTo>
                    <a:pt x="535203" y="3060"/>
                  </a:lnTo>
                  <a:lnTo>
                    <a:pt x="535203" y="131394"/>
                  </a:lnTo>
                  <a:lnTo>
                    <a:pt x="564883" y="131394"/>
                  </a:lnTo>
                  <a:lnTo>
                    <a:pt x="564883" y="80594"/>
                  </a:lnTo>
                  <a:lnTo>
                    <a:pt x="599389" y="131394"/>
                  </a:lnTo>
                  <a:lnTo>
                    <a:pt x="635177" y="131394"/>
                  </a:lnTo>
                  <a:close/>
                </a:path>
                <a:path w="760095" h="134620">
                  <a:moveTo>
                    <a:pt x="760006" y="3060"/>
                  </a:moveTo>
                  <a:lnTo>
                    <a:pt x="730326" y="3060"/>
                  </a:lnTo>
                  <a:lnTo>
                    <a:pt x="730326" y="83654"/>
                  </a:lnTo>
                  <a:lnTo>
                    <a:pt x="729856" y="93281"/>
                  </a:lnTo>
                  <a:lnTo>
                    <a:pt x="718515" y="105549"/>
                  </a:lnTo>
                  <a:lnTo>
                    <a:pt x="711530" y="106426"/>
                  </a:lnTo>
                  <a:lnTo>
                    <a:pt x="700189" y="106426"/>
                  </a:lnTo>
                  <a:lnTo>
                    <a:pt x="693204" y="105549"/>
                  </a:lnTo>
                  <a:lnTo>
                    <a:pt x="687959" y="99860"/>
                  </a:lnTo>
                  <a:lnTo>
                    <a:pt x="681443" y="93281"/>
                  </a:lnTo>
                  <a:lnTo>
                    <a:pt x="681443" y="3060"/>
                  </a:lnTo>
                  <a:lnTo>
                    <a:pt x="651764" y="3060"/>
                  </a:lnTo>
                  <a:lnTo>
                    <a:pt x="651764" y="78841"/>
                  </a:lnTo>
                  <a:lnTo>
                    <a:pt x="652157" y="88531"/>
                  </a:lnTo>
                  <a:lnTo>
                    <a:pt x="675424" y="127254"/>
                  </a:lnTo>
                  <a:lnTo>
                    <a:pt x="705891" y="134454"/>
                  </a:lnTo>
                  <a:lnTo>
                    <a:pt x="716064" y="133921"/>
                  </a:lnTo>
                  <a:lnTo>
                    <a:pt x="753186" y="109385"/>
                  </a:lnTo>
                  <a:lnTo>
                    <a:pt x="760006" y="78841"/>
                  </a:lnTo>
                  <a:lnTo>
                    <a:pt x="760006" y="306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2" name="object 22"/>
            <p:cNvPicPr/>
            <p:nvPr/>
          </p:nvPicPr>
          <p:blipFill>
            <a:blip r:embed="rId11" cstate="screen">
              <a:extLst>
                <a:ext uri="{28A0092B-C50C-407E-A947-70E740481C1C}">
                  <a14:useLocalDpi xmlns:a14="http://schemas.microsoft.com/office/drawing/2010/main"/>
                </a:ext>
              </a:extLst>
            </a:blip>
            <a:stretch>
              <a:fillRect/>
            </a:stretch>
          </p:blipFill>
          <p:spPr>
            <a:xfrm>
              <a:off x="11406756" y="262605"/>
              <a:ext cx="318668" cy="134455"/>
            </a:xfrm>
            <a:prstGeom prst="rect">
              <a:avLst/>
            </a:prstGeom>
          </p:spPr>
        </p:pic>
        <p:pic>
          <p:nvPicPr>
            <p:cNvPr id="23" name="object 23"/>
            <p:cNvPicPr/>
            <p:nvPr/>
          </p:nvPicPr>
          <p:blipFill>
            <a:blip r:embed="rId12" cstate="screen">
              <a:extLst>
                <a:ext uri="{28A0092B-C50C-407E-A947-70E740481C1C}">
                  <a14:useLocalDpi xmlns:a14="http://schemas.microsoft.com/office/drawing/2010/main"/>
                </a:ext>
              </a:extLst>
            </a:blip>
            <a:stretch>
              <a:fillRect/>
            </a:stretch>
          </p:blipFill>
          <p:spPr>
            <a:xfrm>
              <a:off x="11753357" y="265631"/>
              <a:ext cx="189013" cy="128475"/>
            </a:xfrm>
            <a:prstGeom prst="rect">
              <a:avLst/>
            </a:prstGeom>
          </p:spPr>
        </p:pic>
        <p:pic>
          <p:nvPicPr>
            <p:cNvPr id="24" name="object 24"/>
            <p:cNvPicPr/>
            <p:nvPr/>
          </p:nvPicPr>
          <p:blipFill>
            <a:blip r:embed="rId13" cstate="screen">
              <a:extLst>
                <a:ext uri="{28A0092B-C50C-407E-A947-70E740481C1C}">
                  <a14:useLocalDpi xmlns:a14="http://schemas.microsoft.com/office/drawing/2010/main"/>
                </a:ext>
              </a:extLst>
            </a:blip>
            <a:stretch>
              <a:fillRect/>
            </a:stretch>
          </p:blipFill>
          <p:spPr>
            <a:xfrm>
              <a:off x="10413675" y="446112"/>
              <a:ext cx="368430" cy="128320"/>
            </a:xfrm>
            <a:prstGeom prst="rect">
              <a:avLst/>
            </a:prstGeom>
          </p:spPr>
        </p:pic>
        <p:pic>
          <p:nvPicPr>
            <p:cNvPr id="25" name="object 25"/>
            <p:cNvPicPr/>
            <p:nvPr/>
          </p:nvPicPr>
          <p:blipFill>
            <a:blip r:embed="rId14" cstate="screen">
              <a:extLst>
                <a:ext uri="{28A0092B-C50C-407E-A947-70E740481C1C}">
                  <a14:useLocalDpi xmlns:a14="http://schemas.microsoft.com/office/drawing/2010/main"/>
                </a:ext>
              </a:extLst>
            </a:blip>
            <a:stretch>
              <a:fillRect/>
            </a:stretch>
          </p:blipFill>
          <p:spPr>
            <a:xfrm>
              <a:off x="10810038" y="446112"/>
              <a:ext cx="113477" cy="128320"/>
            </a:xfrm>
            <a:prstGeom prst="rect">
              <a:avLst/>
            </a:prstGeom>
          </p:spPr>
        </p:pic>
        <p:sp>
          <p:nvSpPr>
            <p:cNvPr id="26" name="object 26"/>
            <p:cNvSpPr/>
            <p:nvPr/>
          </p:nvSpPr>
          <p:spPr>
            <a:xfrm>
              <a:off x="10234700" y="265670"/>
              <a:ext cx="128905" cy="309245"/>
            </a:xfrm>
            <a:custGeom>
              <a:avLst/>
              <a:gdLst/>
              <a:ahLst/>
              <a:cxnLst/>
              <a:rect l="l" t="t" r="r" b="b"/>
              <a:pathLst>
                <a:path w="128904" h="309245">
                  <a:moveTo>
                    <a:pt x="128334" y="0"/>
                  </a:moveTo>
                  <a:lnTo>
                    <a:pt x="0" y="0"/>
                  </a:lnTo>
                  <a:lnTo>
                    <a:pt x="9916" y="1998"/>
                  </a:lnTo>
                  <a:lnTo>
                    <a:pt x="18115" y="7446"/>
                  </a:lnTo>
                  <a:lnTo>
                    <a:pt x="23696" y="15521"/>
                  </a:lnTo>
                  <a:lnTo>
                    <a:pt x="25756" y="25401"/>
                  </a:lnTo>
                  <a:lnTo>
                    <a:pt x="25756" y="308761"/>
                  </a:lnTo>
                  <a:lnTo>
                    <a:pt x="128334" y="308761"/>
                  </a:lnTo>
                  <a:lnTo>
                    <a:pt x="128334" y="257521"/>
                  </a:lnTo>
                  <a:lnTo>
                    <a:pt x="51070" y="154164"/>
                  </a:lnTo>
                  <a:lnTo>
                    <a:pt x="128334" y="51240"/>
                  </a:lnTo>
                  <a:lnTo>
                    <a:pt x="128334"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27" name="object 27"/>
            <p:cNvSpPr/>
            <p:nvPr/>
          </p:nvSpPr>
          <p:spPr>
            <a:xfrm>
              <a:off x="10106360" y="265670"/>
              <a:ext cx="128905" cy="309245"/>
            </a:xfrm>
            <a:custGeom>
              <a:avLst/>
              <a:gdLst/>
              <a:ahLst/>
              <a:cxnLst/>
              <a:rect l="l" t="t" r="r" b="b"/>
              <a:pathLst>
                <a:path w="128904" h="309245">
                  <a:moveTo>
                    <a:pt x="128340" y="0"/>
                  </a:moveTo>
                  <a:lnTo>
                    <a:pt x="0" y="0"/>
                  </a:lnTo>
                  <a:lnTo>
                    <a:pt x="0" y="257521"/>
                  </a:lnTo>
                  <a:lnTo>
                    <a:pt x="3990" y="277537"/>
                  </a:lnTo>
                  <a:lnTo>
                    <a:pt x="14897" y="293816"/>
                  </a:lnTo>
                  <a:lnTo>
                    <a:pt x="31125" y="304758"/>
                  </a:lnTo>
                  <a:lnTo>
                    <a:pt x="51076" y="308761"/>
                  </a:lnTo>
                  <a:lnTo>
                    <a:pt x="71095" y="304758"/>
                  </a:lnTo>
                  <a:lnTo>
                    <a:pt x="87471" y="293816"/>
                  </a:lnTo>
                  <a:lnTo>
                    <a:pt x="98526" y="277537"/>
                  </a:lnTo>
                  <a:lnTo>
                    <a:pt x="102584" y="257521"/>
                  </a:lnTo>
                  <a:lnTo>
                    <a:pt x="102583" y="21898"/>
                  </a:lnTo>
                  <a:lnTo>
                    <a:pt x="103456" y="18395"/>
                  </a:lnTo>
                  <a:lnTo>
                    <a:pt x="104766" y="15330"/>
                  </a:lnTo>
                  <a:lnTo>
                    <a:pt x="104766" y="14892"/>
                  </a:lnTo>
                  <a:lnTo>
                    <a:pt x="105639" y="13141"/>
                  </a:lnTo>
                  <a:lnTo>
                    <a:pt x="109615" y="7763"/>
                  </a:lnTo>
                  <a:lnTo>
                    <a:pt x="114861" y="3615"/>
                  </a:lnTo>
                  <a:lnTo>
                    <a:pt x="121172" y="945"/>
                  </a:lnTo>
                  <a:lnTo>
                    <a:pt x="128340"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28" name="object 28"/>
          <p:cNvGrpSpPr/>
          <p:nvPr/>
        </p:nvGrpSpPr>
        <p:grpSpPr>
          <a:xfrm>
            <a:off x="10515600" y="1801367"/>
            <a:ext cx="1550035" cy="349250"/>
            <a:chOff x="10515600" y="1801367"/>
            <a:chExt cx="1550035" cy="349250"/>
          </a:xfrm>
        </p:grpSpPr>
        <p:pic>
          <p:nvPicPr>
            <p:cNvPr id="29" name="object 29"/>
            <p:cNvPicPr/>
            <p:nvPr/>
          </p:nvPicPr>
          <p:blipFill>
            <a:blip r:embed="rId15" cstate="screen">
              <a:extLst>
                <a:ext uri="{28A0092B-C50C-407E-A947-70E740481C1C}">
                  <a14:useLocalDpi xmlns:a14="http://schemas.microsoft.com/office/drawing/2010/main"/>
                </a:ext>
              </a:extLst>
            </a:blip>
            <a:stretch>
              <a:fillRect/>
            </a:stretch>
          </p:blipFill>
          <p:spPr>
            <a:xfrm>
              <a:off x="10515600" y="1801367"/>
              <a:ext cx="1549653" cy="179832"/>
            </a:xfrm>
            <a:prstGeom prst="rect">
              <a:avLst/>
            </a:prstGeom>
          </p:spPr>
        </p:pic>
        <p:pic>
          <p:nvPicPr>
            <p:cNvPr id="30" name="object 30"/>
            <p:cNvPicPr/>
            <p:nvPr/>
          </p:nvPicPr>
          <p:blipFill>
            <a:blip r:embed="rId16" cstate="screen">
              <a:extLst>
                <a:ext uri="{28A0092B-C50C-407E-A947-70E740481C1C}">
                  <a14:useLocalDpi xmlns:a14="http://schemas.microsoft.com/office/drawing/2010/main"/>
                </a:ext>
              </a:extLst>
            </a:blip>
            <a:stretch>
              <a:fillRect/>
            </a:stretch>
          </p:blipFill>
          <p:spPr>
            <a:xfrm>
              <a:off x="10520172" y="1970531"/>
              <a:ext cx="960120" cy="179832"/>
            </a:xfrm>
            <a:prstGeom prst="rect">
              <a:avLst/>
            </a:prstGeom>
          </p:spPr>
        </p:pic>
        <p:pic>
          <p:nvPicPr>
            <p:cNvPr id="31" name="object 31"/>
            <p:cNvPicPr/>
            <p:nvPr/>
          </p:nvPicPr>
          <p:blipFill>
            <a:blip r:embed="rId17" cstate="screen">
              <a:extLst>
                <a:ext uri="{28A0092B-C50C-407E-A947-70E740481C1C}">
                  <a14:useLocalDpi xmlns:a14="http://schemas.microsoft.com/office/drawing/2010/main"/>
                </a:ext>
              </a:extLst>
            </a:blip>
            <a:stretch>
              <a:fillRect/>
            </a:stretch>
          </p:blipFill>
          <p:spPr>
            <a:xfrm>
              <a:off x="11426952" y="1970531"/>
              <a:ext cx="472351" cy="179832"/>
            </a:xfrm>
            <a:prstGeom prst="rect">
              <a:avLst/>
            </a:prstGeom>
          </p:spPr>
        </p:pic>
        <p:sp>
          <p:nvSpPr>
            <p:cNvPr id="32" name="object 32"/>
            <p:cNvSpPr/>
            <p:nvPr/>
          </p:nvSpPr>
          <p:spPr>
            <a:xfrm>
              <a:off x="11425682" y="2117978"/>
              <a:ext cx="413384" cy="7620"/>
            </a:xfrm>
            <a:custGeom>
              <a:avLst/>
              <a:gdLst/>
              <a:ahLst/>
              <a:cxnLst/>
              <a:rect l="l" t="t" r="r" b="b"/>
              <a:pathLst>
                <a:path w="413384" h="7619">
                  <a:moveTo>
                    <a:pt x="413003" y="0"/>
                  </a:moveTo>
                  <a:lnTo>
                    <a:pt x="0" y="0"/>
                  </a:lnTo>
                  <a:lnTo>
                    <a:pt x="0" y="7620"/>
                  </a:lnTo>
                  <a:lnTo>
                    <a:pt x="413003" y="7620"/>
                  </a:lnTo>
                  <a:lnTo>
                    <a:pt x="413003" y="0"/>
                  </a:lnTo>
                  <a:close/>
                </a:path>
              </a:pathLst>
            </a:custGeom>
            <a:solidFill>
              <a:srgbClr val="0462C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33" name="object 33"/>
          <p:cNvGrpSpPr/>
          <p:nvPr/>
        </p:nvGrpSpPr>
        <p:grpSpPr>
          <a:xfrm>
            <a:off x="2692907" y="1502663"/>
            <a:ext cx="6821805" cy="949960"/>
            <a:chOff x="2692907" y="1502663"/>
            <a:chExt cx="6821805" cy="949960"/>
          </a:xfrm>
        </p:grpSpPr>
        <p:pic>
          <p:nvPicPr>
            <p:cNvPr id="34" name="object 34"/>
            <p:cNvPicPr/>
            <p:nvPr/>
          </p:nvPicPr>
          <p:blipFill>
            <a:blip r:embed="rId18" cstate="print"/>
            <a:stretch>
              <a:fillRect/>
            </a:stretch>
          </p:blipFill>
          <p:spPr>
            <a:xfrm>
              <a:off x="3098287" y="1504143"/>
              <a:ext cx="6416048" cy="948001"/>
            </a:xfrm>
            <a:prstGeom prst="rect">
              <a:avLst/>
            </a:prstGeom>
          </p:spPr>
        </p:pic>
        <p:sp>
          <p:nvSpPr>
            <p:cNvPr id="35" name="object 35"/>
            <p:cNvSpPr/>
            <p:nvPr/>
          </p:nvSpPr>
          <p:spPr>
            <a:xfrm>
              <a:off x="3115055" y="1511807"/>
              <a:ext cx="6332220" cy="873760"/>
            </a:xfrm>
            <a:custGeom>
              <a:avLst/>
              <a:gdLst/>
              <a:ahLst/>
              <a:cxnLst/>
              <a:rect l="l" t="t" r="r" b="b"/>
              <a:pathLst>
                <a:path w="6332220" h="873760">
                  <a:moveTo>
                    <a:pt x="6186678" y="0"/>
                  </a:moveTo>
                  <a:lnTo>
                    <a:pt x="145542" y="0"/>
                  </a:lnTo>
                  <a:lnTo>
                    <a:pt x="99535" y="7418"/>
                  </a:lnTo>
                  <a:lnTo>
                    <a:pt x="59582" y="28078"/>
                  </a:lnTo>
                  <a:lnTo>
                    <a:pt x="28078" y="59582"/>
                  </a:lnTo>
                  <a:lnTo>
                    <a:pt x="7418" y="99535"/>
                  </a:lnTo>
                  <a:lnTo>
                    <a:pt x="0" y="145541"/>
                  </a:lnTo>
                  <a:lnTo>
                    <a:pt x="0" y="727709"/>
                  </a:lnTo>
                  <a:lnTo>
                    <a:pt x="7418" y="773716"/>
                  </a:lnTo>
                  <a:lnTo>
                    <a:pt x="28078" y="813669"/>
                  </a:lnTo>
                  <a:lnTo>
                    <a:pt x="59582" y="845173"/>
                  </a:lnTo>
                  <a:lnTo>
                    <a:pt x="99535" y="865833"/>
                  </a:lnTo>
                  <a:lnTo>
                    <a:pt x="145542" y="873251"/>
                  </a:lnTo>
                  <a:lnTo>
                    <a:pt x="6186678" y="873251"/>
                  </a:lnTo>
                  <a:lnTo>
                    <a:pt x="6232684" y="865833"/>
                  </a:lnTo>
                  <a:lnTo>
                    <a:pt x="6272637" y="845173"/>
                  </a:lnTo>
                  <a:lnTo>
                    <a:pt x="6304141" y="813669"/>
                  </a:lnTo>
                  <a:lnTo>
                    <a:pt x="6324801" y="773716"/>
                  </a:lnTo>
                  <a:lnTo>
                    <a:pt x="6332220" y="727709"/>
                  </a:lnTo>
                  <a:lnTo>
                    <a:pt x="6332220" y="145541"/>
                  </a:lnTo>
                  <a:lnTo>
                    <a:pt x="6324801" y="99535"/>
                  </a:lnTo>
                  <a:lnTo>
                    <a:pt x="6304141" y="59582"/>
                  </a:lnTo>
                  <a:lnTo>
                    <a:pt x="6272637" y="28078"/>
                  </a:lnTo>
                  <a:lnTo>
                    <a:pt x="6232684" y="7418"/>
                  </a:lnTo>
                  <a:lnTo>
                    <a:pt x="6186678"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36" name="object 36"/>
            <p:cNvPicPr/>
            <p:nvPr/>
          </p:nvPicPr>
          <p:blipFill>
            <a:blip r:embed="rId19" cstate="screen">
              <a:extLst>
                <a:ext uri="{28A0092B-C50C-407E-A947-70E740481C1C}">
                  <a14:useLocalDpi xmlns:a14="http://schemas.microsoft.com/office/drawing/2010/main"/>
                </a:ext>
              </a:extLst>
            </a:blip>
            <a:stretch>
              <a:fillRect/>
            </a:stretch>
          </p:blipFill>
          <p:spPr>
            <a:xfrm>
              <a:off x="3632961" y="1551685"/>
              <a:ext cx="1383664" cy="260603"/>
            </a:xfrm>
            <a:prstGeom prst="rect">
              <a:avLst/>
            </a:prstGeom>
          </p:spPr>
        </p:pic>
        <p:pic>
          <p:nvPicPr>
            <p:cNvPr id="37" name="object 37"/>
            <p:cNvPicPr/>
            <p:nvPr/>
          </p:nvPicPr>
          <p:blipFill>
            <a:blip r:embed="rId20" cstate="screen">
              <a:extLst>
                <a:ext uri="{28A0092B-C50C-407E-A947-70E740481C1C}">
                  <a14:useLocalDpi xmlns:a14="http://schemas.microsoft.com/office/drawing/2010/main"/>
                </a:ext>
              </a:extLst>
            </a:blip>
            <a:stretch>
              <a:fillRect/>
            </a:stretch>
          </p:blipFill>
          <p:spPr>
            <a:xfrm>
              <a:off x="3632961" y="1798573"/>
              <a:ext cx="5627624" cy="195072"/>
            </a:xfrm>
            <a:prstGeom prst="rect">
              <a:avLst/>
            </a:prstGeom>
          </p:spPr>
        </p:pic>
        <p:pic>
          <p:nvPicPr>
            <p:cNvPr id="38" name="object 38"/>
            <p:cNvPicPr/>
            <p:nvPr/>
          </p:nvPicPr>
          <p:blipFill>
            <a:blip r:embed="rId21" cstate="screen">
              <a:extLst>
                <a:ext uri="{28A0092B-C50C-407E-A947-70E740481C1C}">
                  <a14:useLocalDpi xmlns:a14="http://schemas.microsoft.com/office/drawing/2010/main"/>
                </a:ext>
              </a:extLst>
            </a:blip>
            <a:stretch>
              <a:fillRect/>
            </a:stretch>
          </p:blipFill>
          <p:spPr>
            <a:xfrm>
              <a:off x="3637533" y="1981454"/>
              <a:ext cx="4925441" cy="195072"/>
            </a:xfrm>
            <a:prstGeom prst="rect">
              <a:avLst/>
            </a:prstGeom>
          </p:spPr>
        </p:pic>
        <p:pic>
          <p:nvPicPr>
            <p:cNvPr id="39" name="object 39"/>
            <p:cNvPicPr/>
            <p:nvPr/>
          </p:nvPicPr>
          <p:blipFill>
            <a:blip r:embed="rId22" cstate="screen">
              <a:extLst>
                <a:ext uri="{28A0092B-C50C-407E-A947-70E740481C1C}">
                  <a14:useLocalDpi xmlns:a14="http://schemas.microsoft.com/office/drawing/2010/main"/>
                </a:ext>
              </a:extLst>
            </a:blip>
            <a:stretch>
              <a:fillRect/>
            </a:stretch>
          </p:blipFill>
          <p:spPr>
            <a:xfrm>
              <a:off x="3637533" y="2164333"/>
              <a:ext cx="819226" cy="195072"/>
            </a:xfrm>
            <a:prstGeom prst="rect">
              <a:avLst/>
            </a:prstGeom>
          </p:spPr>
        </p:pic>
        <p:pic>
          <p:nvPicPr>
            <p:cNvPr id="40" name="object 40"/>
            <p:cNvPicPr/>
            <p:nvPr/>
          </p:nvPicPr>
          <p:blipFill>
            <a:blip r:embed="rId23" cstate="screen">
              <a:extLst>
                <a:ext uri="{28A0092B-C50C-407E-A947-70E740481C1C}">
                  <a14:useLocalDpi xmlns:a14="http://schemas.microsoft.com/office/drawing/2010/main"/>
                </a:ext>
              </a:extLst>
            </a:blip>
            <a:stretch>
              <a:fillRect/>
            </a:stretch>
          </p:blipFill>
          <p:spPr>
            <a:xfrm>
              <a:off x="2692907" y="1502663"/>
              <a:ext cx="896112" cy="896112"/>
            </a:xfrm>
            <a:prstGeom prst="rect">
              <a:avLst/>
            </a:prstGeom>
          </p:spPr>
        </p:pic>
      </p:grpSp>
      <p:grpSp>
        <p:nvGrpSpPr>
          <p:cNvPr id="41" name="object 41"/>
          <p:cNvGrpSpPr/>
          <p:nvPr/>
        </p:nvGrpSpPr>
        <p:grpSpPr>
          <a:xfrm>
            <a:off x="77723" y="2490228"/>
            <a:ext cx="5918200" cy="894715"/>
            <a:chOff x="77723" y="2490228"/>
            <a:chExt cx="5918200" cy="894715"/>
          </a:xfrm>
        </p:grpSpPr>
        <p:pic>
          <p:nvPicPr>
            <p:cNvPr id="42" name="object 42"/>
            <p:cNvPicPr/>
            <p:nvPr/>
          </p:nvPicPr>
          <p:blipFill>
            <a:blip r:embed="rId24" cstate="screen">
              <a:extLst>
                <a:ext uri="{28A0092B-C50C-407E-A947-70E740481C1C}">
                  <a14:useLocalDpi xmlns:a14="http://schemas.microsoft.com/office/drawing/2010/main"/>
                </a:ext>
              </a:extLst>
            </a:blip>
            <a:stretch>
              <a:fillRect/>
            </a:stretch>
          </p:blipFill>
          <p:spPr>
            <a:xfrm>
              <a:off x="294117" y="2513057"/>
              <a:ext cx="5701313" cy="858062"/>
            </a:xfrm>
            <a:prstGeom prst="rect">
              <a:avLst/>
            </a:prstGeom>
          </p:spPr>
        </p:pic>
        <p:sp>
          <p:nvSpPr>
            <p:cNvPr id="43" name="object 43"/>
            <p:cNvSpPr/>
            <p:nvPr/>
          </p:nvSpPr>
          <p:spPr>
            <a:xfrm>
              <a:off x="307848" y="2526791"/>
              <a:ext cx="5623560" cy="780415"/>
            </a:xfrm>
            <a:custGeom>
              <a:avLst/>
              <a:gdLst/>
              <a:ahLst/>
              <a:cxnLst/>
              <a:rect l="l" t="t" r="r" b="b"/>
              <a:pathLst>
                <a:path w="5623560" h="780414">
                  <a:moveTo>
                    <a:pt x="5493512" y="0"/>
                  </a:moveTo>
                  <a:lnTo>
                    <a:pt x="130047" y="0"/>
                  </a:lnTo>
                  <a:lnTo>
                    <a:pt x="79429" y="10211"/>
                  </a:lnTo>
                  <a:lnTo>
                    <a:pt x="38092" y="38068"/>
                  </a:lnTo>
                  <a:lnTo>
                    <a:pt x="10220" y="79402"/>
                  </a:lnTo>
                  <a:lnTo>
                    <a:pt x="0" y="130048"/>
                  </a:lnTo>
                  <a:lnTo>
                    <a:pt x="0" y="650240"/>
                  </a:lnTo>
                  <a:lnTo>
                    <a:pt x="10220" y="700885"/>
                  </a:lnTo>
                  <a:lnTo>
                    <a:pt x="38092" y="742219"/>
                  </a:lnTo>
                  <a:lnTo>
                    <a:pt x="79429" y="770076"/>
                  </a:lnTo>
                  <a:lnTo>
                    <a:pt x="130047" y="780288"/>
                  </a:lnTo>
                  <a:lnTo>
                    <a:pt x="5493512" y="780288"/>
                  </a:lnTo>
                  <a:lnTo>
                    <a:pt x="5544157" y="770076"/>
                  </a:lnTo>
                  <a:lnTo>
                    <a:pt x="5585491" y="742219"/>
                  </a:lnTo>
                  <a:lnTo>
                    <a:pt x="5613348" y="700885"/>
                  </a:lnTo>
                  <a:lnTo>
                    <a:pt x="5623560" y="650240"/>
                  </a:lnTo>
                  <a:lnTo>
                    <a:pt x="5623560" y="130048"/>
                  </a:lnTo>
                  <a:lnTo>
                    <a:pt x="5613348" y="79402"/>
                  </a:lnTo>
                  <a:lnTo>
                    <a:pt x="5585491" y="38068"/>
                  </a:lnTo>
                  <a:lnTo>
                    <a:pt x="5544157" y="10211"/>
                  </a:lnTo>
                  <a:lnTo>
                    <a:pt x="5493512"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44" name="object 44"/>
            <p:cNvSpPr/>
            <p:nvPr/>
          </p:nvSpPr>
          <p:spPr>
            <a:xfrm>
              <a:off x="307848" y="2526791"/>
              <a:ext cx="5623560" cy="780415"/>
            </a:xfrm>
            <a:custGeom>
              <a:avLst/>
              <a:gdLst/>
              <a:ahLst/>
              <a:cxnLst/>
              <a:rect l="l" t="t" r="r" b="b"/>
              <a:pathLst>
                <a:path w="5623560" h="780414">
                  <a:moveTo>
                    <a:pt x="0" y="130048"/>
                  </a:moveTo>
                  <a:lnTo>
                    <a:pt x="10220" y="79402"/>
                  </a:lnTo>
                  <a:lnTo>
                    <a:pt x="38092" y="38068"/>
                  </a:lnTo>
                  <a:lnTo>
                    <a:pt x="79429" y="10211"/>
                  </a:lnTo>
                  <a:lnTo>
                    <a:pt x="130047" y="0"/>
                  </a:lnTo>
                  <a:lnTo>
                    <a:pt x="5493512" y="0"/>
                  </a:lnTo>
                  <a:lnTo>
                    <a:pt x="5544157" y="10211"/>
                  </a:lnTo>
                  <a:lnTo>
                    <a:pt x="5585491" y="38068"/>
                  </a:lnTo>
                  <a:lnTo>
                    <a:pt x="5613348" y="79402"/>
                  </a:lnTo>
                  <a:lnTo>
                    <a:pt x="5623560" y="130048"/>
                  </a:lnTo>
                  <a:lnTo>
                    <a:pt x="5623560" y="650240"/>
                  </a:lnTo>
                  <a:lnTo>
                    <a:pt x="5613348" y="700885"/>
                  </a:lnTo>
                  <a:lnTo>
                    <a:pt x="5585491" y="742219"/>
                  </a:lnTo>
                  <a:lnTo>
                    <a:pt x="5544157" y="770076"/>
                  </a:lnTo>
                  <a:lnTo>
                    <a:pt x="5493512" y="780288"/>
                  </a:lnTo>
                  <a:lnTo>
                    <a:pt x="130047" y="780288"/>
                  </a:lnTo>
                  <a:lnTo>
                    <a:pt x="79429" y="770076"/>
                  </a:lnTo>
                  <a:lnTo>
                    <a:pt x="38092" y="742219"/>
                  </a:lnTo>
                  <a:lnTo>
                    <a:pt x="10220" y="700885"/>
                  </a:lnTo>
                  <a:lnTo>
                    <a:pt x="0" y="650240"/>
                  </a:lnTo>
                  <a:lnTo>
                    <a:pt x="0" y="130048"/>
                  </a:lnTo>
                  <a:close/>
                </a:path>
              </a:pathLst>
            </a:custGeom>
            <a:ln w="12700">
              <a:solidFill>
                <a:srgbClr val="8FD9C5"/>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5" name="object 45"/>
            <p:cNvPicPr/>
            <p:nvPr/>
          </p:nvPicPr>
          <p:blipFill>
            <a:blip r:embed="rId25" cstate="screen">
              <a:extLst>
                <a:ext uri="{28A0092B-C50C-407E-A947-70E740481C1C}">
                  <a14:useLocalDpi xmlns:a14="http://schemas.microsoft.com/office/drawing/2010/main"/>
                </a:ext>
              </a:extLst>
            </a:blip>
            <a:stretch>
              <a:fillRect/>
            </a:stretch>
          </p:blipFill>
          <p:spPr>
            <a:xfrm>
              <a:off x="1109471" y="2537459"/>
              <a:ext cx="2171700" cy="228600"/>
            </a:xfrm>
            <a:prstGeom prst="rect">
              <a:avLst/>
            </a:prstGeom>
          </p:spPr>
        </p:pic>
        <p:pic>
          <p:nvPicPr>
            <p:cNvPr id="46" name="object 46"/>
            <p:cNvPicPr/>
            <p:nvPr/>
          </p:nvPicPr>
          <p:blipFill>
            <a:blip r:embed="rId26" cstate="screen">
              <a:extLst>
                <a:ext uri="{28A0092B-C50C-407E-A947-70E740481C1C}">
                  <a14:useLocalDpi xmlns:a14="http://schemas.microsoft.com/office/drawing/2010/main"/>
                </a:ext>
              </a:extLst>
            </a:blip>
            <a:stretch>
              <a:fillRect/>
            </a:stretch>
          </p:blipFill>
          <p:spPr>
            <a:xfrm>
              <a:off x="1109471" y="2753867"/>
              <a:ext cx="4521581" cy="377952"/>
            </a:xfrm>
            <a:prstGeom prst="rect">
              <a:avLst/>
            </a:prstGeom>
          </p:spPr>
        </p:pic>
        <p:pic>
          <p:nvPicPr>
            <p:cNvPr id="47" name="object 47"/>
            <p:cNvPicPr/>
            <p:nvPr/>
          </p:nvPicPr>
          <p:blipFill>
            <a:blip r:embed="rId27" cstate="screen">
              <a:extLst>
                <a:ext uri="{28A0092B-C50C-407E-A947-70E740481C1C}">
                  <a14:useLocalDpi xmlns:a14="http://schemas.microsoft.com/office/drawing/2010/main"/>
                </a:ext>
              </a:extLst>
            </a:blip>
            <a:stretch>
              <a:fillRect/>
            </a:stretch>
          </p:blipFill>
          <p:spPr>
            <a:xfrm>
              <a:off x="1114043" y="3119881"/>
              <a:ext cx="2072767" cy="195072"/>
            </a:xfrm>
            <a:prstGeom prst="rect">
              <a:avLst/>
            </a:prstGeom>
          </p:spPr>
        </p:pic>
        <p:pic>
          <p:nvPicPr>
            <p:cNvPr id="48" name="object 48"/>
            <p:cNvPicPr/>
            <p:nvPr/>
          </p:nvPicPr>
          <p:blipFill>
            <a:blip r:embed="rId28" cstate="print"/>
            <a:stretch>
              <a:fillRect/>
            </a:stretch>
          </p:blipFill>
          <p:spPr>
            <a:xfrm>
              <a:off x="77723" y="2490228"/>
              <a:ext cx="911339" cy="894575"/>
            </a:xfrm>
            <a:prstGeom prst="rect">
              <a:avLst/>
            </a:prstGeom>
          </p:spPr>
        </p:pic>
        <p:pic>
          <p:nvPicPr>
            <p:cNvPr id="49" name="object 49"/>
            <p:cNvPicPr/>
            <p:nvPr/>
          </p:nvPicPr>
          <p:blipFill>
            <a:blip r:embed="rId29" cstate="print"/>
            <a:stretch>
              <a:fillRect/>
            </a:stretch>
          </p:blipFill>
          <p:spPr>
            <a:xfrm>
              <a:off x="109727" y="2522219"/>
              <a:ext cx="797052" cy="780288"/>
            </a:xfrm>
            <a:prstGeom prst="rect">
              <a:avLst/>
            </a:prstGeom>
          </p:spPr>
        </p:pic>
        <p:sp>
          <p:nvSpPr>
            <p:cNvPr id="50" name="object 50"/>
            <p:cNvSpPr/>
            <p:nvPr/>
          </p:nvSpPr>
          <p:spPr>
            <a:xfrm>
              <a:off x="109727" y="2522219"/>
              <a:ext cx="797560" cy="780415"/>
            </a:xfrm>
            <a:custGeom>
              <a:avLst/>
              <a:gdLst/>
              <a:ahLst/>
              <a:cxnLst/>
              <a:rect l="l" t="t" r="r" b="b"/>
              <a:pathLst>
                <a:path w="797560" h="780414">
                  <a:moveTo>
                    <a:pt x="0" y="390143"/>
                  </a:moveTo>
                  <a:lnTo>
                    <a:pt x="3105" y="341195"/>
                  </a:lnTo>
                  <a:lnTo>
                    <a:pt x="12171" y="294064"/>
                  </a:lnTo>
                  <a:lnTo>
                    <a:pt x="26824" y="249115"/>
                  </a:lnTo>
                  <a:lnTo>
                    <a:pt x="46692" y="206713"/>
                  </a:lnTo>
                  <a:lnTo>
                    <a:pt x="71401" y="167225"/>
                  </a:lnTo>
                  <a:lnTo>
                    <a:pt x="100577" y="131014"/>
                  </a:lnTo>
                  <a:lnTo>
                    <a:pt x="133847" y="98446"/>
                  </a:lnTo>
                  <a:lnTo>
                    <a:pt x="170837" y="69887"/>
                  </a:lnTo>
                  <a:lnTo>
                    <a:pt x="211175" y="45701"/>
                  </a:lnTo>
                  <a:lnTo>
                    <a:pt x="254486" y="26255"/>
                  </a:lnTo>
                  <a:lnTo>
                    <a:pt x="300397" y="11912"/>
                  </a:lnTo>
                  <a:lnTo>
                    <a:pt x="348534" y="3038"/>
                  </a:lnTo>
                  <a:lnTo>
                    <a:pt x="398526" y="0"/>
                  </a:lnTo>
                  <a:lnTo>
                    <a:pt x="448517" y="3038"/>
                  </a:lnTo>
                  <a:lnTo>
                    <a:pt x="496654" y="11912"/>
                  </a:lnTo>
                  <a:lnTo>
                    <a:pt x="542565" y="26255"/>
                  </a:lnTo>
                  <a:lnTo>
                    <a:pt x="585876" y="45701"/>
                  </a:lnTo>
                  <a:lnTo>
                    <a:pt x="626214" y="69887"/>
                  </a:lnTo>
                  <a:lnTo>
                    <a:pt x="663204" y="98446"/>
                  </a:lnTo>
                  <a:lnTo>
                    <a:pt x="696474" y="131014"/>
                  </a:lnTo>
                  <a:lnTo>
                    <a:pt x="725650" y="167225"/>
                  </a:lnTo>
                  <a:lnTo>
                    <a:pt x="750359" y="206713"/>
                  </a:lnTo>
                  <a:lnTo>
                    <a:pt x="770227" y="249115"/>
                  </a:lnTo>
                  <a:lnTo>
                    <a:pt x="784880" y="294064"/>
                  </a:lnTo>
                  <a:lnTo>
                    <a:pt x="793946" y="341195"/>
                  </a:lnTo>
                  <a:lnTo>
                    <a:pt x="797052" y="390143"/>
                  </a:lnTo>
                  <a:lnTo>
                    <a:pt x="793946" y="439092"/>
                  </a:lnTo>
                  <a:lnTo>
                    <a:pt x="784880" y="486223"/>
                  </a:lnTo>
                  <a:lnTo>
                    <a:pt x="770227" y="531172"/>
                  </a:lnTo>
                  <a:lnTo>
                    <a:pt x="750359" y="573574"/>
                  </a:lnTo>
                  <a:lnTo>
                    <a:pt x="725650" y="613062"/>
                  </a:lnTo>
                  <a:lnTo>
                    <a:pt x="696474" y="649273"/>
                  </a:lnTo>
                  <a:lnTo>
                    <a:pt x="663204" y="681841"/>
                  </a:lnTo>
                  <a:lnTo>
                    <a:pt x="626214" y="710400"/>
                  </a:lnTo>
                  <a:lnTo>
                    <a:pt x="585876" y="734586"/>
                  </a:lnTo>
                  <a:lnTo>
                    <a:pt x="542565" y="754032"/>
                  </a:lnTo>
                  <a:lnTo>
                    <a:pt x="496654" y="768375"/>
                  </a:lnTo>
                  <a:lnTo>
                    <a:pt x="448517" y="777249"/>
                  </a:lnTo>
                  <a:lnTo>
                    <a:pt x="398526" y="780288"/>
                  </a:lnTo>
                  <a:lnTo>
                    <a:pt x="348534" y="777249"/>
                  </a:lnTo>
                  <a:lnTo>
                    <a:pt x="300397" y="768375"/>
                  </a:lnTo>
                  <a:lnTo>
                    <a:pt x="254486" y="754032"/>
                  </a:lnTo>
                  <a:lnTo>
                    <a:pt x="211175" y="734586"/>
                  </a:lnTo>
                  <a:lnTo>
                    <a:pt x="170837" y="710400"/>
                  </a:lnTo>
                  <a:lnTo>
                    <a:pt x="133847" y="681841"/>
                  </a:lnTo>
                  <a:lnTo>
                    <a:pt x="100577" y="649273"/>
                  </a:lnTo>
                  <a:lnTo>
                    <a:pt x="71401" y="613062"/>
                  </a:lnTo>
                  <a:lnTo>
                    <a:pt x="46692" y="573574"/>
                  </a:lnTo>
                  <a:lnTo>
                    <a:pt x="26824" y="531172"/>
                  </a:lnTo>
                  <a:lnTo>
                    <a:pt x="12171" y="486223"/>
                  </a:lnTo>
                  <a:lnTo>
                    <a:pt x="3105" y="439092"/>
                  </a:lnTo>
                  <a:lnTo>
                    <a:pt x="0" y="390143"/>
                  </a:lnTo>
                  <a:close/>
                </a:path>
              </a:pathLst>
            </a:custGeom>
            <a:ln w="12700">
              <a:solidFill>
                <a:srgbClr val="E7E6E6"/>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51" name="object 51"/>
          <p:cNvGrpSpPr/>
          <p:nvPr/>
        </p:nvGrpSpPr>
        <p:grpSpPr>
          <a:xfrm>
            <a:off x="6236193" y="2510009"/>
            <a:ext cx="5701665" cy="858519"/>
            <a:chOff x="6236193" y="2510009"/>
            <a:chExt cx="5701665" cy="858519"/>
          </a:xfrm>
        </p:grpSpPr>
        <p:pic>
          <p:nvPicPr>
            <p:cNvPr id="52" name="object 52"/>
            <p:cNvPicPr/>
            <p:nvPr/>
          </p:nvPicPr>
          <p:blipFill>
            <a:blip r:embed="rId24" cstate="screen">
              <a:extLst>
                <a:ext uri="{28A0092B-C50C-407E-A947-70E740481C1C}">
                  <a14:useLocalDpi xmlns:a14="http://schemas.microsoft.com/office/drawing/2010/main"/>
                </a:ext>
              </a:extLst>
            </a:blip>
            <a:stretch>
              <a:fillRect/>
            </a:stretch>
          </p:blipFill>
          <p:spPr>
            <a:xfrm>
              <a:off x="6236193" y="2510009"/>
              <a:ext cx="5701313" cy="858062"/>
            </a:xfrm>
            <a:prstGeom prst="rect">
              <a:avLst/>
            </a:prstGeom>
          </p:spPr>
        </p:pic>
        <p:sp>
          <p:nvSpPr>
            <p:cNvPr id="53" name="object 53"/>
            <p:cNvSpPr/>
            <p:nvPr/>
          </p:nvSpPr>
          <p:spPr>
            <a:xfrm>
              <a:off x="6249923" y="2523744"/>
              <a:ext cx="5623560" cy="780415"/>
            </a:xfrm>
            <a:custGeom>
              <a:avLst/>
              <a:gdLst/>
              <a:ahLst/>
              <a:cxnLst/>
              <a:rect l="l" t="t" r="r" b="b"/>
              <a:pathLst>
                <a:path w="5623559" h="780414">
                  <a:moveTo>
                    <a:pt x="5493511" y="0"/>
                  </a:moveTo>
                  <a:lnTo>
                    <a:pt x="130048" y="0"/>
                  </a:lnTo>
                  <a:lnTo>
                    <a:pt x="79402" y="10211"/>
                  </a:lnTo>
                  <a:lnTo>
                    <a:pt x="38068" y="38068"/>
                  </a:lnTo>
                  <a:lnTo>
                    <a:pt x="10211" y="79402"/>
                  </a:lnTo>
                  <a:lnTo>
                    <a:pt x="0" y="130047"/>
                  </a:lnTo>
                  <a:lnTo>
                    <a:pt x="0" y="650239"/>
                  </a:lnTo>
                  <a:lnTo>
                    <a:pt x="10211" y="700885"/>
                  </a:lnTo>
                  <a:lnTo>
                    <a:pt x="38068" y="742219"/>
                  </a:lnTo>
                  <a:lnTo>
                    <a:pt x="79402" y="770076"/>
                  </a:lnTo>
                  <a:lnTo>
                    <a:pt x="130048" y="780288"/>
                  </a:lnTo>
                  <a:lnTo>
                    <a:pt x="5493511" y="780288"/>
                  </a:lnTo>
                  <a:lnTo>
                    <a:pt x="5544157" y="770076"/>
                  </a:lnTo>
                  <a:lnTo>
                    <a:pt x="5585491" y="742219"/>
                  </a:lnTo>
                  <a:lnTo>
                    <a:pt x="5613348" y="700885"/>
                  </a:lnTo>
                  <a:lnTo>
                    <a:pt x="5623559" y="650239"/>
                  </a:lnTo>
                  <a:lnTo>
                    <a:pt x="5623559" y="130047"/>
                  </a:lnTo>
                  <a:lnTo>
                    <a:pt x="5613348" y="79402"/>
                  </a:lnTo>
                  <a:lnTo>
                    <a:pt x="5585491" y="38068"/>
                  </a:lnTo>
                  <a:lnTo>
                    <a:pt x="5544157" y="10211"/>
                  </a:lnTo>
                  <a:lnTo>
                    <a:pt x="5493511"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54" name="object 54"/>
            <p:cNvSpPr/>
            <p:nvPr/>
          </p:nvSpPr>
          <p:spPr>
            <a:xfrm>
              <a:off x="6249923" y="2523744"/>
              <a:ext cx="5623560" cy="780415"/>
            </a:xfrm>
            <a:custGeom>
              <a:avLst/>
              <a:gdLst/>
              <a:ahLst/>
              <a:cxnLst/>
              <a:rect l="l" t="t" r="r" b="b"/>
              <a:pathLst>
                <a:path w="5623559" h="780414">
                  <a:moveTo>
                    <a:pt x="0" y="130047"/>
                  </a:moveTo>
                  <a:lnTo>
                    <a:pt x="10211" y="79402"/>
                  </a:lnTo>
                  <a:lnTo>
                    <a:pt x="38068" y="38068"/>
                  </a:lnTo>
                  <a:lnTo>
                    <a:pt x="79402" y="10211"/>
                  </a:lnTo>
                  <a:lnTo>
                    <a:pt x="130048" y="0"/>
                  </a:lnTo>
                  <a:lnTo>
                    <a:pt x="5493511" y="0"/>
                  </a:lnTo>
                  <a:lnTo>
                    <a:pt x="5544157" y="10211"/>
                  </a:lnTo>
                  <a:lnTo>
                    <a:pt x="5585491" y="38068"/>
                  </a:lnTo>
                  <a:lnTo>
                    <a:pt x="5613348" y="79402"/>
                  </a:lnTo>
                  <a:lnTo>
                    <a:pt x="5623559" y="130047"/>
                  </a:lnTo>
                  <a:lnTo>
                    <a:pt x="5623559" y="650239"/>
                  </a:lnTo>
                  <a:lnTo>
                    <a:pt x="5613348" y="700885"/>
                  </a:lnTo>
                  <a:lnTo>
                    <a:pt x="5585491" y="742219"/>
                  </a:lnTo>
                  <a:lnTo>
                    <a:pt x="5544157" y="770076"/>
                  </a:lnTo>
                  <a:lnTo>
                    <a:pt x="5493511" y="780288"/>
                  </a:lnTo>
                  <a:lnTo>
                    <a:pt x="130048" y="780288"/>
                  </a:lnTo>
                  <a:lnTo>
                    <a:pt x="79402" y="770076"/>
                  </a:lnTo>
                  <a:lnTo>
                    <a:pt x="38068" y="742219"/>
                  </a:lnTo>
                  <a:lnTo>
                    <a:pt x="10211" y="700885"/>
                  </a:lnTo>
                  <a:lnTo>
                    <a:pt x="0" y="650239"/>
                  </a:lnTo>
                  <a:lnTo>
                    <a:pt x="0" y="130047"/>
                  </a:lnTo>
                  <a:close/>
                </a:path>
              </a:pathLst>
            </a:custGeom>
            <a:ln w="12700">
              <a:solidFill>
                <a:srgbClr val="8FD9C5"/>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55" name="object 55"/>
            <p:cNvPicPr/>
            <p:nvPr/>
          </p:nvPicPr>
          <p:blipFill>
            <a:blip r:embed="rId30" cstate="screen">
              <a:extLst>
                <a:ext uri="{28A0092B-C50C-407E-A947-70E740481C1C}">
                  <a14:useLocalDpi xmlns:a14="http://schemas.microsoft.com/office/drawing/2010/main"/>
                </a:ext>
              </a:extLst>
            </a:blip>
            <a:stretch>
              <a:fillRect/>
            </a:stretch>
          </p:blipFill>
          <p:spPr>
            <a:xfrm>
              <a:off x="6372478" y="2525217"/>
              <a:ext cx="1449197" cy="228904"/>
            </a:xfrm>
            <a:prstGeom prst="rect">
              <a:avLst/>
            </a:prstGeom>
          </p:spPr>
        </p:pic>
        <p:pic>
          <p:nvPicPr>
            <p:cNvPr id="56" name="object 56"/>
            <p:cNvPicPr/>
            <p:nvPr/>
          </p:nvPicPr>
          <p:blipFill>
            <a:blip r:embed="rId31" cstate="screen">
              <a:extLst>
                <a:ext uri="{28A0092B-C50C-407E-A947-70E740481C1C}">
                  <a14:useLocalDpi xmlns:a14="http://schemas.microsoft.com/office/drawing/2010/main"/>
                </a:ext>
              </a:extLst>
            </a:blip>
            <a:stretch>
              <a:fillRect/>
            </a:stretch>
          </p:blipFill>
          <p:spPr>
            <a:xfrm>
              <a:off x="6372478" y="2742311"/>
              <a:ext cx="4544822" cy="195072"/>
            </a:xfrm>
            <a:prstGeom prst="rect">
              <a:avLst/>
            </a:prstGeom>
          </p:spPr>
        </p:pic>
        <p:pic>
          <p:nvPicPr>
            <p:cNvPr id="57" name="object 57"/>
            <p:cNvPicPr/>
            <p:nvPr/>
          </p:nvPicPr>
          <p:blipFill>
            <a:blip r:embed="rId32" cstate="screen">
              <a:extLst>
                <a:ext uri="{28A0092B-C50C-407E-A947-70E740481C1C}">
                  <a14:useLocalDpi xmlns:a14="http://schemas.microsoft.com/office/drawing/2010/main"/>
                </a:ext>
              </a:extLst>
            </a:blip>
            <a:stretch>
              <a:fillRect/>
            </a:stretch>
          </p:blipFill>
          <p:spPr>
            <a:xfrm>
              <a:off x="6377050" y="2925191"/>
              <a:ext cx="4738497" cy="195072"/>
            </a:xfrm>
            <a:prstGeom prst="rect">
              <a:avLst/>
            </a:prstGeom>
          </p:spPr>
        </p:pic>
        <p:pic>
          <p:nvPicPr>
            <p:cNvPr id="58" name="object 58"/>
            <p:cNvPicPr/>
            <p:nvPr/>
          </p:nvPicPr>
          <p:blipFill>
            <a:blip r:embed="rId33" cstate="screen">
              <a:extLst>
                <a:ext uri="{28A0092B-C50C-407E-A947-70E740481C1C}">
                  <a14:useLocalDpi xmlns:a14="http://schemas.microsoft.com/office/drawing/2010/main"/>
                </a:ext>
              </a:extLst>
            </a:blip>
            <a:stretch>
              <a:fillRect/>
            </a:stretch>
          </p:blipFill>
          <p:spPr>
            <a:xfrm>
              <a:off x="6377050" y="3108071"/>
              <a:ext cx="894473" cy="195072"/>
            </a:xfrm>
            <a:prstGeom prst="rect">
              <a:avLst/>
            </a:prstGeom>
          </p:spPr>
        </p:pic>
      </p:grpSp>
      <p:grpSp>
        <p:nvGrpSpPr>
          <p:cNvPr id="59" name="object 59"/>
          <p:cNvGrpSpPr/>
          <p:nvPr/>
        </p:nvGrpSpPr>
        <p:grpSpPr>
          <a:xfrm>
            <a:off x="275843" y="3361944"/>
            <a:ext cx="5737860" cy="3458210"/>
            <a:chOff x="275843" y="3361944"/>
            <a:chExt cx="5737860" cy="3458210"/>
          </a:xfrm>
        </p:grpSpPr>
        <p:pic>
          <p:nvPicPr>
            <p:cNvPr id="60" name="object 60"/>
            <p:cNvPicPr/>
            <p:nvPr/>
          </p:nvPicPr>
          <p:blipFill>
            <a:blip r:embed="rId24" cstate="screen">
              <a:extLst>
                <a:ext uri="{28A0092B-C50C-407E-A947-70E740481C1C}">
                  <a14:useLocalDpi xmlns:a14="http://schemas.microsoft.com/office/drawing/2010/main"/>
                </a:ext>
              </a:extLst>
            </a:blip>
            <a:stretch>
              <a:fillRect/>
            </a:stretch>
          </p:blipFill>
          <p:spPr>
            <a:xfrm>
              <a:off x="294117" y="4216889"/>
              <a:ext cx="5701313" cy="858062"/>
            </a:xfrm>
            <a:prstGeom prst="rect">
              <a:avLst/>
            </a:prstGeom>
          </p:spPr>
        </p:pic>
        <p:sp>
          <p:nvSpPr>
            <p:cNvPr id="61" name="object 61"/>
            <p:cNvSpPr/>
            <p:nvPr/>
          </p:nvSpPr>
          <p:spPr>
            <a:xfrm>
              <a:off x="307847" y="4230624"/>
              <a:ext cx="5623560" cy="780415"/>
            </a:xfrm>
            <a:custGeom>
              <a:avLst/>
              <a:gdLst/>
              <a:ahLst/>
              <a:cxnLst/>
              <a:rect l="l" t="t" r="r" b="b"/>
              <a:pathLst>
                <a:path w="5623560" h="780414">
                  <a:moveTo>
                    <a:pt x="5493512" y="0"/>
                  </a:moveTo>
                  <a:lnTo>
                    <a:pt x="130047" y="0"/>
                  </a:lnTo>
                  <a:lnTo>
                    <a:pt x="79429" y="10211"/>
                  </a:lnTo>
                  <a:lnTo>
                    <a:pt x="38092" y="38068"/>
                  </a:lnTo>
                  <a:lnTo>
                    <a:pt x="10220" y="79402"/>
                  </a:lnTo>
                  <a:lnTo>
                    <a:pt x="0" y="130048"/>
                  </a:lnTo>
                  <a:lnTo>
                    <a:pt x="0" y="650239"/>
                  </a:lnTo>
                  <a:lnTo>
                    <a:pt x="10220" y="700885"/>
                  </a:lnTo>
                  <a:lnTo>
                    <a:pt x="38092" y="742219"/>
                  </a:lnTo>
                  <a:lnTo>
                    <a:pt x="79429" y="770076"/>
                  </a:lnTo>
                  <a:lnTo>
                    <a:pt x="130047" y="780288"/>
                  </a:lnTo>
                  <a:lnTo>
                    <a:pt x="5493512" y="780288"/>
                  </a:lnTo>
                  <a:lnTo>
                    <a:pt x="5544157" y="770076"/>
                  </a:lnTo>
                  <a:lnTo>
                    <a:pt x="5585491" y="742219"/>
                  </a:lnTo>
                  <a:lnTo>
                    <a:pt x="5613348" y="700885"/>
                  </a:lnTo>
                  <a:lnTo>
                    <a:pt x="5623560" y="650239"/>
                  </a:lnTo>
                  <a:lnTo>
                    <a:pt x="5623560" y="130048"/>
                  </a:lnTo>
                  <a:lnTo>
                    <a:pt x="5613348" y="79402"/>
                  </a:lnTo>
                  <a:lnTo>
                    <a:pt x="5585491" y="38068"/>
                  </a:lnTo>
                  <a:lnTo>
                    <a:pt x="5544157" y="10211"/>
                  </a:lnTo>
                  <a:lnTo>
                    <a:pt x="5493512"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62" name="object 62"/>
            <p:cNvSpPr/>
            <p:nvPr/>
          </p:nvSpPr>
          <p:spPr>
            <a:xfrm>
              <a:off x="307847" y="4230624"/>
              <a:ext cx="5623560" cy="780415"/>
            </a:xfrm>
            <a:custGeom>
              <a:avLst/>
              <a:gdLst/>
              <a:ahLst/>
              <a:cxnLst/>
              <a:rect l="l" t="t" r="r" b="b"/>
              <a:pathLst>
                <a:path w="5623560" h="780414">
                  <a:moveTo>
                    <a:pt x="0" y="130048"/>
                  </a:moveTo>
                  <a:lnTo>
                    <a:pt x="10220" y="79402"/>
                  </a:lnTo>
                  <a:lnTo>
                    <a:pt x="38092" y="38068"/>
                  </a:lnTo>
                  <a:lnTo>
                    <a:pt x="79429" y="10211"/>
                  </a:lnTo>
                  <a:lnTo>
                    <a:pt x="130047" y="0"/>
                  </a:lnTo>
                  <a:lnTo>
                    <a:pt x="5493512" y="0"/>
                  </a:lnTo>
                  <a:lnTo>
                    <a:pt x="5544157" y="10211"/>
                  </a:lnTo>
                  <a:lnTo>
                    <a:pt x="5585491" y="38068"/>
                  </a:lnTo>
                  <a:lnTo>
                    <a:pt x="5613348" y="79402"/>
                  </a:lnTo>
                  <a:lnTo>
                    <a:pt x="5623560" y="130048"/>
                  </a:lnTo>
                  <a:lnTo>
                    <a:pt x="5623560" y="650239"/>
                  </a:lnTo>
                  <a:lnTo>
                    <a:pt x="5613348" y="700885"/>
                  </a:lnTo>
                  <a:lnTo>
                    <a:pt x="5585491" y="742219"/>
                  </a:lnTo>
                  <a:lnTo>
                    <a:pt x="5544157" y="770076"/>
                  </a:lnTo>
                  <a:lnTo>
                    <a:pt x="5493512" y="780288"/>
                  </a:lnTo>
                  <a:lnTo>
                    <a:pt x="130047" y="780288"/>
                  </a:lnTo>
                  <a:lnTo>
                    <a:pt x="79429" y="770076"/>
                  </a:lnTo>
                  <a:lnTo>
                    <a:pt x="38092" y="742219"/>
                  </a:lnTo>
                  <a:lnTo>
                    <a:pt x="10220" y="700885"/>
                  </a:lnTo>
                  <a:lnTo>
                    <a:pt x="0" y="650239"/>
                  </a:lnTo>
                  <a:lnTo>
                    <a:pt x="0" y="130048"/>
                  </a:lnTo>
                  <a:close/>
                </a:path>
              </a:pathLst>
            </a:custGeom>
            <a:ln w="12700">
              <a:solidFill>
                <a:srgbClr val="8FD9C5"/>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63" name="object 63"/>
            <p:cNvPicPr/>
            <p:nvPr/>
          </p:nvPicPr>
          <p:blipFill>
            <a:blip r:embed="rId34" cstate="screen">
              <a:extLst>
                <a:ext uri="{28A0092B-C50C-407E-A947-70E740481C1C}">
                  <a14:useLocalDpi xmlns:a14="http://schemas.microsoft.com/office/drawing/2010/main"/>
                </a:ext>
              </a:extLst>
            </a:blip>
            <a:stretch>
              <a:fillRect/>
            </a:stretch>
          </p:blipFill>
          <p:spPr>
            <a:xfrm>
              <a:off x="1124407" y="4237990"/>
              <a:ext cx="1613915" cy="228600"/>
            </a:xfrm>
            <a:prstGeom prst="rect">
              <a:avLst/>
            </a:prstGeom>
          </p:spPr>
        </p:pic>
        <p:pic>
          <p:nvPicPr>
            <p:cNvPr id="64" name="object 64"/>
            <p:cNvPicPr/>
            <p:nvPr/>
          </p:nvPicPr>
          <p:blipFill>
            <a:blip r:embed="rId35" cstate="screen">
              <a:extLst>
                <a:ext uri="{28A0092B-C50C-407E-A947-70E740481C1C}">
                  <a14:useLocalDpi xmlns:a14="http://schemas.microsoft.com/office/drawing/2010/main"/>
                </a:ext>
              </a:extLst>
            </a:blip>
            <a:stretch>
              <a:fillRect/>
            </a:stretch>
          </p:blipFill>
          <p:spPr>
            <a:xfrm>
              <a:off x="1124407" y="4454397"/>
              <a:ext cx="4716272" cy="195071"/>
            </a:xfrm>
            <a:prstGeom prst="rect">
              <a:avLst/>
            </a:prstGeom>
          </p:spPr>
        </p:pic>
        <p:pic>
          <p:nvPicPr>
            <p:cNvPr id="65" name="object 65"/>
            <p:cNvPicPr/>
            <p:nvPr/>
          </p:nvPicPr>
          <p:blipFill>
            <a:blip r:embed="rId36" cstate="screen">
              <a:extLst>
                <a:ext uri="{28A0092B-C50C-407E-A947-70E740481C1C}">
                  <a14:useLocalDpi xmlns:a14="http://schemas.microsoft.com/office/drawing/2010/main"/>
                </a:ext>
              </a:extLst>
            </a:blip>
            <a:stretch>
              <a:fillRect/>
            </a:stretch>
          </p:blipFill>
          <p:spPr>
            <a:xfrm>
              <a:off x="1124407" y="4637277"/>
              <a:ext cx="4773676" cy="195072"/>
            </a:xfrm>
            <a:prstGeom prst="rect">
              <a:avLst/>
            </a:prstGeom>
          </p:spPr>
        </p:pic>
        <p:pic>
          <p:nvPicPr>
            <p:cNvPr id="66" name="object 66"/>
            <p:cNvPicPr/>
            <p:nvPr/>
          </p:nvPicPr>
          <p:blipFill>
            <a:blip r:embed="rId37" cstate="screen">
              <a:extLst>
                <a:ext uri="{28A0092B-C50C-407E-A947-70E740481C1C}">
                  <a14:useLocalDpi xmlns:a14="http://schemas.microsoft.com/office/drawing/2010/main"/>
                </a:ext>
              </a:extLst>
            </a:blip>
            <a:stretch>
              <a:fillRect/>
            </a:stretch>
          </p:blipFill>
          <p:spPr>
            <a:xfrm>
              <a:off x="1124407" y="4820158"/>
              <a:ext cx="331850" cy="195071"/>
            </a:xfrm>
            <a:prstGeom prst="rect">
              <a:avLst/>
            </a:prstGeom>
          </p:spPr>
        </p:pic>
        <p:pic>
          <p:nvPicPr>
            <p:cNvPr id="67" name="object 67"/>
            <p:cNvPicPr/>
            <p:nvPr/>
          </p:nvPicPr>
          <p:blipFill>
            <a:blip r:embed="rId38" cstate="screen">
              <a:extLst>
                <a:ext uri="{28A0092B-C50C-407E-A947-70E740481C1C}">
                  <a14:useLocalDpi xmlns:a14="http://schemas.microsoft.com/office/drawing/2010/main"/>
                </a:ext>
              </a:extLst>
            </a:blip>
            <a:stretch>
              <a:fillRect/>
            </a:stretch>
          </p:blipFill>
          <p:spPr>
            <a:xfrm>
              <a:off x="1389888" y="4820158"/>
              <a:ext cx="2582544" cy="195071"/>
            </a:xfrm>
            <a:prstGeom prst="rect">
              <a:avLst/>
            </a:prstGeom>
          </p:spPr>
        </p:pic>
        <p:pic>
          <p:nvPicPr>
            <p:cNvPr id="68" name="object 68"/>
            <p:cNvPicPr/>
            <p:nvPr/>
          </p:nvPicPr>
          <p:blipFill>
            <a:blip r:embed="rId39" cstate="print"/>
            <a:stretch>
              <a:fillRect/>
            </a:stretch>
          </p:blipFill>
          <p:spPr>
            <a:xfrm>
              <a:off x="291071" y="5094637"/>
              <a:ext cx="5707404" cy="855105"/>
            </a:xfrm>
            <a:prstGeom prst="rect">
              <a:avLst/>
            </a:prstGeom>
          </p:spPr>
        </p:pic>
        <p:sp>
          <p:nvSpPr>
            <p:cNvPr id="69" name="object 69"/>
            <p:cNvSpPr/>
            <p:nvPr/>
          </p:nvSpPr>
          <p:spPr>
            <a:xfrm>
              <a:off x="307847" y="5102351"/>
              <a:ext cx="5623560" cy="780415"/>
            </a:xfrm>
            <a:custGeom>
              <a:avLst/>
              <a:gdLst/>
              <a:ahLst/>
              <a:cxnLst/>
              <a:rect l="l" t="t" r="r" b="b"/>
              <a:pathLst>
                <a:path w="5623560" h="780414">
                  <a:moveTo>
                    <a:pt x="5493512" y="0"/>
                  </a:moveTo>
                  <a:lnTo>
                    <a:pt x="130047" y="0"/>
                  </a:lnTo>
                  <a:lnTo>
                    <a:pt x="79429" y="10211"/>
                  </a:lnTo>
                  <a:lnTo>
                    <a:pt x="38092" y="38068"/>
                  </a:lnTo>
                  <a:lnTo>
                    <a:pt x="10220" y="79402"/>
                  </a:lnTo>
                  <a:lnTo>
                    <a:pt x="0" y="130048"/>
                  </a:lnTo>
                  <a:lnTo>
                    <a:pt x="0" y="650240"/>
                  </a:lnTo>
                  <a:lnTo>
                    <a:pt x="10220" y="700858"/>
                  </a:lnTo>
                  <a:lnTo>
                    <a:pt x="38092" y="742195"/>
                  </a:lnTo>
                  <a:lnTo>
                    <a:pt x="79429" y="770067"/>
                  </a:lnTo>
                  <a:lnTo>
                    <a:pt x="130047" y="780288"/>
                  </a:lnTo>
                  <a:lnTo>
                    <a:pt x="5493512" y="780288"/>
                  </a:lnTo>
                  <a:lnTo>
                    <a:pt x="5544157" y="770067"/>
                  </a:lnTo>
                  <a:lnTo>
                    <a:pt x="5585491" y="742195"/>
                  </a:lnTo>
                  <a:lnTo>
                    <a:pt x="5613348" y="700858"/>
                  </a:lnTo>
                  <a:lnTo>
                    <a:pt x="5623560" y="650240"/>
                  </a:lnTo>
                  <a:lnTo>
                    <a:pt x="5623560" y="130048"/>
                  </a:lnTo>
                  <a:lnTo>
                    <a:pt x="5613348" y="79402"/>
                  </a:lnTo>
                  <a:lnTo>
                    <a:pt x="5585491" y="38068"/>
                  </a:lnTo>
                  <a:lnTo>
                    <a:pt x="5544157" y="10211"/>
                  </a:lnTo>
                  <a:lnTo>
                    <a:pt x="5493512"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70" name="object 70"/>
            <p:cNvPicPr/>
            <p:nvPr/>
          </p:nvPicPr>
          <p:blipFill>
            <a:blip r:embed="rId40" cstate="screen">
              <a:extLst>
                <a:ext uri="{28A0092B-C50C-407E-A947-70E740481C1C}">
                  <a14:useLocalDpi xmlns:a14="http://schemas.microsoft.com/office/drawing/2010/main"/>
                </a:ext>
              </a:extLst>
            </a:blip>
            <a:stretch>
              <a:fillRect/>
            </a:stretch>
          </p:blipFill>
          <p:spPr>
            <a:xfrm>
              <a:off x="1120749" y="5174614"/>
              <a:ext cx="3037078" cy="228600"/>
            </a:xfrm>
            <a:prstGeom prst="rect">
              <a:avLst/>
            </a:prstGeom>
          </p:spPr>
        </p:pic>
        <p:pic>
          <p:nvPicPr>
            <p:cNvPr id="71" name="object 71"/>
            <p:cNvPicPr/>
            <p:nvPr/>
          </p:nvPicPr>
          <p:blipFill>
            <a:blip r:embed="rId41" cstate="screen">
              <a:extLst>
                <a:ext uri="{28A0092B-C50C-407E-A947-70E740481C1C}">
                  <a14:useLocalDpi xmlns:a14="http://schemas.microsoft.com/office/drawing/2010/main"/>
                </a:ext>
              </a:extLst>
            </a:blip>
            <a:stretch>
              <a:fillRect/>
            </a:stretch>
          </p:blipFill>
          <p:spPr>
            <a:xfrm>
              <a:off x="1120749" y="5391023"/>
              <a:ext cx="4465701" cy="195072"/>
            </a:xfrm>
            <a:prstGeom prst="rect">
              <a:avLst/>
            </a:prstGeom>
          </p:spPr>
        </p:pic>
        <p:pic>
          <p:nvPicPr>
            <p:cNvPr id="72" name="object 72"/>
            <p:cNvPicPr/>
            <p:nvPr/>
          </p:nvPicPr>
          <p:blipFill>
            <a:blip r:embed="rId42" cstate="screen">
              <a:extLst>
                <a:ext uri="{28A0092B-C50C-407E-A947-70E740481C1C}">
                  <a14:useLocalDpi xmlns:a14="http://schemas.microsoft.com/office/drawing/2010/main"/>
                </a:ext>
              </a:extLst>
            </a:blip>
            <a:stretch>
              <a:fillRect/>
            </a:stretch>
          </p:blipFill>
          <p:spPr>
            <a:xfrm>
              <a:off x="1125321" y="5573572"/>
              <a:ext cx="4654042" cy="195376"/>
            </a:xfrm>
            <a:prstGeom prst="rect">
              <a:avLst/>
            </a:prstGeom>
          </p:spPr>
        </p:pic>
        <p:pic>
          <p:nvPicPr>
            <p:cNvPr id="73" name="object 73"/>
            <p:cNvPicPr/>
            <p:nvPr/>
          </p:nvPicPr>
          <p:blipFill>
            <a:blip r:embed="rId43" cstate="print"/>
            <a:stretch>
              <a:fillRect/>
            </a:stretch>
          </p:blipFill>
          <p:spPr>
            <a:xfrm>
              <a:off x="275843" y="5925308"/>
              <a:ext cx="5737859" cy="894575"/>
            </a:xfrm>
            <a:prstGeom prst="rect">
              <a:avLst/>
            </a:prstGeom>
          </p:spPr>
        </p:pic>
        <p:sp>
          <p:nvSpPr>
            <p:cNvPr id="74" name="object 74"/>
            <p:cNvSpPr/>
            <p:nvPr/>
          </p:nvSpPr>
          <p:spPr>
            <a:xfrm>
              <a:off x="307847" y="5957316"/>
              <a:ext cx="5623560" cy="780415"/>
            </a:xfrm>
            <a:custGeom>
              <a:avLst/>
              <a:gdLst/>
              <a:ahLst/>
              <a:cxnLst/>
              <a:rect l="l" t="t" r="r" b="b"/>
              <a:pathLst>
                <a:path w="5623560" h="780415">
                  <a:moveTo>
                    <a:pt x="5493512" y="0"/>
                  </a:moveTo>
                  <a:lnTo>
                    <a:pt x="130047" y="0"/>
                  </a:lnTo>
                  <a:lnTo>
                    <a:pt x="79429" y="10220"/>
                  </a:lnTo>
                  <a:lnTo>
                    <a:pt x="38092" y="38092"/>
                  </a:lnTo>
                  <a:lnTo>
                    <a:pt x="10220" y="79429"/>
                  </a:lnTo>
                  <a:lnTo>
                    <a:pt x="0" y="130048"/>
                  </a:lnTo>
                  <a:lnTo>
                    <a:pt x="0" y="650240"/>
                  </a:lnTo>
                  <a:lnTo>
                    <a:pt x="10220" y="700858"/>
                  </a:lnTo>
                  <a:lnTo>
                    <a:pt x="38092" y="742195"/>
                  </a:lnTo>
                  <a:lnTo>
                    <a:pt x="79429" y="770067"/>
                  </a:lnTo>
                  <a:lnTo>
                    <a:pt x="130047" y="780288"/>
                  </a:lnTo>
                  <a:lnTo>
                    <a:pt x="5493512" y="780288"/>
                  </a:lnTo>
                  <a:lnTo>
                    <a:pt x="5544157" y="770067"/>
                  </a:lnTo>
                  <a:lnTo>
                    <a:pt x="5585491" y="742195"/>
                  </a:lnTo>
                  <a:lnTo>
                    <a:pt x="5613348" y="700858"/>
                  </a:lnTo>
                  <a:lnTo>
                    <a:pt x="5623560" y="650240"/>
                  </a:lnTo>
                  <a:lnTo>
                    <a:pt x="5623560" y="130048"/>
                  </a:lnTo>
                  <a:lnTo>
                    <a:pt x="5613348" y="79429"/>
                  </a:lnTo>
                  <a:lnTo>
                    <a:pt x="5585491" y="38092"/>
                  </a:lnTo>
                  <a:lnTo>
                    <a:pt x="5544157" y="10220"/>
                  </a:lnTo>
                  <a:lnTo>
                    <a:pt x="5493512"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75" name="object 75"/>
            <p:cNvSpPr/>
            <p:nvPr/>
          </p:nvSpPr>
          <p:spPr>
            <a:xfrm>
              <a:off x="307847" y="5957316"/>
              <a:ext cx="5623560" cy="780415"/>
            </a:xfrm>
            <a:custGeom>
              <a:avLst/>
              <a:gdLst/>
              <a:ahLst/>
              <a:cxnLst/>
              <a:rect l="l" t="t" r="r" b="b"/>
              <a:pathLst>
                <a:path w="5623560" h="780415">
                  <a:moveTo>
                    <a:pt x="0" y="130048"/>
                  </a:moveTo>
                  <a:lnTo>
                    <a:pt x="10220" y="79429"/>
                  </a:lnTo>
                  <a:lnTo>
                    <a:pt x="38092" y="38092"/>
                  </a:lnTo>
                  <a:lnTo>
                    <a:pt x="79429" y="10220"/>
                  </a:lnTo>
                  <a:lnTo>
                    <a:pt x="130047" y="0"/>
                  </a:lnTo>
                  <a:lnTo>
                    <a:pt x="5493512" y="0"/>
                  </a:lnTo>
                  <a:lnTo>
                    <a:pt x="5544157" y="10220"/>
                  </a:lnTo>
                  <a:lnTo>
                    <a:pt x="5585491" y="38092"/>
                  </a:lnTo>
                  <a:lnTo>
                    <a:pt x="5613348" y="79429"/>
                  </a:lnTo>
                  <a:lnTo>
                    <a:pt x="5623560" y="130048"/>
                  </a:lnTo>
                  <a:lnTo>
                    <a:pt x="5623560" y="650240"/>
                  </a:lnTo>
                  <a:lnTo>
                    <a:pt x="5613348" y="700858"/>
                  </a:lnTo>
                  <a:lnTo>
                    <a:pt x="5585491" y="742195"/>
                  </a:lnTo>
                  <a:lnTo>
                    <a:pt x="5544157" y="770067"/>
                  </a:lnTo>
                  <a:lnTo>
                    <a:pt x="5493512" y="780288"/>
                  </a:lnTo>
                  <a:lnTo>
                    <a:pt x="130047" y="780288"/>
                  </a:lnTo>
                  <a:lnTo>
                    <a:pt x="79429" y="770067"/>
                  </a:lnTo>
                  <a:lnTo>
                    <a:pt x="38092" y="742195"/>
                  </a:lnTo>
                  <a:lnTo>
                    <a:pt x="10220" y="700858"/>
                  </a:lnTo>
                  <a:lnTo>
                    <a:pt x="0" y="650240"/>
                  </a:lnTo>
                  <a:lnTo>
                    <a:pt x="0" y="130048"/>
                  </a:lnTo>
                  <a:close/>
                </a:path>
              </a:pathLst>
            </a:custGeom>
            <a:ln w="12700">
              <a:solidFill>
                <a:srgbClr val="8FD9C5"/>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76" name="object 76"/>
            <p:cNvPicPr/>
            <p:nvPr/>
          </p:nvPicPr>
          <p:blipFill>
            <a:blip r:embed="rId44" cstate="screen">
              <a:extLst>
                <a:ext uri="{28A0092B-C50C-407E-A947-70E740481C1C}">
                  <a14:useLocalDpi xmlns:a14="http://schemas.microsoft.com/office/drawing/2010/main"/>
                </a:ext>
              </a:extLst>
            </a:blip>
            <a:stretch>
              <a:fillRect/>
            </a:stretch>
          </p:blipFill>
          <p:spPr>
            <a:xfrm>
              <a:off x="1120749" y="6057595"/>
              <a:ext cx="2241804" cy="228600"/>
            </a:xfrm>
            <a:prstGeom prst="rect">
              <a:avLst/>
            </a:prstGeom>
          </p:spPr>
        </p:pic>
        <p:pic>
          <p:nvPicPr>
            <p:cNvPr id="77" name="object 77"/>
            <p:cNvPicPr/>
            <p:nvPr/>
          </p:nvPicPr>
          <p:blipFill>
            <a:blip r:embed="rId45" cstate="screen">
              <a:extLst>
                <a:ext uri="{28A0092B-C50C-407E-A947-70E740481C1C}">
                  <a14:useLocalDpi xmlns:a14="http://schemas.microsoft.com/office/drawing/2010/main"/>
                </a:ext>
              </a:extLst>
            </a:blip>
            <a:stretch>
              <a:fillRect/>
            </a:stretch>
          </p:blipFill>
          <p:spPr>
            <a:xfrm>
              <a:off x="1120749" y="6274003"/>
              <a:ext cx="4273423" cy="195071"/>
            </a:xfrm>
            <a:prstGeom prst="rect">
              <a:avLst/>
            </a:prstGeom>
          </p:spPr>
        </p:pic>
        <p:pic>
          <p:nvPicPr>
            <p:cNvPr id="78" name="object 78"/>
            <p:cNvPicPr/>
            <p:nvPr/>
          </p:nvPicPr>
          <p:blipFill>
            <a:blip r:embed="rId46" cstate="screen">
              <a:extLst>
                <a:ext uri="{28A0092B-C50C-407E-A947-70E740481C1C}">
                  <a14:useLocalDpi xmlns:a14="http://schemas.microsoft.com/office/drawing/2010/main"/>
                </a:ext>
              </a:extLst>
            </a:blip>
            <a:stretch>
              <a:fillRect/>
            </a:stretch>
          </p:blipFill>
          <p:spPr>
            <a:xfrm>
              <a:off x="1125321" y="6456578"/>
              <a:ext cx="4095241" cy="195376"/>
            </a:xfrm>
            <a:prstGeom prst="rect">
              <a:avLst/>
            </a:prstGeom>
          </p:spPr>
        </p:pic>
        <p:pic>
          <p:nvPicPr>
            <p:cNvPr id="79" name="object 79"/>
            <p:cNvPicPr/>
            <p:nvPr/>
          </p:nvPicPr>
          <p:blipFill>
            <a:blip r:embed="rId47" cstate="print"/>
            <a:stretch>
              <a:fillRect/>
            </a:stretch>
          </p:blipFill>
          <p:spPr>
            <a:xfrm>
              <a:off x="281939" y="3361944"/>
              <a:ext cx="5725668" cy="882396"/>
            </a:xfrm>
            <a:prstGeom prst="rect">
              <a:avLst/>
            </a:prstGeom>
          </p:spPr>
        </p:pic>
        <p:sp>
          <p:nvSpPr>
            <p:cNvPr id="80" name="object 80"/>
            <p:cNvSpPr/>
            <p:nvPr/>
          </p:nvSpPr>
          <p:spPr>
            <a:xfrm>
              <a:off x="307847" y="3387852"/>
              <a:ext cx="5623560" cy="780415"/>
            </a:xfrm>
            <a:custGeom>
              <a:avLst/>
              <a:gdLst/>
              <a:ahLst/>
              <a:cxnLst/>
              <a:rect l="l" t="t" r="r" b="b"/>
              <a:pathLst>
                <a:path w="5623560" h="780414">
                  <a:moveTo>
                    <a:pt x="5493512" y="0"/>
                  </a:moveTo>
                  <a:lnTo>
                    <a:pt x="130047" y="0"/>
                  </a:lnTo>
                  <a:lnTo>
                    <a:pt x="79429" y="10211"/>
                  </a:lnTo>
                  <a:lnTo>
                    <a:pt x="38092" y="38068"/>
                  </a:lnTo>
                  <a:lnTo>
                    <a:pt x="10220" y="79402"/>
                  </a:lnTo>
                  <a:lnTo>
                    <a:pt x="0" y="130048"/>
                  </a:lnTo>
                  <a:lnTo>
                    <a:pt x="0" y="650240"/>
                  </a:lnTo>
                  <a:lnTo>
                    <a:pt x="10220" y="700885"/>
                  </a:lnTo>
                  <a:lnTo>
                    <a:pt x="38092" y="742219"/>
                  </a:lnTo>
                  <a:lnTo>
                    <a:pt x="79429" y="770076"/>
                  </a:lnTo>
                  <a:lnTo>
                    <a:pt x="130047" y="780288"/>
                  </a:lnTo>
                  <a:lnTo>
                    <a:pt x="5493512" y="780288"/>
                  </a:lnTo>
                  <a:lnTo>
                    <a:pt x="5544157" y="770076"/>
                  </a:lnTo>
                  <a:lnTo>
                    <a:pt x="5585491" y="742219"/>
                  </a:lnTo>
                  <a:lnTo>
                    <a:pt x="5613348" y="700885"/>
                  </a:lnTo>
                  <a:lnTo>
                    <a:pt x="5623560" y="650240"/>
                  </a:lnTo>
                  <a:lnTo>
                    <a:pt x="5623560" y="130048"/>
                  </a:lnTo>
                  <a:lnTo>
                    <a:pt x="5613348" y="79402"/>
                  </a:lnTo>
                  <a:lnTo>
                    <a:pt x="5585491" y="38068"/>
                  </a:lnTo>
                  <a:lnTo>
                    <a:pt x="5544157" y="10211"/>
                  </a:lnTo>
                  <a:lnTo>
                    <a:pt x="5493512"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81" name="object 81"/>
            <p:cNvPicPr/>
            <p:nvPr/>
          </p:nvPicPr>
          <p:blipFill>
            <a:blip r:embed="rId48" cstate="screen">
              <a:extLst>
                <a:ext uri="{28A0092B-C50C-407E-A947-70E740481C1C}">
                  <a14:useLocalDpi xmlns:a14="http://schemas.microsoft.com/office/drawing/2010/main"/>
                </a:ext>
              </a:extLst>
            </a:blip>
            <a:stretch>
              <a:fillRect/>
            </a:stretch>
          </p:blipFill>
          <p:spPr>
            <a:xfrm>
              <a:off x="1047292" y="3586556"/>
              <a:ext cx="3723513" cy="228904"/>
            </a:xfrm>
            <a:prstGeom prst="rect">
              <a:avLst/>
            </a:prstGeom>
          </p:spPr>
        </p:pic>
      </p:grpSp>
      <p:grpSp>
        <p:nvGrpSpPr>
          <p:cNvPr id="82" name="object 82"/>
          <p:cNvGrpSpPr/>
          <p:nvPr/>
        </p:nvGrpSpPr>
        <p:grpSpPr>
          <a:xfrm>
            <a:off x="6217920" y="3387757"/>
            <a:ext cx="5737860" cy="3430904"/>
            <a:chOff x="6217920" y="3387757"/>
            <a:chExt cx="5737860" cy="3430904"/>
          </a:xfrm>
        </p:grpSpPr>
        <p:pic>
          <p:nvPicPr>
            <p:cNvPr id="83" name="object 83"/>
            <p:cNvPicPr/>
            <p:nvPr/>
          </p:nvPicPr>
          <p:blipFill>
            <a:blip r:embed="rId39" cstate="print"/>
            <a:stretch>
              <a:fillRect/>
            </a:stretch>
          </p:blipFill>
          <p:spPr>
            <a:xfrm>
              <a:off x="6233147" y="3387757"/>
              <a:ext cx="5707404" cy="855105"/>
            </a:xfrm>
            <a:prstGeom prst="rect">
              <a:avLst/>
            </a:prstGeom>
          </p:spPr>
        </p:pic>
        <p:sp>
          <p:nvSpPr>
            <p:cNvPr id="84" name="object 84"/>
            <p:cNvSpPr/>
            <p:nvPr/>
          </p:nvSpPr>
          <p:spPr>
            <a:xfrm>
              <a:off x="6249924" y="3395471"/>
              <a:ext cx="5623560" cy="780415"/>
            </a:xfrm>
            <a:custGeom>
              <a:avLst/>
              <a:gdLst/>
              <a:ahLst/>
              <a:cxnLst/>
              <a:rect l="l" t="t" r="r" b="b"/>
              <a:pathLst>
                <a:path w="5623559" h="780414">
                  <a:moveTo>
                    <a:pt x="5493511" y="0"/>
                  </a:moveTo>
                  <a:lnTo>
                    <a:pt x="130048" y="0"/>
                  </a:lnTo>
                  <a:lnTo>
                    <a:pt x="79402" y="10211"/>
                  </a:lnTo>
                  <a:lnTo>
                    <a:pt x="38068" y="38068"/>
                  </a:lnTo>
                  <a:lnTo>
                    <a:pt x="10211" y="79402"/>
                  </a:lnTo>
                  <a:lnTo>
                    <a:pt x="0" y="130048"/>
                  </a:lnTo>
                  <a:lnTo>
                    <a:pt x="0" y="650239"/>
                  </a:lnTo>
                  <a:lnTo>
                    <a:pt x="10211" y="700885"/>
                  </a:lnTo>
                  <a:lnTo>
                    <a:pt x="38068" y="742219"/>
                  </a:lnTo>
                  <a:lnTo>
                    <a:pt x="79402" y="770076"/>
                  </a:lnTo>
                  <a:lnTo>
                    <a:pt x="130048" y="780288"/>
                  </a:lnTo>
                  <a:lnTo>
                    <a:pt x="5493511" y="780288"/>
                  </a:lnTo>
                  <a:lnTo>
                    <a:pt x="5544157" y="770076"/>
                  </a:lnTo>
                  <a:lnTo>
                    <a:pt x="5585491" y="742219"/>
                  </a:lnTo>
                  <a:lnTo>
                    <a:pt x="5613348" y="700885"/>
                  </a:lnTo>
                  <a:lnTo>
                    <a:pt x="5623559" y="650239"/>
                  </a:lnTo>
                  <a:lnTo>
                    <a:pt x="5623559" y="130048"/>
                  </a:lnTo>
                  <a:lnTo>
                    <a:pt x="5613348" y="79402"/>
                  </a:lnTo>
                  <a:lnTo>
                    <a:pt x="5585491" y="38068"/>
                  </a:lnTo>
                  <a:lnTo>
                    <a:pt x="5544157" y="10211"/>
                  </a:lnTo>
                  <a:lnTo>
                    <a:pt x="5493511"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85" name="object 85"/>
            <p:cNvPicPr/>
            <p:nvPr/>
          </p:nvPicPr>
          <p:blipFill>
            <a:blip r:embed="rId49" cstate="screen">
              <a:extLst>
                <a:ext uri="{28A0092B-C50C-407E-A947-70E740481C1C}">
                  <a14:useLocalDpi xmlns:a14="http://schemas.microsoft.com/office/drawing/2010/main"/>
                </a:ext>
              </a:extLst>
            </a:blip>
            <a:stretch>
              <a:fillRect/>
            </a:stretch>
          </p:blipFill>
          <p:spPr>
            <a:xfrm>
              <a:off x="6372479" y="3481704"/>
              <a:ext cx="3549142" cy="228600"/>
            </a:xfrm>
            <a:prstGeom prst="rect">
              <a:avLst/>
            </a:prstGeom>
          </p:spPr>
        </p:pic>
        <p:pic>
          <p:nvPicPr>
            <p:cNvPr id="86" name="object 86"/>
            <p:cNvPicPr/>
            <p:nvPr/>
          </p:nvPicPr>
          <p:blipFill>
            <a:blip r:embed="rId50" cstate="screen">
              <a:extLst>
                <a:ext uri="{28A0092B-C50C-407E-A947-70E740481C1C}">
                  <a14:useLocalDpi xmlns:a14="http://schemas.microsoft.com/office/drawing/2010/main"/>
                </a:ext>
              </a:extLst>
            </a:blip>
            <a:stretch>
              <a:fillRect/>
            </a:stretch>
          </p:blipFill>
          <p:spPr>
            <a:xfrm>
              <a:off x="6372479" y="3697808"/>
              <a:ext cx="4440301" cy="195376"/>
            </a:xfrm>
            <a:prstGeom prst="rect">
              <a:avLst/>
            </a:prstGeom>
          </p:spPr>
        </p:pic>
        <p:pic>
          <p:nvPicPr>
            <p:cNvPr id="87" name="object 87"/>
            <p:cNvPicPr/>
            <p:nvPr/>
          </p:nvPicPr>
          <p:blipFill>
            <a:blip r:embed="rId51" cstate="screen">
              <a:extLst>
                <a:ext uri="{28A0092B-C50C-407E-A947-70E740481C1C}">
                  <a14:useLocalDpi xmlns:a14="http://schemas.microsoft.com/office/drawing/2010/main"/>
                </a:ext>
              </a:extLst>
            </a:blip>
            <a:stretch>
              <a:fillRect/>
            </a:stretch>
          </p:blipFill>
          <p:spPr>
            <a:xfrm>
              <a:off x="6377051" y="3881373"/>
              <a:ext cx="2643378" cy="195071"/>
            </a:xfrm>
            <a:prstGeom prst="rect">
              <a:avLst/>
            </a:prstGeom>
          </p:spPr>
        </p:pic>
        <p:pic>
          <p:nvPicPr>
            <p:cNvPr id="88" name="object 88"/>
            <p:cNvPicPr/>
            <p:nvPr/>
          </p:nvPicPr>
          <p:blipFill>
            <a:blip r:embed="rId43" cstate="print"/>
            <a:stretch>
              <a:fillRect/>
            </a:stretch>
          </p:blipFill>
          <p:spPr>
            <a:xfrm>
              <a:off x="6217920" y="4195584"/>
              <a:ext cx="5737860" cy="894575"/>
            </a:xfrm>
            <a:prstGeom prst="rect">
              <a:avLst/>
            </a:prstGeom>
          </p:spPr>
        </p:pic>
        <p:sp>
          <p:nvSpPr>
            <p:cNvPr id="89" name="object 89"/>
            <p:cNvSpPr/>
            <p:nvPr/>
          </p:nvSpPr>
          <p:spPr>
            <a:xfrm>
              <a:off x="6249924" y="4227575"/>
              <a:ext cx="5623560" cy="780415"/>
            </a:xfrm>
            <a:custGeom>
              <a:avLst/>
              <a:gdLst/>
              <a:ahLst/>
              <a:cxnLst/>
              <a:rect l="l" t="t" r="r" b="b"/>
              <a:pathLst>
                <a:path w="5623559" h="780414">
                  <a:moveTo>
                    <a:pt x="5493511" y="0"/>
                  </a:moveTo>
                  <a:lnTo>
                    <a:pt x="130048" y="0"/>
                  </a:lnTo>
                  <a:lnTo>
                    <a:pt x="79402" y="10211"/>
                  </a:lnTo>
                  <a:lnTo>
                    <a:pt x="38068" y="38068"/>
                  </a:lnTo>
                  <a:lnTo>
                    <a:pt x="10211" y="79402"/>
                  </a:lnTo>
                  <a:lnTo>
                    <a:pt x="0" y="130048"/>
                  </a:lnTo>
                  <a:lnTo>
                    <a:pt x="0" y="650240"/>
                  </a:lnTo>
                  <a:lnTo>
                    <a:pt x="10211" y="700885"/>
                  </a:lnTo>
                  <a:lnTo>
                    <a:pt x="38068" y="742219"/>
                  </a:lnTo>
                  <a:lnTo>
                    <a:pt x="79402" y="770076"/>
                  </a:lnTo>
                  <a:lnTo>
                    <a:pt x="130048" y="780288"/>
                  </a:lnTo>
                  <a:lnTo>
                    <a:pt x="5493511" y="780288"/>
                  </a:lnTo>
                  <a:lnTo>
                    <a:pt x="5544157" y="770076"/>
                  </a:lnTo>
                  <a:lnTo>
                    <a:pt x="5585491" y="742219"/>
                  </a:lnTo>
                  <a:lnTo>
                    <a:pt x="5613348" y="700885"/>
                  </a:lnTo>
                  <a:lnTo>
                    <a:pt x="5623559" y="650240"/>
                  </a:lnTo>
                  <a:lnTo>
                    <a:pt x="5623559" y="130048"/>
                  </a:lnTo>
                  <a:lnTo>
                    <a:pt x="5613348" y="79402"/>
                  </a:lnTo>
                  <a:lnTo>
                    <a:pt x="5585491" y="38068"/>
                  </a:lnTo>
                  <a:lnTo>
                    <a:pt x="5544157" y="10211"/>
                  </a:lnTo>
                  <a:lnTo>
                    <a:pt x="5493511"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90" name="object 90"/>
            <p:cNvSpPr/>
            <p:nvPr/>
          </p:nvSpPr>
          <p:spPr>
            <a:xfrm>
              <a:off x="6249924" y="4227575"/>
              <a:ext cx="5623560" cy="780415"/>
            </a:xfrm>
            <a:custGeom>
              <a:avLst/>
              <a:gdLst/>
              <a:ahLst/>
              <a:cxnLst/>
              <a:rect l="l" t="t" r="r" b="b"/>
              <a:pathLst>
                <a:path w="5623559" h="780414">
                  <a:moveTo>
                    <a:pt x="0" y="130048"/>
                  </a:moveTo>
                  <a:lnTo>
                    <a:pt x="10211" y="79402"/>
                  </a:lnTo>
                  <a:lnTo>
                    <a:pt x="38068" y="38068"/>
                  </a:lnTo>
                  <a:lnTo>
                    <a:pt x="79402" y="10211"/>
                  </a:lnTo>
                  <a:lnTo>
                    <a:pt x="130048" y="0"/>
                  </a:lnTo>
                  <a:lnTo>
                    <a:pt x="5493511" y="0"/>
                  </a:lnTo>
                  <a:lnTo>
                    <a:pt x="5544157" y="10211"/>
                  </a:lnTo>
                  <a:lnTo>
                    <a:pt x="5585491" y="38068"/>
                  </a:lnTo>
                  <a:lnTo>
                    <a:pt x="5613348" y="79402"/>
                  </a:lnTo>
                  <a:lnTo>
                    <a:pt x="5623559" y="130048"/>
                  </a:lnTo>
                  <a:lnTo>
                    <a:pt x="5623559" y="650240"/>
                  </a:lnTo>
                  <a:lnTo>
                    <a:pt x="5613348" y="700885"/>
                  </a:lnTo>
                  <a:lnTo>
                    <a:pt x="5585491" y="742219"/>
                  </a:lnTo>
                  <a:lnTo>
                    <a:pt x="5544157" y="770076"/>
                  </a:lnTo>
                  <a:lnTo>
                    <a:pt x="5493511" y="780288"/>
                  </a:lnTo>
                  <a:lnTo>
                    <a:pt x="130048" y="780288"/>
                  </a:lnTo>
                  <a:lnTo>
                    <a:pt x="79402" y="770076"/>
                  </a:lnTo>
                  <a:lnTo>
                    <a:pt x="38068" y="742219"/>
                  </a:lnTo>
                  <a:lnTo>
                    <a:pt x="10211" y="700885"/>
                  </a:lnTo>
                  <a:lnTo>
                    <a:pt x="0" y="650240"/>
                  </a:lnTo>
                  <a:lnTo>
                    <a:pt x="0" y="130048"/>
                  </a:lnTo>
                  <a:close/>
                </a:path>
              </a:pathLst>
            </a:custGeom>
            <a:ln w="12700">
              <a:solidFill>
                <a:srgbClr val="8FD9C5"/>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91" name="object 91"/>
            <p:cNvPicPr/>
            <p:nvPr/>
          </p:nvPicPr>
          <p:blipFill>
            <a:blip r:embed="rId52" cstate="screen">
              <a:extLst>
                <a:ext uri="{28A0092B-C50C-407E-A947-70E740481C1C}">
                  <a14:useLocalDpi xmlns:a14="http://schemas.microsoft.com/office/drawing/2010/main"/>
                </a:ext>
              </a:extLst>
            </a:blip>
            <a:stretch>
              <a:fillRect/>
            </a:stretch>
          </p:blipFill>
          <p:spPr>
            <a:xfrm>
              <a:off x="6365748" y="4237608"/>
              <a:ext cx="2622804" cy="228600"/>
            </a:xfrm>
            <a:prstGeom prst="rect">
              <a:avLst/>
            </a:prstGeom>
          </p:spPr>
        </p:pic>
        <p:pic>
          <p:nvPicPr>
            <p:cNvPr id="92" name="object 92"/>
            <p:cNvPicPr/>
            <p:nvPr/>
          </p:nvPicPr>
          <p:blipFill>
            <a:blip r:embed="rId53" cstate="screen">
              <a:extLst>
                <a:ext uri="{28A0092B-C50C-407E-A947-70E740481C1C}">
                  <a14:useLocalDpi xmlns:a14="http://schemas.microsoft.com/office/drawing/2010/main"/>
                </a:ext>
              </a:extLst>
            </a:blip>
            <a:stretch>
              <a:fillRect/>
            </a:stretch>
          </p:blipFill>
          <p:spPr>
            <a:xfrm>
              <a:off x="6365748" y="4454016"/>
              <a:ext cx="4766309" cy="195072"/>
            </a:xfrm>
            <a:prstGeom prst="rect">
              <a:avLst/>
            </a:prstGeom>
          </p:spPr>
        </p:pic>
        <p:pic>
          <p:nvPicPr>
            <p:cNvPr id="93" name="object 93"/>
            <p:cNvPicPr/>
            <p:nvPr/>
          </p:nvPicPr>
          <p:blipFill>
            <a:blip r:embed="rId54" cstate="screen">
              <a:extLst>
                <a:ext uri="{28A0092B-C50C-407E-A947-70E740481C1C}">
                  <a14:useLocalDpi xmlns:a14="http://schemas.microsoft.com/office/drawing/2010/main"/>
                </a:ext>
              </a:extLst>
            </a:blip>
            <a:stretch>
              <a:fillRect/>
            </a:stretch>
          </p:blipFill>
          <p:spPr>
            <a:xfrm>
              <a:off x="6370320" y="4636896"/>
              <a:ext cx="4574158" cy="195071"/>
            </a:xfrm>
            <a:prstGeom prst="rect">
              <a:avLst/>
            </a:prstGeom>
          </p:spPr>
        </p:pic>
        <p:pic>
          <p:nvPicPr>
            <p:cNvPr id="94" name="object 94"/>
            <p:cNvPicPr/>
            <p:nvPr/>
          </p:nvPicPr>
          <p:blipFill>
            <a:blip r:embed="rId55" cstate="screen">
              <a:extLst>
                <a:ext uri="{28A0092B-C50C-407E-A947-70E740481C1C}">
                  <a14:useLocalDpi xmlns:a14="http://schemas.microsoft.com/office/drawing/2010/main"/>
                </a:ext>
              </a:extLst>
            </a:blip>
            <a:stretch>
              <a:fillRect/>
            </a:stretch>
          </p:blipFill>
          <p:spPr>
            <a:xfrm>
              <a:off x="6370320" y="4819776"/>
              <a:ext cx="1854962" cy="195072"/>
            </a:xfrm>
            <a:prstGeom prst="rect">
              <a:avLst/>
            </a:prstGeom>
          </p:spPr>
        </p:pic>
        <p:pic>
          <p:nvPicPr>
            <p:cNvPr id="95" name="object 95"/>
            <p:cNvPicPr/>
            <p:nvPr/>
          </p:nvPicPr>
          <p:blipFill>
            <a:blip r:embed="rId56" cstate="print"/>
            <a:stretch>
              <a:fillRect/>
            </a:stretch>
          </p:blipFill>
          <p:spPr>
            <a:xfrm>
              <a:off x="6225540" y="5071871"/>
              <a:ext cx="5724144" cy="882395"/>
            </a:xfrm>
            <a:prstGeom prst="rect">
              <a:avLst/>
            </a:prstGeom>
          </p:spPr>
        </p:pic>
        <p:sp>
          <p:nvSpPr>
            <p:cNvPr id="96" name="object 96"/>
            <p:cNvSpPr/>
            <p:nvPr/>
          </p:nvSpPr>
          <p:spPr>
            <a:xfrm>
              <a:off x="6251448" y="5097779"/>
              <a:ext cx="5622290" cy="780415"/>
            </a:xfrm>
            <a:custGeom>
              <a:avLst/>
              <a:gdLst/>
              <a:ahLst/>
              <a:cxnLst/>
              <a:rect l="l" t="t" r="r" b="b"/>
              <a:pathLst>
                <a:path w="5622290" h="780414">
                  <a:moveTo>
                    <a:pt x="5491987" y="0"/>
                  </a:moveTo>
                  <a:lnTo>
                    <a:pt x="130048" y="0"/>
                  </a:lnTo>
                  <a:lnTo>
                    <a:pt x="79402" y="10211"/>
                  </a:lnTo>
                  <a:lnTo>
                    <a:pt x="38068" y="38068"/>
                  </a:lnTo>
                  <a:lnTo>
                    <a:pt x="10211" y="79402"/>
                  </a:lnTo>
                  <a:lnTo>
                    <a:pt x="0" y="130048"/>
                  </a:lnTo>
                  <a:lnTo>
                    <a:pt x="0" y="650240"/>
                  </a:lnTo>
                  <a:lnTo>
                    <a:pt x="10211" y="700858"/>
                  </a:lnTo>
                  <a:lnTo>
                    <a:pt x="38068" y="742195"/>
                  </a:lnTo>
                  <a:lnTo>
                    <a:pt x="79402" y="770067"/>
                  </a:lnTo>
                  <a:lnTo>
                    <a:pt x="130048" y="780288"/>
                  </a:lnTo>
                  <a:lnTo>
                    <a:pt x="5491987" y="780288"/>
                  </a:lnTo>
                  <a:lnTo>
                    <a:pt x="5542633" y="770067"/>
                  </a:lnTo>
                  <a:lnTo>
                    <a:pt x="5583967" y="742195"/>
                  </a:lnTo>
                  <a:lnTo>
                    <a:pt x="5611824" y="700858"/>
                  </a:lnTo>
                  <a:lnTo>
                    <a:pt x="5622035" y="650240"/>
                  </a:lnTo>
                  <a:lnTo>
                    <a:pt x="5622035" y="130048"/>
                  </a:lnTo>
                  <a:lnTo>
                    <a:pt x="5611824" y="79402"/>
                  </a:lnTo>
                  <a:lnTo>
                    <a:pt x="5583967" y="38068"/>
                  </a:lnTo>
                  <a:lnTo>
                    <a:pt x="5542633" y="10211"/>
                  </a:lnTo>
                  <a:lnTo>
                    <a:pt x="5491987"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97" name="object 97"/>
            <p:cNvPicPr/>
            <p:nvPr/>
          </p:nvPicPr>
          <p:blipFill>
            <a:blip r:embed="rId57" cstate="screen">
              <a:extLst>
                <a:ext uri="{28A0092B-C50C-407E-A947-70E740481C1C}">
                  <a14:useLocalDpi xmlns:a14="http://schemas.microsoft.com/office/drawing/2010/main"/>
                </a:ext>
              </a:extLst>
            </a:blip>
            <a:stretch>
              <a:fillRect/>
            </a:stretch>
          </p:blipFill>
          <p:spPr>
            <a:xfrm>
              <a:off x="6364478" y="5200522"/>
              <a:ext cx="4504435" cy="228599"/>
            </a:xfrm>
            <a:prstGeom prst="rect">
              <a:avLst/>
            </a:prstGeom>
          </p:spPr>
        </p:pic>
        <p:pic>
          <p:nvPicPr>
            <p:cNvPr id="98" name="object 98"/>
            <p:cNvPicPr/>
            <p:nvPr/>
          </p:nvPicPr>
          <p:blipFill>
            <a:blip r:embed="rId58" cstate="screen">
              <a:extLst>
                <a:ext uri="{28A0092B-C50C-407E-A947-70E740481C1C}">
                  <a14:useLocalDpi xmlns:a14="http://schemas.microsoft.com/office/drawing/2010/main"/>
                </a:ext>
              </a:extLst>
            </a:blip>
            <a:stretch>
              <a:fillRect/>
            </a:stretch>
          </p:blipFill>
          <p:spPr>
            <a:xfrm>
              <a:off x="6364478" y="5416600"/>
              <a:ext cx="4712335" cy="195376"/>
            </a:xfrm>
            <a:prstGeom prst="rect">
              <a:avLst/>
            </a:prstGeom>
          </p:spPr>
        </p:pic>
        <p:pic>
          <p:nvPicPr>
            <p:cNvPr id="99" name="object 99"/>
            <p:cNvPicPr/>
            <p:nvPr/>
          </p:nvPicPr>
          <p:blipFill>
            <a:blip r:embed="rId59" cstate="screen">
              <a:extLst>
                <a:ext uri="{28A0092B-C50C-407E-A947-70E740481C1C}">
                  <a14:useLocalDpi xmlns:a14="http://schemas.microsoft.com/office/drawing/2010/main"/>
                </a:ext>
              </a:extLst>
            </a:blip>
            <a:stretch>
              <a:fillRect/>
            </a:stretch>
          </p:blipFill>
          <p:spPr>
            <a:xfrm>
              <a:off x="6369050" y="5600090"/>
              <a:ext cx="1221295" cy="195072"/>
            </a:xfrm>
            <a:prstGeom prst="rect">
              <a:avLst/>
            </a:prstGeom>
          </p:spPr>
        </p:pic>
        <p:pic>
          <p:nvPicPr>
            <p:cNvPr id="100" name="object 100"/>
            <p:cNvPicPr/>
            <p:nvPr/>
          </p:nvPicPr>
          <p:blipFill>
            <a:blip r:embed="rId43" cstate="print"/>
            <a:stretch>
              <a:fillRect/>
            </a:stretch>
          </p:blipFill>
          <p:spPr>
            <a:xfrm>
              <a:off x="6217920" y="5923783"/>
              <a:ext cx="5737860" cy="894575"/>
            </a:xfrm>
            <a:prstGeom prst="rect">
              <a:avLst/>
            </a:prstGeom>
          </p:spPr>
        </p:pic>
        <p:sp>
          <p:nvSpPr>
            <p:cNvPr id="101" name="object 101"/>
            <p:cNvSpPr/>
            <p:nvPr/>
          </p:nvSpPr>
          <p:spPr>
            <a:xfrm>
              <a:off x="6249924" y="5955791"/>
              <a:ext cx="5623560" cy="780415"/>
            </a:xfrm>
            <a:custGeom>
              <a:avLst/>
              <a:gdLst/>
              <a:ahLst/>
              <a:cxnLst/>
              <a:rect l="l" t="t" r="r" b="b"/>
              <a:pathLst>
                <a:path w="5623559" h="780415">
                  <a:moveTo>
                    <a:pt x="5493511" y="0"/>
                  </a:moveTo>
                  <a:lnTo>
                    <a:pt x="130048" y="0"/>
                  </a:lnTo>
                  <a:lnTo>
                    <a:pt x="79402" y="10220"/>
                  </a:lnTo>
                  <a:lnTo>
                    <a:pt x="38068" y="38092"/>
                  </a:lnTo>
                  <a:lnTo>
                    <a:pt x="10211" y="79429"/>
                  </a:lnTo>
                  <a:lnTo>
                    <a:pt x="0" y="130048"/>
                  </a:lnTo>
                  <a:lnTo>
                    <a:pt x="0" y="650240"/>
                  </a:lnTo>
                  <a:lnTo>
                    <a:pt x="10211" y="700858"/>
                  </a:lnTo>
                  <a:lnTo>
                    <a:pt x="38068" y="742195"/>
                  </a:lnTo>
                  <a:lnTo>
                    <a:pt x="79402" y="770067"/>
                  </a:lnTo>
                  <a:lnTo>
                    <a:pt x="130048" y="780288"/>
                  </a:lnTo>
                  <a:lnTo>
                    <a:pt x="5493511" y="780288"/>
                  </a:lnTo>
                  <a:lnTo>
                    <a:pt x="5544157" y="770067"/>
                  </a:lnTo>
                  <a:lnTo>
                    <a:pt x="5585491" y="742195"/>
                  </a:lnTo>
                  <a:lnTo>
                    <a:pt x="5613348" y="700858"/>
                  </a:lnTo>
                  <a:lnTo>
                    <a:pt x="5623559" y="650240"/>
                  </a:lnTo>
                  <a:lnTo>
                    <a:pt x="5623559" y="130048"/>
                  </a:lnTo>
                  <a:lnTo>
                    <a:pt x="5613348" y="79429"/>
                  </a:lnTo>
                  <a:lnTo>
                    <a:pt x="5585491" y="38092"/>
                  </a:lnTo>
                  <a:lnTo>
                    <a:pt x="5544157" y="10220"/>
                  </a:lnTo>
                  <a:lnTo>
                    <a:pt x="5493511"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02" name="object 102"/>
            <p:cNvSpPr/>
            <p:nvPr/>
          </p:nvSpPr>
          <p:spPr>
            <a:xfrm>
              <a:off x="6249924" y="5955791"/>
              <a:ext cx="5623560" cy="780415"/>
            </a:xfrm>
            <a:custGeom>
              <a:avLst/>
              <a:gdLst/>
              <a:ahLst/>
              <a:cxnLst/>
              <a:rect l="l" t="t" r="r" b="b"/>
              <a:pathLst>
                <a:path w="5623559" h="780415">
                  <a:moveTo>
                    <a:pt x="0" y="130048"/>
                  </a:moveTo>
                  <a:lnTo>
                    <a:pt x="10211" y="79429"/>
                  </a:lnTo>
                  <a:lnTo>
                    <a:pt x="38068" y="38092"/>
                  </a:lnTo>
                  <a:lnTo>
                    <a:pt x="79402" y="10220"/>
                  </a:lnTo>
                  <a:lnTo>
                    <a:pt x="130048" y="0"/>
                  </a:lnTo>
                  <a:lnTo>
                    <a:pt x="5493511" y="0"/>
                  </a:lnTo>
                  <a:lnTo>
                    <a:pt x="5544157" y="10220"/>
                  </a:lnTo>
                  <a:lnTo>
                    <a:pt x="5585491" y="38092"/>
                  </a:lnTo>
                  <a:lnTo>
                    <a:pt x="5613348" y="79429"/>
                  </a:lnTo>
                  <a:lnTo>
                    <a:pt x="5623559" y="130048"/>
                  </a:lnTo>
                  <a:lnTo>
                    <a:pt x="5623559" y="650240"/>
                  </a:lnTo>
                  <a:lnTo>
                    <a:pt x="5613348" y="700858"/>
                  </a:lnTo>
                  <a:lnTo>
                    <a:pt x="5585491" y="742195"/>
                  </a:lnTo>
                  <a:lnTo>
                    <a:pt x="5544157" y="770067"/>
                  </a:lnTo>
                  <a:lnTo>
                    <a:pt x="5493511" y="780288"/>
                  </a:lnTo>
                  <a:lnTo>
                    <a:pt x="130048" y="780288"/>
                  </a:lnTo>
                  <a:lnTo>
                    <a:pt x="79402" y="770067"/>
                  </a:lnTo>
                  <a:lnTo>
                    <a:pt x="38068" y="742195"/>
                  </a:lnTo>
                  <a:lnTo>
                    <a:pt x="10211" y="700858"/>
                  </a:lnTo>
                  <a:lnTo>
                    <a:pt x="0" y="650240"/>
                  </a:lnTo>
                  <a:lnTo>
                    <a:pt x="0" y="130048"/>
                  </a:lnTo>
                  <a:close/>
                </a:path>
              </a:pathLst>
            </a:custGeom>
            <a:ln w="12700">
              <a:solidFill>
                <a:srgbClr val="8FD9C5"/>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03" name="object 103"/>
            <p:cNvPicPr/>
            <p:nvPr/>
          </p:nvPicPr>
          <p:blipFill>
            <a:blip r:embed="rId60" cstate="screen">
              <a:extLst>
                <a:ext uri="{28A0092B-C50C-407E-A947-70E740481C1C}">
                  <a14:useLocalDpi xmlns:a14="http://schemas.microsoft.com/office/drawing/2010/main"/>
                </a:ext>
              </a:extLst>
            </a:blip>
            <a:stretch>
              <a:fillRect/>
            </a:stretch>
          </p:blipFill>
          <p:spPr>
            <a:xfrm>
              <a:off x="6372479" y="6043269"/>
              <a:ext cx="4546854" cy="228600"/>
            </a:xfrm>
            <a:prstGeom prst="rect">
              <a:avLst/>
            </a:prstGeom>
          </p:spPr>
        </p:pic>
        <p:pic>
          <p:nvPicPr>
            <p:cNvPr id="104" name="object 104"/>
            <p:cNvPicPr/>
            <p:nvPr/>
          </p:nvPicPr>
          <p:blipFill>
            <a:blip r:embed="rId61" cstate="screen">
              <a:extLst>
                <a:ext uri="{28A0092B-C50C-407E-A947-70E740481C1C}">
                  <a14:useLocalDpi xmlns:a14="http://schemas.microsoft.com/office/drawing/2010/main"/>
                </a:ext>
              </a:extLst>
            </a:blip>
            <a:stretch>
              <a:fillRect/>
            </a:stretch>
          </p:blipFill>
          <p:spPr>
            <a:xfrm>
              <a:off x="6372479" y="6259372"/>
              <a:ext cx="4588763" cy="195376"/>
            </a:xfrm>
            <a:prstGeom prst="rect">
              <a:avLst/>
            </a:prstGeom>
          </p:spPr>
        </p:pic>
        <p:pic>
          <p:nvPicPr>
            <p:cNvPr id="105" name="object 105"/>
            <p:cNvPicPr/>
            <p:nvPr/>
          </p:nvPicPr>
          <p:blipFill>
            <a:blip r:embed="rId62" cstate="screen">
              <a:extLst>
                <a:ext uri="{28A0092B-C50C-407E-A947-70E740481C1C}">
                  <a14:useLocalDpi xmlns:a14="http://schemas.microsoft.com/office/drawing/2010/main"/>
                </a:ext>
              </a:extLst>
            </a:blip>
            <a:stretch>
              <a:fillRect/>
            </a:stretch>
          </p:blipFill>
          <p:spPr>
            <a:xfrm>
              <a:off x="6377051" y="6442862"/>
              <a:ext cx="2684018" cy="195072"/>
            </a:xfrm>
            <a:prstGeom prst="rect">
              <a:avLst/>
            </a:prstGeom>
          </p:spPr>
        </p:pic>
      </p:grpSp>
      <p:pic>
        <p:nvPicPr>
          <p:cNvPr id="106" name="object 106"/>
          <p:cNvPicPr/>
          <p:nvPr/>
        </p:nvPicPr>
        <p:blipFill>
          <a:blip r:embed="rId63" cstate="screen">
            <a:extLst>
              <a:ext uri="{28A0092B-C50C-407E-A947-70E740481C1C}">
                <a14:useLocalDpi xmlns:a14="http://schemas.microsoft.com/office/drawing/2010/main"/>
              </a:ext>
            </a:extLst>
          </a:blip>
          <a:stretch>
            <a:fillRect/>
          </a:stretch>
        </p:blipFill>
        <p:spPr>
          <a:xfrm>
            <a:off x="96011" y="4226052"/>
            <a:ext cx="803147" cy="803148"/>
          </a:xfrm>
          <a:prstGeom prst="rect">
            <a:avLst/>
          </a:prstGeom>
        </p:spPr>
      </p:pic>
      <p:pic>
        <p:nvPicPr>
          <p:cNvPr id="107" name="object 107"/>
          <p:cNvPicPr/>
          <p:nvPr/>
        </p:nvPicPr>
        <p:blipFill>
          <a:blip r:embed="rId64" cstate="screen">
            <a:extLst>
              <a:ext uri="{28A0092B-C50C-407E-A947-70E740481C1C}">
                <a14:useLocalDpi xmlns:a14="http://schemas.microsoft.com/office/drawing/2010/main"/>
              </a:ext>
            </a:extLst>
          </a:blip>
          <a:stretch>
            <a:fillRect/>
          </a:stretch>
        </p:blipFill>
        <p:spPr>
          <a:xfrm>
            <a:off x="11332464" y="2520695"/>
            <a:ext cx="786383" cy="786384"/>
          </a:xfrm>
          <a:prstGeom prst="rect">
            <a:avLst/>
          </a:prstGeom>
        </p:spPr>
      </p:pic>
      <p:pic>
        <p:nvPicPr>
          <p:cNvPr id="108" name="object 108"/>
          <p:cNvPicPr/>
          <p:nvPr/>
        </p:nvPicPr>
        <p:blipFill>
          <a:blip r:embed="rId65" cstate="screen">
            <a:extLst>
              <a:ext uri="{28A0092B-C50C-407E-A947-70E740481C1C}">
                <a14:useLocalDpi xmlns:a14="http://schemas.microsoft.com/office/drawing/2010/main"/>
              </a:ext>
            </a:extLst>
          </a:blip>
          <a:stretch>
            <a:fillRect/>
          </a:stretch>
        </p:blipFill>
        <p:spPr>
          <a:xfrm>
            <a:off x="11335511" y="3389376"/>
            <a:ext cx="786383" cy="786384"/>
          </a:xfrm>
          <a:prstGeom prst="rect">
            <a:avLst/>
          </a:prstGeom>
        </p:spPr>
      </p:pic>
      <p:pic>
        <p:nvPicPr>
          <p:cNvPr id="109" name="object 109"/>
          <p:cNvPicPr/>
          <p:nvPr/>
        </p:nvPicPr>
        <p:blipFill>
          <a:blip r:embed="rId66" cstate="screen">
            <a:extLst>
              <a:ext uri="{28A0092B-C50C-407E-A947-70E740481C1C}">
                <a14:useLocalDpi xmlns:a14="http://schemas.microsoft.com/office/drawing/2010/main"/>
              </a:ext>
            </a:extLst>
          </a:blip>
          <a:stretch>
            <a:fillRect/>
          </a:stretch>
        </p:blipFill>
        <p:spPr>
          <a:xfrm>
            <a:off x="11350752" y="5102352"/>
            <a:ext cx="780288" cy="780288"/>
          </a:xfrm>
          <a:prstGeom prst="rect">
            <a:avLst/>
          </a:prstGeom>
        </p:spPr>
      </p:pic>
      <p:pic>
        <p:nvPicPr>
          <p:cNvPr id="110" name="object 110"/>
          <p:cNvPicPr/>
          <p:nvPr/>
        </p:nvPicPr>
        <p:blipFill>
          <a:blip r:embed="rId67" cstate="screen">
            <a:extLst>
              <a:ext uri="{28A0092B-C50C-407E-A947-70E740481C1C}">
                <a14:useLocalDpi xmlns:a14="http://schemas.microsoft.com/office/drawing/2010/main"/>
              </a:ext>
            </a:extLst>
          </a:blip>
          <a:stretch>
            <a:fillRect/>
          </a:stretch>
        </p:blipFill>
        <p:spPr>
          <a:xfrm>
            <a:off x="11338559" y="4238244"/>
            <a:ext cx="780288" cy="780288"/>
          </a:xfrm>
          <a:prstGeom prst="rect">
            <a:avLst/>
          </a:prstGeom>
        </p:spPr>
      </p:pic>
      <p:pic>
        <p:nvPicPr>
          <p:cNvPr id="112" name="object 112"/>
          <p:cNvPicPr/>
          <p:nvPr/>
        </p:nvPicPr>
        <p:blipFill>
          <a:blip r:embed="rId68" cstate="screen">
            <a:extLst>
              <a:ext uri="{28A0092B-C50C-407E-A947-70E740481C1C}">
                <a14:useLocalDpi xmlns:a14="http://schemas.microsoft.com/office/drawing/2010/main"/>
              </a:ext>
            </a:extLst>
          </a:blip>
          <a:stretch>
            <a:fillRect/>
          </a:stretch>
        </p:blipFill>
        <p:spPr>
          <a:xfrm>
            <a:off x="114300" y="5945122"/>
            <a:ext cx="806195" cy="807718"/>
          </a:xfrm>
          <a:prstGeom prst="rect">
            <a:avLst/>
          </a:prstGeom>
        </p:spPr>
      </p:pic>
      <p:pic>
        <p:nvPicPr>
          <p:cNvPr id="113" name="object 113"/>
          <p:cNvPicPr/>
          <p:nvPr/>
        </p:nvPicPr>
        <p:blipFill>
          <a:blip r:embed="rId69" cstate="screen">
            <a:extLst>
              <a:ext uri="{28A0092B-C50C-407E-A947-70E740481C1C}">
                <a14:useLocalDpi xmlns:a14="http://schemas.microsoft.com/office/drawing/2010/main"/>
              </a:ext>
            </a:extLst>
          </a:blip>
          <a:stretch>
            <a:fillRect/>
          </a:stretch>
        </p:blipFill>
        <p:spPr>
          <a:xfrm>
            <a:off x="108204" y="5077967"/>
            <a:ext cx="806196" cy="806195"/>
          </a:xfrm>
          <a:prstGeom prst="rect">
            <a:avLst/>
          </a:prstGeom>
        </p:spPr>
      </p:pic>
      <p:pic>
        <p:nvPicPr>
          <p:cNvPr id="111" name="object 111"/>
          <p:cNvPicPr/>
          <p:nvPr/>
        </p:nvPicPr>
        <p:blipFill>
          <a:blip r:embed="rId70" cstate="screen">
            <a:extLst>
              <a:ext uri="{28A0092B-C50C-407E-A947-70E740481C1C}">
                <a14:useLocalDpi xmlns:a14="http://schemas.microsoft.com/office/drawing/2010/main"/>
              </a:ext>
            </a:extLst>
          </a:blip>
          <a:stretch>
            <a:fillRect/>
          </a:stretch>
        </p:blipFill>
        <p:spPr>
          <a:xfrm>
            <a:off x="11335511" y="5958840"/>
            <a:ext cx="780288" cy="780285"/>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screen">
            <a:extLst>
              <a:ext uri="{28A0092B-C50C-407E-A947-70E740481C1C}">
                <a14:useLocalDpi xmlns:a14="http://schemas.microsoft.com/office/drawing/2010/main"/>
              </a:ext>
            </a:extLst>
          </a:blip>
          <a:stretch>
            <a:fillRect/>
          </a:stretch>
        </p:blipFill>
        <p:spPr>
          <a:xfrm>
            <a:off x="5327650" y="6458102"/>
            <a:ext cx="1591055" cy="161544"/>
          </a:xfrm>
          <a:prstGeom prst="rect">
            <a:avLst/>
          </a:prstGeom>
        </p:spPr>
      </p:pic>
      <p:grpSp>
        <p:nvGrpSpPr>
          <p:cNvPr id="4" name="object 4"/>
          <p:cNvGrpSpPr/>
          <p:nvPr/>
        </p:nvGrpSpPr>
        <p:grpSpPr>
          <a:xfrm>
            <a:off x="830199" y="2336278"/>
            <a:ext cx="2574925" cy="1031875"/>
            <a:chOff x="830199" y="2336278"/>
            <a:chExt cx="2574925" cy="1031875"/>
          </a:xfrm>
        </p:grpSpPr>
        <p:pic>
          <p:nvPicPr>
            <p:cNvPr id="5" name="object 5"/>
            <p:cNvPicPr/>
            <p:nvPr/>
          </p:nvPicPr>
          <p:blipFill>
            <a:blip r:embed="rId3" cstate="print"/>
            <a:stretch>
              <a:fillRect/>
            </a:stretch>
          </p:blipFill>
          <p:spPr>
            <a:xfrm>
              <a:off x="1292274" y="2336278"/>
              <a:ext cx="2112418" cy="1031787"/>
            </a:xfrm>
            <a:prstGeom prst="rect">
              <a:avLst/>
            </a:prstGeom>
          </p:spPr>
        </p:pic>
        <p:pic>
          <p:nvPicPr>
            <p:cNvPr id="6" name="object 6"/>
            <p:cNvPicPr/>
            <p:nvPr/>
          </p:nvPicPr>
          <p:blipFill>
            <a:blip r:embed="rId4" cstate="print"/>
            <a:stretch>
              <a:fillRect/>
            </a:stretch>
          </p:blipFill>
          <p:spPr>
            <a:xfrm>
              <a:off x="1493520" y="2372855"/>
              <a:ext cx="1905000" cy="906792"/>
            </a:xfrm>
            <a:prstGeom prst="rect">
              <a:avLst/>
            </a:prstGeom>
          </p:spPr>
        </p:pic>
        <p:sp>
          <p:nvSpPr>
            <p:cNvPr id="7" name="object 7"/>
            <p:cNvSpPr/>
            <p:nvPr/>
          </p:nvSpPr>
          <p:spPr>
            <a:xfrm>
              <a:off x="1306068" y="2350008"/>
              <a:ext cx="2034539" cy="954405"/>
            </a:xfrm>
            <a:custGeom>
              <a:avLst/>
              <a:gdLst/>
              <a:ahLst/>
              <a:cxnLst/>
              <a:rect l="l" t="t" r="r" b="b"/>
              <a:pathLst>
                <a:path w="2034539" h="954404">
                  <a:moveTo>
                    <a:pt x="0" y="159003"/>
                  </a:moveTo>
                  <a:lnTo>
                    <a:pt x="8111" y="108768"/>
                  </a:lnTo>
                  <a:lnTo>
                    <a:pt x="30695" y="65123"/>
                  </a:lnTo>
                  <a:lnTo>
                    <a:pt x="65123" y="30695"/>
                  </a:lnTo>
                  <a:lnTo>
                    <a:pt x="108768" y="8111"/>
                  </a:lnTo>
                  <a:lnTo>
                    <a:pt x="159003" y="0"/>
                  </a:lnTo>
                  <a:lnTo>
                    <a:pt x="1875536" y="0"/>
                  </a:lnTo>
                  <a:lnTo>
                    <a:pt x="1925771" y="8111"/>
                  </a:lnTo>
                  <a:lnTo>
                    <a:pt x="1969416" y="30695"/>
                  </a:lnTo>
                  <a:lnTo>
                    <a:pt x="2003844" y="65123"/>
                  </a:lnTo>
                  <a:lnTo>
                    <a:pt x="2026428" y="108768"/>
                  </a:lnTo>
                  <a:lnTo>
                    <a:pt x="2034540" y="159003"/>
                  </a:lnTo>
                  <a:lnTo>
                    <a:pt x="2034540" y="795019"/>
                  </a:lnTo>
                  <a:lnTo>
                    <a:pt x="2026428" y="845255"/>
                  </a:lnTo>
                  <a:lnTo>
                    <a:pt x="2003844" y="888900"/>
                  </a:lnTo>
                  <a:lnTo>
                    <a:pt x="1969416" y="923328"/>
                  </a:lnTo>
                  <a:lnTo>
                    <a:pt x="1925771" y="945912"/>
                  </a:lnTo>
                  <a:lnTo>
                    <a:pt x="1875536" y="954024"/>
                  </a:lnTo>
                  <a:lnTo>
                    <a:pt x="159003" y="954024"/>
                  </a:lnTo>
                  <a:lnTo>
                    <a:pt x="108768" y="945912"/>
                  </a:lnTo>
                  <a:lnTo>
                    <a:pt x="65123" y="923328"/>
                  </a:lnTo>
                  <a:lnTo>
                    <a:pt x="30695" y="888900"/>
                  </a:lnTo>
                  <a:lnTo>
                    <a:pt x="8111" y="845255"/>
                  </a:lnTo>
                  <a:lnTo>
                    <a:pt x="0" y="795019"/>
                  </a:lnTo>
                  <a:lnTo>
                    <a:pt x="0" y="159003"/>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8" name="object 8"/>
            <p:cNvPicPr/>
            <p:nvPr/>
          </p:nvPicPr>
          <p:blipFill>
            <a:blip r:embed="rId5" cstate="screen">
              <a:extLst>
                <a:ext uri="{28A0092B-C50C-407E-A947-70E740481C1C}">
                  <a14:useLocalDpi xmlns:a14="http://schemas.microsoft.com/office/drawing/2010/main"/>
                </a:ext>
              </a:extLst>
            </a:blip>
            <a:stretch>
              <a:fillRect/>
            </a:stretch>
          </p:blipFill>
          <p:spPr>
            <a:xfrm>
              <a:off x="1603502" y="2433193"/>
              <a:ext cx="852246" cy="179832"/>
            </a:xfrm>
            <a:prstGeom prst="rect">
              <a:avLst/>
            </a:prstGeom>
          </p:spPr>
        </p:pic>
        <p:pic>
          <p:nvPicPr>
            <p:cNvPr id="9" name="object 9"/>
            <p:cNvPicPr/>
            <p:nvPr/>
          </p:nvPicPr>
          <p:blipFill>
            <a:blip r:embed="rId6" cstate="screen">
              <a:extLst>
                <a:ext uri="{28A0092B-C50C-407E-A947-70E740481C1C}">
                  <a14:useLocalDpi xmlns:a14="http://schemas.microsoft.com/office/drawing/2010/main"/>
                </a:ext>
              </a:extLst>
            </a:blip>
            <a:stretch>
              <a:fillRect/>
            </a:stretch>
          </p:blipFill>
          <p:spPr>
            <a:xfrm>
              <a:off x="1603502" y="2600833"/>
              <a:ext cx="1129601" cy="179832"/>
            </a:xfrm>
            <a:prstGeom prst="rect">
              <a:avLst/>
            </a:prstGeom>
          </p:spPr>
        </p:pic>
        <p:pic>
          <p:nvPicPr>
            <p:cNvPr id="10" name="object 10"/>
            <p:cNvPicPr/>
            <p:nvPr/>
          </p:nvPicPr>
          <p:blipFill>
            <a:blip r:embed="rId7" cstate="screen">
              <a:extLst>
                <a:ext uri="{28A0092B-C50C-407E-A947-70E740481C1C}">
                  <a14:useLocalDpi xmlns:a14="http://schemas.microsoft.com/office/drawing/2010/main"/>
                </a:ext>
              </a:extLst>
            </a:blip>
            <a:stretch>
              <a:fillRect/>
            </a:stretch>
          </p:blipFill>
          <p:spPr>
            <a:xfrm>
              <a:off x="1603502" y="2769997"/>
              <a:ext cx="141732" cy="131063"/>
            </a:xfrm>
            <a:prstGeom prst="rect">
              <a:avLst/>
            </a:prstGeom>
          </p:spPr>
        </p:pic>
        <p:pic>
          <p:nvPicPr>
            <p:cNvPr id="11" name="object 11"/>
            <p:cNvPicPr/>
            <p:nvPr/>
          </p:nvPicPr>
          <p:blipFill>
            <a:blip r:embed="rId8" cstate="screen">
              <a:extLst>
                <a:ext uri="{28A0092B-C50C-407E-A947-70E740481C1C}">
                  <a14:useLocalDpi xmlns:a14="http://schemas.microsoft.com/office/drawing/2010/main"/>
                </a:ext>
              </a:extLst>
            </a:blip>
            <a:stretch>
              <a:fillRect/>
            </a:stretch>
          </p:blipFill>
          <p:spPr>
            <a:xfrm>
              <a:off x="1697990" y="2769997"/>
              <a:ext cx="1604264" cy="131063"/>
            </a:xfrm>
            <a:prstGeom prst="rect">
              <a:avLst/>
            </a:prstGeom>
          </p:spPr>
        </p:pic>
        <p:pic>
          <p:nvPicPr>
            <p:cNvPr id="12" name="object 12"/>
            <p:cNvPicPr/>
            <p:nvPr/>
          </p:nvPicPr>
          <p:blipFill>
            <a:blip r:embed="rId9" cstate="screen">
              <a:extLst>
                <a:ext uri="{28A0092B-C50C-407E-A947-70E740481C1C}">
                  <a14:useLocalDpi xmlns:a14="http://schemas.microsoft.com/office/drawing/2010/main"/>
                </a:ext>
              </a:extLst>
            </a:blip>
            <a:stretch>
              <a:fillRect/>
            </a:stretch>
          </p:blipFill>
          <p:spPr>
            <a:xfrm>
              <a:off x="1603502" y="2891917"/>
              <a:ext cx="593039" cy="131063"/>
            </a:xfrm>
            <a:prstGeom prst="rect">
              <a:avLst/>
            </a:prstGeom>
          </p:spPr>
        </p:pic>
        <p:pic>
          <p:nvPicPr>
            <p:cNvPr id="13" name="object 13"/>
            <p:cNvPicPr/>
            <p:nvPr/>
          </p:nvPicPr>
          <p:blipFill>
            <a:blip r:embed="rId10" cstate="screen">
              <a:extLst>
                <a:ext uri="{28A0092B-C50C-407E-A947-70E740481C1C}">
                  <a14:useLocalDpi xmlns:a14="http://schemas.microsoft.com/office/drawing/2010/main"/>
                </a:ext>
              </a:extLst>
            </a:blip>
            <a:stretch>
              <a:fillRect/>
            </a:stretch>
          </p:blipFill>
          <p:spPr>
            <a:xfrm>
              <a:off x="1603502" y="3013837"/>
              <a:ext cx="1092517" cy="131063"/>
            </a:xfrm>
            <a:prstGeom prst="rect">
              <a:avLst/>
            </a:prstGeom>
          </p:spPr>
        </p:pic>
        <p:pic>
          <p:nvPicPr>
            <p:cNvPr id="14" name="object 14"/>
            <p:cNvPicPr/>
            <p:nvPr/>
          </p:nvPicPr>
          <p:blipFill>
            <a:blip r:embed="rId11" cstate="print"/>
            <a:stretch>
              <a:fillRect/>
            </a:stretch>
          </p:blipFill>
          <p:spPr>
            <a:xfrm>
              <a:off x="839724" y="2433828"/>
              <a:ext cx="699516" cy="719327"/>
            </a:xfrm>
            <a:prstGeom prst="rect">
              <a:avLst/>
            </a:prstGeom>
          </p:spPr>
        </p:pic>
        <p:sp>
          <p:nvSpPr>
            <p:cNvPr id="15" name="object 15"/>
            <p:cNvSpPr/>
            <p:nvPr/>
          </p:nvSpPr>
          <p:spPr>
            <a:xfrm>
              <a:off x="834961" y="2429002"/>
              <a:ext cx="709295" cy="728980"/>
            </a:xfrm>
            <a:custGeom>
              <a:avLst/>
              <a:gdLst/>
              <a:ahLst/>
              <a:cxnLst/>
              <a:rect l="l" t="t" r="r" b="b"/>
              <a:pathLst>
                <a:path w="709294" h="728980">
                  <a:moveTo>
                    <a:pt x="354520" y="0"/>
                  </a:moveTo>
                  <a:lnTo>
                    <a:pt x="425983" y="7493"/>
                  </a:lnTo>
                  <a:lnTo>
                    <a:pt x="492569" y="28701"/>
                  </a:lnTo>
                  <a:lnTo>
                    <a:pt x="552767" y="62357"/>
                  </a:lnTo>
                  <a:lnTo>
                    <a:pt x="605218" y="106807"/>
                  </a:lnTo>
                  <a:lnTo>
                    <a:pt x="648525" y="160782"/>
                  </a:lnTo>
                  <a:lnTo>
                    <a:pt x="681164" y="222631"/>
                  </a:lnTo>
                  <a:lnTo>
                    <a:pt x="701865" y="291084"/>
                  </a:lnTo>
                  <a:lnTo>
                    <a:pt x="709104" y="364489"/>
                  </a:lnTo>
                  <a:lnTo>
                    <a:pt x="707199" y="401700"/>
                  </a:lnTo>
                  <a:lnTo>
                    <a:pt x="693102" y="472821"/>
                  </a:lnTo>
                  <a:lnTo>
                    <a:pt x="666305" y="538099"/>
                  </a:lnTo>
                  <a:lnTo>
                    <a:pt x="628078" y="596264"/>
                  </a:lnTo>
                  <a:lnTo>
                    <a:pt x="580072" y="645668"/>
                  </a:lnTo>
                  <a:lnTo>
                    <a:pt x="523557" y="684911"/>
                  </a:lnTo>
                  <a:lnTo>
                    <a:pt x="459930" y="712470"/>
                  </a:lnTo>
                  <a:lnTo>
                    <a:pt x="390778" y="727075"/>
                  </a:lnTo>
                  <a:lnTo>
                    <a:pt x="354520" y="728980"/>
                  </a:lnTo>
                  <a:lnTo>
                    <a:pt x="318262" y="727075"/>
                  </a:lnTo>
                  <a:lnTo>
                    <a:pt x="249059" y="712470"/>
                  </a:lnTo>
                  <a:lnTo>
                    <a:pt x="185483" y="684911"/>
                  </a:lnTo>
                  <a:lnTo>
                    <a:pt x="128955" y="645668"/>
                  </a:lnTo>
                  <a:lnTo>
                    <a:pt x="80911" y="596264"/>
                  </a:lnTo>
                  <a:lnTo>
                    <a:pt x="42760" y="538099"/>
                  </a:lnTo>
                  <a:lnTo>
                    <a:pt x="15925" y="472821"/>
                  </a:lnTo>
                  <a:lnTo>
                    <a:pt x="1828" y="401700"/>
                  </a:lnTo>
                  <a:lnTo>
                    <a:pt x="0" y="364489"/>
                  </a:lnTo>
                  <a:lnTo>
                    <a:pt x="1828" y="327278"/>
                  </a:lnTo>
                  <a:lnTo>
                    <a:pt x="15925" y="256159"/>
                  </a:lnTo>
                  <a:lnTo>
                    <a:pt x="42760" y="190881"/>
                  </a:lnTo>
                  <a:lnTo>
                    <a:pt x="80911" y="132714"/>
                  </a:lnTo>
                  <a:lnTo>
                    <a:pt x="128955" y="83312"/>
                  </a:lnTo>
                  <a:lnTo>
                    <a:pt x="185483" y="44069"/>
                  </a:lnTo>
                  <a:lnTo>
                    <a:pt x="249059" y="16510"/>
                  </a:lnTo>
                  <a:lnTo>
                    <a:pt x="318262" y="1905"/>
                  </a:lnTo>
                  <a:lnTo>
                    <a:pt x="354520"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16" name="object 16"/>
          <p:cNvGrpSpPr/>
          <p:nvPr/>
        </p:nvGrpSpPr>
        <p:grpSpPr>
          <a:xfrm>
            <a:off x="9660381" y="4801679"/>
            <a:ext cx="1680210" cy="1226185"/>
            <a:chOff x="9660381" y="4801679"/>
            <a:chExt cx="1680210" cy="1226185"/>
          </a:xfrm>
        </p:grpSpPr>
        <p:sp>
          <p:nvSpPr>
            <p:cNvPr id="17" name="object 17"/>
            <p:cNvSpPr/>
            <p:nvPr/>
          </p:nvSpPr>
          <p:spPr>
            <a:xfrm>
              <a:off x="9666731" y="5318759"/>
              <a:ext cx="1667510" cy="702945"/>
            </a:xfrm>
            <a:custGeom>
              <a:avLst/>
              <a:gdLst/>
              <a:ahLst/>
              <a:cxnLst/>
              <a:rect l="l" t="t" r="r" b="b"/>
              <a:pathLst>
                <a:path w="1667509" h="702945">
                  <a:moveTo>
                    <a:pt x="0" y="117093"/>
                  </a:moveTo>
                  <a:lnTo>
                    <a:pt x="9205" y="71526"/>
                  </a:lnTo>
                  <a:lnTo>
                    <a:pt x="34305" y="34305"/>
                  </a:lnTo>
                  <a:lnTo>
                    <a:pt x="71526" y="9205"/>
                  </a:lnTo>
                  <a:lnTo>
                    <a:pt x="117094" y="0"/>
                  </a:lnTo>
                  <a:lnTo>
                    <a:pt x="1550162" y="0"/>
                  </a:lnTo>
                  <a:lnTo>
                    <a:pt x="1595729" y="9205"/>
                  </a:lnTo>
                  <a:lnTo>
                    <a:pt x="1632950" y="34305"/>
                  </a:lnTo>
                  <a:lnTo>
                    <a:pt x="1658050" y="71526"/>
                  </a:lnTo>
                  <a:lnTo>
                    <a:pt x="1667256" y="117093"/>
                  </a:lnTo>
                  <a:lnTo>
                    <a:pt x="1667256" y="585469"/>
                  </a:lnTo>
                  <a:lnTo>
                    <a:pt x="1658050" y="631047"/>
                  </a:lnTo>
                  <a:lnTo>
                    <a:pt x="1632950" y="668267"/>
                  </a:lnTo>
                  <a:lnTo>
                    <a:pt x="1595729" y="693362"/>
                  </a:lnTo>
                  <a:lnTo>
                    <a:pt x="1550162" y="702563"/>
                  </a:lnTo>
                  <a:lnTo>
                    <a:pt x="117094" y="702563"/>
                  </a:lnTo>
                  <a:lnTo>
                    <a:pt x="71526" y="693362"/>
                  </a:lnTo>
                  <a:lnTo>
                    <a:pt x="34305" y="668267"/>
                  </a:lnTo>
                  <a:lnTo>
                    <a:pt x="9205" y="631047"/>
                  </a:lnTo>
                  <a:lnTo>
                    <a:pt x="0" y="585469"/>
                  </a:lnTo>
                  <a:lnTo>
                    <a:pt x="0" y="117093"/>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8" name="object 18"/>
            <p:cNvPicPr/>
            <p:nvPr/>
          </p:nvPicPr>
          <p:blipFill>
            <a:blip r:embed="rId12" cstate="screen">
              <a:extLst>
                <a:ext uri="{28A0092B-C50C-407E-A947-70E740481C1C}">
                  <a14:useLocalDpi xmlns:a14="http://schemas.microsoft.com/office/drawing/2010/main"/>
                </a:ext>
              </a:extLst>
            </a:blip>
            <a:stretch>
              <a:fillRect/>
            </a:stretch>
          </p:blipFill>
          <p:spPr>
            <a:xfrm>
              <a:off x="10043413" y="5558332"/>
              <a:ext cx="980046" cy="179831"/>
            </a:xfrm>
            <a:prstGeom prst="rect">
              <a:avLst/>
            </a:prstGeom>
          </p:spPr>
        </p:pic>
        <p:pic>
          <p:nvPicPr>
            <p:cNvPr id="19" name="object 19"/>
            <p:cNvPicPr/>
            <p:nvPr/>
          </p:nvPicPr>
          <p:blipFill>
            <a:blip r:embed="rId13" cstate="screen">
              <a:extLst>
                <a:ext uri="{28A0092B-C50C-407E-A947-70E740481C1C}">
                  <a14:useLocalDpi xmlns:a14="http://schemas.microsoft.com/office/drawing/2010/main"/>
                </a:ext>
              </a:extLst>
            </a:blip>
            <a:stretch>
              <a:fillRect/>
            </a:stretch>
          </p:blipFill>
          <p:spPr>
            <a:xfrm>
              <a:off x="9750805" y="5727496"/>
              <a:ext cx="1539900" cy="131063"/>
            </a:xfrm>
            <a:prstGeom prst="rect">
              <a:avLst/>
            </a:prstGeom>
          </p:spPr>
        </p:pic>
        <p:pic>
          <p:nvPicPr>
            <p:cNvPr id="20" name="object 20"/>
            <p:cNvPicPr/>
            <p:nvPr/>
          </p:nvPicPr>
          <p:blipFill>
            <a:blip r:embed="rId14" cstate="screen">
              <a:extLst>
                <a:ext uri="{28A0092B-C50C-407E-A947-70E740481C1C}">
                  <a14:useLocalDpi xmlns:a14="http://schemas.microsoft.com/office/drawing/2010/main"/>
                </a:ext>
              </a:extLst>
            </a:blip>
            <a:stretch>
              <a:fillRect/>
            </a:stretch>
          </p:blipFill>
          <p:spPr>
            <a:xfrm>
              <a:off x="9933685" y="5849416"/>
              <a:ext cx="1179360" cy="131063"/>
            </a:xfrm>
            <a:prstGeom prst="rect">
              <a:avLst/>
            </a:prstGeom>
          </p:spPr>
        </p:pic>
        <p:pic>
          <p:nvPicPr>
            <p:cNvPr id="21" name="object 21"/>
            <p:cNvPicPr/>
            <p:nvPr/>
          </p:nvPicPr>
          <p:blipFill>
            <a:blip r:embed="rId15" cstate="print"/>
            <a:stretch>
              <a:fillRect/>
            </a:stretch>
          </p:blipFill>
          <p:spPr>
            <a:xfrm>
              <a:off x="10147502" y="4811267"/>
              <a:ext cx="701852" cy="708659"/>
            </a:xfrm>
            <a:prstGeom prst="rect">
              <a:avLst/>
            </a:prstGeom>
          </p:spPr>
        </p:pic>
        <p:sp>
          <p:nvSpPr>
            <p:cNvPr id="22" name="object 22"/>
            <p:cNvSpPr/>
            <p:nvPr/>
          </p:nvSpPr>
          <p:spPr>
            <a:xfrm>
              <a:off x="10135869" y="4806441"/>
              <a:ext cx="718820" cy="718820"/>
            </a:xfrm>
            <a:custGeom>
              <a:avLst/>
              <a:gdLst/>
              <a:ahLst/>
              <a:cxnLst/>
              <a:rect l="l" t="t" r="r" b="b"/>
              <a:pathLst>
                <a:path w="718820" h="718820">
                  <a:moveTo>
                    <a:pt x="0" y="359155"/>
                  </a:moveTo>
                  <a:lnTo>
                    <a:pt x="7365" y="286765"/>
                  </a:lnTo>
                  <a:lnTo>
                    <a:pt x="28321" y="219328"/>
                  </a:lnTo>
                  <a:lnTo>
                    <a:pt x="61340" y="158368"/>
                  </a:lnTo>
                  <a:lnTo>
                    <a:pt x="105282" y="105282"/>
                  </a:lnTo>
                  <a:lnTo>
                    <a:pt x="158369" y="61340"/>
                  </a:lnTo>
                  <a:lnTo>
                    <a:pt x="219328" y="28320"/>
                  </a:lnTo>
                  <a:lnTo>
                    <a:pt x="286765" y="7365"/>
                  </a:lnTo>
                  <a:lnTo>
                    <a:pt x="359155" y="0"/>
                  </a:lnTo>
                  <a:lnTo>
                    <a:pt x="395858" y="1904"/>
                  </a:lnTo>
                  <a:lnTo>
                    <a:pt x="465962" y="16255"/>
                  </a:lnTo>
                  <a:lnTo>
                    <a:pt x="530351" y="43433"/>
                  </a:lnTo>
                  <a:lnTo>
                    <a:pt x="587628" y="82041"/>
                  </a:lnTo>
                  <a:lnTo>
                    <a:pt x="636270" y="130682"/>
                  </a:lnTo>
                  <a:lnTo>
                    <a:pt x="674877" y="187959"/>
                  </a:lnTo>
                  <a:lnTo>
                    <a:pt x="702055" y="252348"/>
                  </a:lnTo>
                  <a:lnTo>
                    <a:pt x="716406" y="322452"/>
                  </a:lnTo>
                  <a:lnTo>
                    <a:pt x="718311" y="359155"/>
                  </a:lnTo>
                  <a:lnTo>
                    <a:pt x="716406" y="395858"/>
                  </a:lnTo>
                  <a:lnTo>
                    <a:pt x="702055" y="465962"/>
                  </a:lnTo>
                  <a:lnTo>
                    <a:pt x="674877" y="530351"/>
                  </a:lnTo>
                  <a:lnTo>
                    <a:pt x="636270" y="587628"/>
                  </a:lnTo>
                  <a:lnTo>
                    <a:pt x="587628" y="636269"/>
                  </a:lnTo>
                  <a:lnTo>
                    <a:pt x="530351" y="674877"/>
                  </a:lnTo>
                  <a:lnTo>
                    <a:pt x="465962" y="702055"/>
                  </a:lnTo>
                  <a:lnTo>
                    <a:pt x="395858" y="716406"/>
                  </a:lnTo>
                  <a:lnTo>
                    <a:pt x="359155" y="718311"/>
                  </a:lnTo>
                  <a:lnTo>
                    <a:pt x="322452" y="716406"/>
                  </a:lnTo>
                  <a:lnTo>
                    <a:pt x="252349" y="702055"/>
                  </a:lnTo>
                  <a:lnTo>
                    <a:pt x="187959" y="674877"/>
                  </a:lnTo>
                  <a:lnTo>
                    <a:pt x="130682" y="636269"/>
                  </a:lnTo>
                  <a:lnTo>
                    <a:pt x="82041" y="587628"/>
                  </a:lnTo>
                  <a:lnTo>
                    <a:pt x="43433" y="530351"/>
                  </a:lnTo>
                  <a:lnTo>
                    <a:pt x="16255" y="465962"/>
                  </a:lnTo>
                  <a:lnTo>
                    <a:pt x="1904" y="395858"/>
                  </a:lnTo>
                  <a:lnTo>
                    <a:pt x="0" y="359155"/>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23" name="object 23"/>
          <p:cNvGrpSpPr/>
          <p:nvPr/>
        </p:nvGrpSpPr>
        <p:grpSpPr>
          <a:xfrm>
            <a:off x="6138417" y="3500183"/>
            <a:ext cx="1680210" cy="1210945"/>
            <a:chOff x="6138417" y="3500183"/>
            <a:chExt cx="1680210" cy="1210945"/>
          </a:xfrm>
        </p:grpSpPr>
        <p:sp>
          <p:nvSpPr>
            <p:cNvPr id="24" name="object 24"/>
            <p:cNvSpPr/>
            <p:nvPr/>
          </p:nvSpPr>
          <p:spPr>
            <a:xfrm>
              <a:off x="6144767" y="4021836"/>
              <a:ext cx="1667510" cy="683260"/>
            </a:xfrm>
            <a:custGeom>
              <a:avLst/>
              <a:gdLst/>
              <a:ahLst/>
              <a:cxnLst/>
              <a:rect l="l" t="t" r="r" b="b"/>
              <a:pathLst>
                <a:path w="1667509" h="683260">
                  <a:moveTo>
                    <a:pt x="0" y="113791"/>
                  </a:moveTo>
                  <a:lnTo>
                    <a:pt x="8939" y="69490"/>
                  </a:lnTo>
                  <a:lnTo>
                    <a:pt x="33321" y="33321"/>
                  </a:lnTo>
                  <a:lnTo>
                    <a:pt x="69490" y="8939"/>
                  </a:lnTo>
                  <a:lnTo>
                    <a:pt x="113792" y="0"/>
                  </a:lnTo>
                  <a:lnTo>
                    <a:pt x="1553464" y="0"/>
                  </a:lnTo>
                  <a:lnTo>
                    <a:pt x="1597765" y="8939"/>
                  </a:lnTo>
                  <a:lnTo>
                    <a:pt x="1633934" y="33321"/>
                  </a:lnTo>
                  <a:lnTo>
                    <a:pt x="1658316" y="69490"/>
                  </a:lnTo>
                  <a:lnTo>
                    <a:pt x="1667256" y="113791"/>
                  </a:lnTo>
                  <a:lnTo>
                    <a:pt x="1667256" y="568959"/>
                  </a:lnTo>
                  <a:lnTo>
                    <a:pt x="1658316" y="613261"/>
                  </a:lnTo>
                  <a:lnTo>
                    <a:pt x="1633934" y="649430"/>
                  </a:lnTo>
                  <a:lnTo>
                    <a:pt x="1597765" y="673812"/>
                  </a:lnTo>
                  <a:lnTo>
                    <a:pt x="1553464" y="682751"/>
                  </a:lnTo>
                  <a:lnTo>
                    <a:pt x="113792" y="682751"/>
                  </a:lnTo>
                  <a:lnTo>
                    <a:pt x="69490" y="673812"/>
                  </a:lnTo>
                  <a:lnTo>
                    <a:pt x="33321" y="649430"/>
                  </a:lnTo>
                  <a:lnTo>
                    <a:pt x="8939" y="613261"/>
                  </a:lnTo>
                  <a:lnTo>
                    <a:pt x="0" y="568959"/>
                  </a:lnTo>
                  <a:lnTo>
                    <a:pt x="0" y="113791"/>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25" name="object 25"/>
            <p:cNvPicPr/>
            <p:nvPr/>
          </p:nvPicPr>
          <p:blipFill>
            <a:blip r:embed="rId16" cstate="screen">
              <a:extLst>
                <a:ext uri="{28A0092B-C50C-407E-A947-70E740481C1C}">
                  <a14:useLocalDpi xmlns:a14="http://schemas.microsoft.com/office/drawing/2010/main"/>
                </a:ext>
              </a:extLst>
            </a:blip>
            <a:stretch>
              <a:fillRect/>
            </a:stretch>
          </p:blipFill>
          <p:spPr>
            <a:xfrm>
              <a:off x="6464807" y="4260469"/>
              <a:ext cx="1093000" cy="179831"/>
            </a:xfrm>
            <a:prstGeom prst="rect">
              <a:avLst/>
            </a:prstGeom>
          </p:spPr>
        </p:pic>
        <p:pic>
          <p:nvPicPr>
            <p:cNvPr id="26" name="object 26"/>
            <p:cNvPicPr/>
            <p:nvPr/>
          </p:nvPicPr>
          <p:blipFill>
            <a:blip r:embed="rId17" cstate="screen">
              <a:extLst>
                <a:ext uri="{28A0092B-C50C-407E-A947-70E740481C1C}">
                  <a14:useLocalDpi xmlns:a14="http://schemas.microsoft.com/office/drawing/2010/main"/>
                </a:ext>
              </a:extLst>
            </a:blip>
            <a:stretch>
              <a:fillRect/>
            </a:stretch>
          </p:blipFill>
          <p:spPr>
            <a:xfrm>
              <a:off x="6457187" y="4429633"/>
              <a:ext cx="1091882" cy="131063"/>
            </a:xfrm>
            <a:prstGeom prst="rect">
              <a:avLst/>
            </a:prstGeom>
          </p:spPr>
        </p:pic>
        <p:pic>
          <p:nvPicPr>
            <p:cNvPr id="27" name="object 27"/>
            <p:cNvPicPr/>
            <p:nvPr/>
          </p:nvPicPr>
          <p:blipFill>
            <a:blip r:embed="rId18" cstate="screen">
              <a:extLst>
                <a:ext uri="{28A0092B-C50C-407E-A947-70E740481C1C}">
                  <a14:useLocalDpi xmlns:a14="http://schemas.microsoft.com/office/drawing/2010/main"/>
                </a:ext>
              </a:extLst>
            </a:blip>
            <a:stretch>
              <a:fillRect/>
            </a:stretch>
          </p:blipFill>
          <p:spPr>
            <a:xfrm>
              <a:off x="6388607" y="4551553"/>
              <a:ext cx="1223264" cy="131063"/>
            </a:xfrm>
            <a:prstGeom prst="rect">
              <a:avLst/>
            </a:prstGeom>
          </p:spPr>
        </p:pic>
        <p:pic>
          <p:nvPicPr>
            <p:cNvPr id="28" name="object 28"/>
            <p:cNvPicPr/>
            <p:nvPr/>
          </p:nvPicPr>
          <p:blipFill>
            <a:blip r:embed="rId19" cstate="print"/>
            <a:stretch>
              <a:fillRect/>
            </a:stretch>
          </p:blipFill>
          <p:spPr>
            <a:xfrm>
              <a:off x="6611111" y="3509772"/>
              <a:ext cx="720851" cy="720851"/>
            </a:xfrm>
            <a:prstGeom prst="rect">
              <a:avLst/>
            </a:prstGeom>
          </p:spPr>
        </p:pic>
        <p:sp>
          <p:nvSpPr>
            <p:cNvPr id="29" name="object 29"/>
            <p:cNvSpPr/>
            <p:nvPr/>
          </p:nvSpPr>
          <p:spPr>
            <a:xfrm>
              <a:off x="6606285" y="3504946"/>
              <a:ext cx="730885" cy="730885"/>
            </a:xfrm>
            <a:custGeom>
              <a:avLst/>
              <a:gdLst/>
              <a:ahLst/>
              <a:cxnLst/>
              <a:rect l="l" t="t" r="r" b="b"/>
              <a:pathLst>
                <a:path w="730884" h="730885">
                  <a:moveTo>
                    <a:pt x="365252" y="0"/>
                  </a:moveTo>
                  <a:lnTo>
                    <a:pt x="438785" y="7492"/>
                  </a:lnTo>
                  <a:lnTo>
                    <a:pt x="507365" y="28701"/>
                  </a:lnTo>
                  <a:lnTo>
                    <a:pt x="569468" y="62483"/>
                  </a:lnTo>
                  <a:lnTo>
                    <a:pt x="623443" y="107060"/>
                  </a:lnTo>
                  <a:lnTo>
                    <a:pt x="668020" y="161035"/>
                  </a:lnTo>
                  <a:lnTo>
                    <a:pt x="701802" y="223138"/>
                  </a:lnTo>
                  <a:lnTo>
                    <a:pt x="723011" y="291718"/>
                  </a:lnTo>
                  <a:lnTo>
                    <a:pt x="730504" y="365251"/>
                  </a:lnTo>
                  <a:lnTo>
                    <a:pt x="728599" y="402589"/>
                  </a:lnTo>
                  <a:lnTo>
                    <a:pt x="713994" y="473836"/>
                  </a:lnTo>
                  <a:lnTo>
                    <a:pt x="686308" y="539368"/>
                  </a:lnTo>
                  <a:lnTo>
                    <a:pt x="647065" y="597534"/>
                  </a:lnTo>
                  <a:lnTo>
                    <a:pt x="597535" y="647064"/>
                  </a:lnTo>
                  <a:lnTo>
                    <a:pt x="539369" y="686307"/>
                  </a:lnTo>
                  <a:lnTo>
                    <a:pt x="473837" y="713993"/>
                  </a:lnTo>
                  <a:lnTo>
                    <a:pt x="402590" y="728598"/>
                  </a:lnTo>
                  <a:lnTo>
                    <a:pt x="365252" y="730503"/>
                  </a:lnTo>
                  <a:lnTo>
                    <a:pt x="327914" y="728598"/>
                  </a:lnTo>
                  <a:lnTo>
                    <a:pt x="256667" y="713993"/>
                  </a:lnTo>
                  <a:lnTo>
                    <a:pt x="191135" y="686307"/>
                  </a:lnTo>
                  <a:lnTo>
                    <a:pt x="132969" y="647064"/>
                  </a:lnTo>
                  <a:lnTo>
                    <a:pt x="83439" y="597534"/>
                  </a:lnTo>
                  <a:lnTo>
                    <a:pt x="44196" y="539368"/>
                  </a:lnTo>
                  <a:lnTo>
                    <a:pt x="16510" y="473836"/>
                  </a:lnTo>
                  <a:lnTo>
                    <a:pt x="1905" y="402589"/>
                  </a:lnTo>
                  <a:lnTo>
                    <a:pt x="0" y="365251"/>
                  </a:lnTo>
                  <a:lnTo>
                    <a:pt x="1905" y="327913"/>
                  </a:lnTo>
                  <a:lnTo>
                    <a:pt x="16510" y="256666"/>
                  </a:lnTo>
                  <a:lnTo>
                    <a:pt x="44196" y="191134"/>
                  </a:lnTo>
                  <a:lnTo>
                    <a:pt x="83439" y="132968"/>
                  </a:lnTo>
                  <a:lnTo>
                    <a:pt x="132969" y="83438"/>
                  </a:lnTo>
                  <a:lnTo>
                    <a:pt x="191135" y="44195"/>
                  </a:lnTo>
                  <a:lnTo>
                    <a:pt x="256667" y="16509"/>
                  </a:lnTo>
                  <a:lnTo>
                    <a:pt x="327914" y="1904"/>
                  </a:lnTo>
                  <a:lnTo>
                    <a:pt x="365252"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30" name="object 30"/>
          <p:cNvGrpSpPr/>
          <p:nvPr/>
        </p:nvGrpSpPr>
        <p:grpSpPr>
          <a:xfrm>
            <a:off x="4378197" y="3500183"/>
            <a:ext cx="1678939" cy="1210945"/>
            <a:chOff x="4378197" y="3500183"/>
            <a:chExt cx="1678939" cy="1210945"/>
          </a:xfrm>
        </p:grpSpPr>
        <p:sp>
          <p:nvSpPr>
            <p:cNvPr id="31" name="object 31"/>
            <p:cNvSpPr/>
            <p:nvPr/>
          </p:nvSpPr>
          <p:spPr>
            <a:xfrm>
              <a:off x="4384547" y="4021836"/>
              <a:ext cx="1666239" cy="683260"/>
            </a:xfrm>
            <a:custGeom>
              <a:avLst/>
              <a:gdLst/>
              <a:ahLst/>
              <a:cxnLst/>
              <a:rect l="l" t="t" r="r" b="b"/>
              <a:pathLst>
                <a:path w="1666239" h="683260">
                  <a:moveTo>
                    <a:pt x="0" y="113791"/>
                  </a:moveTo>
                  <a:lnTo>
                    <a:pt x="8939" y="69490"/>
                  </a:lnTo>
                  <a:lnTo>
                    <a:pt x="33321" y="33321"/>
                  </a:lnTo>
                  <a:lnTo>
                    <a:pt x="69490" y="8939"/>
                  </a:lnTo>
                  <a:lnTo>
                    <a:pt x="113791" y="0"/>
                  </a:lnTo>
                  <a:lnTo>
                    <a:pt x="1551939" y="0"/>
                  </a:lnTo>
                  <a:lnTo>
                    <a:pt x="1596241" y="8939"/>
                  </a:lnTo>
                  <a:lnTo>
                    <a:pt x="1632410" y="33321"/>
                  </a:lnTo>
                  <a:lnTo>
                    <a:pt x="1656792" y="69490"/>
                  </a:lnTo>
                  <a:lnTo>
                    <a:pt x="1665731" y="113791"/>
                  </a:lnTo>
                  <a:lnTo>
                    <a:pt x="1665731" y="568959"/>
                  </a:lnTo>
                  <a:lnTo>
                    <a:pt x="1656792" y="613261"/>
                  </a:lnTo>
                  <a:lnTo>
                    <a:pt x="1632410" y="649430"/>
                  </a:lnTo>
                  <a:lnTo>
                    <a:pt x="1596241" y="673812"/>
                  </a:lnTo>
                  <a:lnTo>
                    <a:pt x="1551939" y="682751"/>
                  </a:lnTo>
                  <a:lnTo>
                    <a:pt x="113791" y="682751"/>
                  </a:lnTo>
                  <a:lnTo>
                    <a:pt x="69490" y="673812"/>
                  </a:lnTo>
                  <a:lnTo>
                    <a:pt x="33321" y="649430"/>
                  </a:lnTo>
                  <a:lnTo>
                    <a:pt x="8939" y="613261"/>
                  </a:lnTo>
                  <a:lnTo>
                    <a:pt x="0" y="568959"/>
                  </a:lnTo>
                  <a:lnTo>
                    <a:pt x="0" y="113791"/>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32" name="object 32"/>
            <p:cNvPicPr/>
            <p:nvPr/>
          </p:nvPicPr>
          <p:blipFill>
            <a:blip r:embed="rId20" cstate="screen">
              <a:extLst>
                <a:ext uri="{28A0092B-C50C-407E-A947-70E740481C1C}">
                  <a14:useLocalDpi xmlns:a14="http://schemas.microsoft.com/office/drawing/2010/main"/>
                </a:ext>
              </a:extLst>
            </a:blip>
            <a:stretch>
              <a:fillRect/>
            </a:stretch>
          </p:blipFill>
          <p:spPr>
            <a:xfrm>
              <a:off x="4720716" y="4261104"/>
              <a:ext cx="1061516" cy="179831"/>
            </a:xfrm>
            <a:prstGeom prst="rect">
              <a:avLst/>
            </a:prstGeom>
          </p:spPr>
        </p:pic>
        <p:pic>
          <p:nvPicPr>
            <p:cNvPr id="33" name="object 33"/>
            <p:cNvPicPr/>
            <p:nvPr/>
          </p:nvPicPr>
          <p:blipFill>
            <a:blip r:embed="rId21" cstate="screen">
              <a:extLst>
                <a:ext uri="{28A0092B-C50C-407E-A947-70E740481C1C}">
                  <a14:useLocalDpi xmlns:a14="http://schemas.microsoft.com/office/drawing/2010/main"/>
                </a:ext>
              </a:extLst>
            </a:blip>
            <a:stretch>
              <a:fillRect/>
            </a:stretch>
          </p:blipFill>
          <p:spPr>
            <a:xfrm>
              <a:off x="4912740" y="4430268"/>
              <a:ext cx="647395" cy="131063"/>
            </a:xfrm>
            <a:prstGeom prst="rect">
              <a:avLst/>
            </a:prstGeom>
          </p:spPr>
        </p:pic>
        <p:pic>
          <p:nvPicPr>
            <p:cNvPr id="34" name="object 34"/>
            <p:cNvPicPr/>
            <p:nvPr/>
          </p:nvPicPr>
          <p:blipFill>
            <a:blip r:embed="rId22" cstate="screen">
              <a:extLst>
                <a:ext uri="{28A0092B-C50C-407E-A947-70E740481C1C}">
                  <a14:useLocalDpi xmlns:a14="http://schemas.microsoft.com/office/drawing/2010/main"/>
                </a:ext>
              </a:extLst>
            </a:blip>
            <a:stretch>
              <a:fillRect/>
            </a:stretch>
          </p:blipFill>
          <p:spPr>
            <a:xfrm>
              <a:off x="4639944" y="4552188"/>
              <a:ext cx="1201204" cy="131063"/>
            </a:xfrm>
            <a:prstGeom prst="rect">
              <a:avLst/>
            </a:prstGeom>
          </p:spPr>
        </p:pic>
        <p:pic>
          <p:nvPicPr>
            <p:cNvPr id="35" name="object 35"/>
            <p:cNvPicPr/>
            <p:nvPr/>
          </p:nvPicPr>
          <p:blipFill>
            <a:blip r:embed="rId23" cstate="print"/>
            <a:stretch>
              <a:fillRect/>
            </a:stretch>
          </p:blipFill>
          <p:spPr>
            <a:xfrm>
              <a:off x="4802123" y="3509772"/>
              <a:ext cx="720851" cy="720851"/>
            </a:xfrm>
            <a:prstGeom prst="rect">
              <a:avLst/>
            </a:prstGeom>
          </p:spPr>
        </p:pic>
        <p:sp>
          <p:nvSpPr>
            <p:cNvPr id="36" name="object 36"/>
            <p:cNvSpPr/>
            <p:nvPr/>
          </p:nvSpPr>
          <p:spPr>
            <a:xfrm>
              <a:off x="4797297" y="3504946"/>
              <a:ext cx="730885" cy="730885"/>
            </a:xfrm>
            <a:custGeom>
              <a:avLst/>
              <a:gdLst/>
              <a:ahLst/>
              <a:cxnLst/>
              <a:rect l="l" t="t" r="r" b="b"/>
              <a:pathLst>
                <a:path w="730885" h="730885">
                  <a:moveTo>
                    <a:pt x="365251" y="0"/>
                  </a:moveTo>
                  <a:lnTo>
                    <a:pt x="438785" y="7492"/>
                  </a:lnTo>
                  <a:lnTo>
                    <a:pt x="507364" y="28701"/>
                  </a:lnTo>
                  <a:lnTo>
                    <a:pt x="569467" y="62483"/>
                  </a:lnTo>
                  <a:lnTo>
                    <a:pt x="623442" y="107060"/>
                  </a:lnTo>
                  <a:lnTo>
                    <a:pt x="668019" y="161035"/>
                  </a:lnTo>
                  <a:lnTo>
                    <a:pt x="701801" y="223138"/>
                  </a:lnTo>
                  <a:lnTo>
                    <a:pt x="723011" y="291718"/>
                  </a:lnTo>
                  <a:lnTo>
                    <a:pt x="730503" y="365251"/>
                  </a:lnTo>
                  <a:lnTo>
                    <a:pt x="728599" y="402589"/>
                  </a:lnTo>
                  <a:lnTo>
                    <a:pt x="713993" y="473836"/>
                  </a:lnTo>
                  <a:lnTo>
                    <a:pt x="686307" y="539368"/>
                  </a:lnTo>
                  <a:lnTo>
                    <a:pt x="647064" y="597534"/>
                  </a:lnTo>
                  <a:lnTo>
                    <a:pt x="597535" y="647064"/>
                  </a:lnTo>
                  <a:lnTo>
                    <a:pt x="539368" y="686307"/>
                  </a:lnTo>
                  <a:lnTo>
                    <a:pt x="473837" y="713993"/>
                  </a:lnTo>
                  <a:lnTo>
                    <a:pt x="402589" y="728598"/>
                  </a:lnTo>
                  <a:lnTo>
                    <a:pt x="365251" y="730503"/>
                  </a:lnTo>
                  <a:lnTo>
                    <a:pt x="327913" y="728598"/>
                  </a:lnTo>
                  <a:lnTo>
                    <a:pt x="256666" y="713993"/>
                  </a:lnTo>
                  <a:lnTo>
                    <a:pt x="191135" y="686307"/>
                  </a:lnTo>
                  <a:lnTo>
                    <a:pt x="132968" y="647064"/>
                  </a:lnTo>
                  <a:lnTo>
                    <a:pt x="83438" y="597534"/>
                  </a:lnTo>
                  <a:lnTo>
                    <a:pt x="44196" y="539368"/>
                  </a:lnTo>
                  <a:lnTo>
                    <a:pt x="16510" y="473836"/>
                  </a:lnTo>
                  <a:lnTo>
                    <a:pt x="1904" y="402589"/>
                  </a:lnTo>
                  <a:lnTo>
                    <a:pt x="0" y="365251"/>
                  </a:lnTo>
                  <a:lnTo>
                    <a:pt x="1904" y="327913"/>
                  </a:lnTo>
                  <a:lnTo>
                    <a:pt x="16510" y="256666"/>
                  </a:lnTo>
                  <a:lnTo>
                    <a:pt x="44196" y="191134"/>
                  </a:lnTo>
                  <a:lnTo>
                    <a:pt x="83438" y="132968"/>
                  </a:lnTo>
                  <a:lnTo>
                    <a:pt x="132968" y="83438"/>
                  </a:lnTo>
                  <a:lnTo>
                    <a:pt x="191135" y="44195"/>
                  </a:lnTo>
                  <a:lnTo>
                    <a:pt x="256666" y="16509"/>
                  </a:lnTo>
                  <a:lnTo>
                    <a:pt x="327913" y="1904"/>
                  </a:lnTo>
                  <a:lnTo>
                    <a:pt x="365251"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37" name="object 37"/>
          <p:cNvGrpSpPr/>
          <p:nvPr/>
        </p:nvGrpSpPr>
        <p:grpSpPr>
          <a:xfrm>
            <a:off x="854710" y="3513899"/>
            <a:ext cx="1680210" cy="1194435"/>
            <a:chOff x="854710" y="3513899"/>
            <a:chExt cx="1680210" cy="1194435"/>
          </a:xfrm>
        </p:grpSpPr>
        <p:sp>
          <p:nvSpPr>
            <p:cNvPr id="38" name="object 38"/>
            <p:cNvSpPr/>
            <p:nvPr/>
          </p:nvSpPr>
          <p:spPr>
            <a:xfrm>
              <a:off x="861060" y="4035551"/>
              <a:ext cx="1667510" cy="666115"/>
            </a:xfrm>
            <a:custGeom>
              <a:avLst/>
              <a:gdLst/>
              <a:ahLst/>
              <a:cxnLst/>
              <a:rect l="l" t="t" r="r" b="b"/>
              <a:pathLst>
                <a:path w="1667510" h="666114">
                  <a:moveTo>
                    <a:pt x="0" y="110998"/>
                  </a:moveTo>
                  <a:lnTo>
                    <a:pt x="8722" y="67776"/>
                  </a:lnTo>
                  <a:lnTo>
                    <a:pt x="32510" y="32496"/>
                  </a:lnTo>
                  <a:lnTo>
                    <a:pt x="67792" y="8717"/>
                  </a:lnTo>
                  <a:lnTo>
                    <a:pt x="110998" y="0"/>
                  </a:lnTo>
                  <a:lnTo>
                    <a:pt x="1556258" y="0"/>
                  </a:lnTo>
                  <a:lnTo>
                    <a:pt x="1599479" y="8717"/>
                  </a:lnTo>
                  <a:lnTo>
                    <a:pt x="1634759" y="32496"/>
                  </a:lnTo>
                  <a:lnTo>
                    <a:pt x="1658538" y="67776"/>
                  </a:lnTo>
                  <a:lnTo>
                    <a:pt x="1667256" y="110998"/>
                  </a:lnTo>
                  <a:lnTo>
                    <a:pt x="1667256" y="554990"/>
                  </a:lnTo>
                  <a:lnTo>
                    <a:pt x="1658538" y="598211"/>
                  </a:lnTo>
                  <a:lnTo>
                    <a:pt x="1634759" y="633491"/>
                  </a:lnTo>
                  <a:lnTo>
                    <a:pt x="1599479" y="657270"/>
                  </a:lnTo>
                  <a:lnTo>
                    <a:pt x="1556258" y="665988"/>
                  </a:lnTo>
                  <a:lnTo>
                    <a:pt x="110998" y="665988"/>
                  </a:lnTo>
                  <a:lnTo>
                    <a:pt x="67792" y="657270"/>
                  </a:lnTo>
                  <a:lnTo>
                    <a:pt x="32510" y="633491"/>
                  </a:lnTo>
                  <a:lnTo>
                    <a:pt x="8722" y="598211"/>
                  </a:lnTo>
                  <a:lnTo>
                    <a:pt x="0" y="554990"/>
                  </a:lnTo>
                  <a:lnTo>
                    <a:pt x="0" y="110998"/>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39" name="object 39"/>
            <p:cNvPicPr/>
            <p:nvPr/>
          </p:nvPicPr>
          <p:blipFill>
            <a:blip r:embed="rId24" cstate="screen">
              <a:extLst>
                <a:ext uri="{28A0092B-C50C-407E-A947-70E740481C1C}">
                  <a14:useLocalDpi xmlns:a14="http://schemas.microsoft.com/office/drawing/2010/main"/>
                </a:ext>
              </a:extLst>
            </a:blip>
            <a:stretch>
              <a:fillRect/>
            </a:stretch>
          </p:blipFill>
          <p:spPr>
            <a:xfrm>
              <a:off x="1285367" y="4203445"/>
              <a:ext cx="914399" cy="179831"/>
            </a:xfrm>
            <a:prstGeom prst="rect">
              <a:avLst/>
            </a:prstGeom>
          </p:spPr>
        </p:pic>
        <p:pic>
          <p:nvPicPr>
            <p:cNvPr id="40" name="object 40"/>
            <p:cNvPicPr/>
            <p:nvPr/>
          </p:nvPicPr>
          <p:blipFill>
            <a:blip r:embed="rId25" cstate="screen">
              <a:extLst>
                <a:ext uri="{28A0092B-C50C-407E-A947-70E740481C1C}">
                  <a14:useLocalDpi xmlns:a14="http://schemas.microsoft.com/office/drawing/2010/main"/>
                </a:ext>
              </a:extLst>
            </a:blip>
            <a:stretch>
              <a:fillRect/>
            </a:stretch>
          </p:blipFill>
          <p:spPr>
            <a:xfrm>
              <a:off x="1347851" y="4372609"/>
              <a:ext cx="727519" cy="131063"/>
            </a:xfrm>
            <a:prstGeom prst="rect">
              <a:avLst/>
            </a:prstGeom>
          </p:spPr>
        </p:pic>
        <p:pic>
          <p:nvPicPr>
            <p:cNvPr id="41" name="object 41"/>
            <p:cNvPicPr/>
            <p:nvPr/>
          </p:nvPicPr>
          <p:blipFill>
            <a:blip r:embed="rId26" cstate="screen">
              <a:extLst>
                <a:ext uri="{28A0092B-C50C-407E-A947-70E740481C1C}">
                  <a14:useLocalDpi xmlns:a14="http://schemas.microsoft.com/office/drawing/2010/main"/>
                </a:ext>
              </a:extLst>
            </a:blip>
            <a:stretch>
              <a:fillRect/>
            </a:stretch>
          </p:blipFill>
          <p:spPr>
            <a:xfrm>
              <a:off x="1157325" y="4494529"/>
              <a:ext cx="1115809" cy="131063"/>
            </a:xfrm>
            <a:prstGeom prst="rect">
              <a:avLst/>
            </a:prstGeom>
          </p:spPr>
        </p:pic>
        <p:pic>
          <p:nvPicPr>
            <p:cNvPr id="42" name="object 42"/>
            <p:cNvPicPr/>
            <p:nvPr/>
          </p:nvPicPr>
          <p:blipFill>
            <a:blip r:embed="rId27" cstate="print"/>
            <a:stretch>
              <a:fillRect/>
            </a:stretch>
          </p:blipFill>
          <p:spPr>
            <a:xfrm>
              <a:off x="1295400" y="3523487"/>
              <a:ext cx="720851" cy="719328"/>
            </a:xfrm>
            <a:prstGeom prst="rect">
              <a:avLst/>
            </a:prstGeom>
          </p:spPr>
        </p:pic>
        <p:sp>
          <p:nvSpPr>
            <p:cNvPr id="43" name="object 43"/>
            <p:cNvSpPr/>
            <p:nvPr/>
          </p:nvSpPr>
          <p:spPr>
            <a:xfrm>
              <a:off x="1290574" y="3518661"/>
              <a:ext cx="730885" cy="728980"/>
            </a:xfrm>
            <a:custGeom>
              <a:avLst/>
              <a:gdLst/>
              <a:ahLst/>
              <a:cxnLst/>
              <a:rect l="l" t="t" r="r" b="b"/>
              <a:pathLst>
                <a:path w="730885" h="728979">
                  <a:moveTo>
                    <a:pt x="365251" y="0"/>
                  </a:moveTo>
                  <a:lnTo>
                    <a:pt x="438784" y="7492"/>
                  </a:lnTo>
                  <a:lnTo>
                    <a:pt x="507364" y="28701"/>
                  </a:lnTo>
                  <a:lnTo>
                    <a:pt x="569468" y="62357"/>
                  </a:lnTo>
                  <a:lnTo>
                    <a:pt x="623443" y="106806"/>
                  </a:lnTo>
                  <a:lnTo>
                    <a:pt x="668019" y="160781"/>
                  </a:lnTo>
                  <a:lnTo>
                    <a:pt x="701801" y="222631"/>
                  </a:lnTo>
                  <a:lnTo>
                    <a:pt x="723011" y="291083"/>
                  </a:lnTo>
                  <a:lnTo>
                    <a:pt x="730503" y="364489"/>
                  </a:lnTo>
                  <a:lnTo>
                    <a:pt x="728599" y="401700"/>
                  </a:lnTo>
                  <a:lnTo>
                    <a:pt x="713994" y="472820"/>
                  </a:lnTo>
                  <a:lnTo>
                    <a:pt x="686307" y="538226"/>
                  </a:lnTo>
                  <a:lnTo>
                    <a:pt x="647064" y="596264"/>
                  </a:lnTo>
                  <a:lnTo>
                    <a:pt x="597534" y="645668"/>
                  </a:lnTo>
                  <a:lnTo>
                    <a:pt x="539369" y="684911"/>
                  </a:lnTo>
                  <a:lnTo>
                    <a:pt x="473837" y="712596"/>
                  </a:lnTo>
                  <a:lnTo>
                    <a:pt x="402589" y="727075"/>
                  </a:lnTo>
                  <a:lnTo>
                    <a:pt x="365251" y="728980"/>
                  </a:lnTo>
                  <a:lnTo>
                    <a:pt x="327913" y="727075"/>
                  </a:lnTo>
                  <a:lnTo>
                    <a:pt x="256666" y="712596"/>
                  </a:lnTo>
                  <a:lnTo>
                    <a:pt x="191134" y="684911"/>
                  </a:lnTo>
                  <a:lnTo>
                    <a:pt x="132969" y="645668"/>
                  </a:lnTo>
                  <a:lnTo>
                    <a:pt x="83438" y="596264"/>
                  </a:lnTo>
                  <a:lnTo>
                    <a:pt x="44195" y="538226"/>
                  </a:lnTo>
                  <a:lnTo>
                    <a:pt x="16509" y="472820"/>
                  </a:lnTo>
                  <a:lnTo>
                    <a:pt x="1904" y="401700"/>
                  </a:lnTo>
                  <a:lnTo>
                    <a:pt x="0" y="364489"/>
                  </a:lnTo>
                  <a:lnTo>
                    <a:pt x="1904" y="327279"/>
                  </a:lnTo>
                  <a:lnTo>
                    <a:pt x="16509" y="256158"/>
                  </a:lnTo>
                  <a:lnTo>
                    <a:pt x="44195" y="190754"/>
                  </a:lnTo>
                  <a:lnTo>
                    <a:pt x="83438" y="132714"/>
                  </a:lnTo>
                  <a:lnTo>
                    <a:pt x="132969" y="83312"/>
                  </a:lnTo>
                  <a:lnTo>
                    <a:pt x="191134" y="44068"/>
                  </a:lnTo>
                  <a:lnTo>
                    <a:pt x="256666" y="16383"/>
                  </a:lnTo>
                  <a:lnTo>
                    <a:pt x="327913" y="1904"/>
                  </a:lnTo>
                  <a:lnTo>
                    <a:pt x="365251"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44" name="object 44"/>
          <p:cNvGrpSpPr/>
          <p:nvPr/>
        </p:nvGrpSpPr>
        <p:grpSpPr>
          <a:xfrm>
            <a:off x="9660381" y="3466655"/>
            <a:ext cx="1680210" cy="1244600"/>
            <a:chOff x="9660381" y="3466655"/>
            <a:chExt cx="1680210" cy="1244600"/>
          </a:xfrm>
        </p:grpSpPr>
        <p:sp>
          <p:nvSpPr>
            <p:cNvPr id="45" name="object 45"/>
            <p:cNvSpPr/>
            <p:nvPr/>
          </p:nvSpPr>
          <p:spPr>
            <a:xfrm>
              <a:off x="9666731" y="4020311"/>
              <a:ext cx="1667510" cy="684530"/>
            </a:xfrm>
            <a:custGeom>
              <a:avLst/>
              <a:gdLst/>
              <a:ahLst/>
              <a:cxnLst/>
              <a:rect l="l" t="t" r="r" b="b"/>
              <a:pathLst>
                <a:path w="1667509" h="684529">
                  <a:moveTo>
                    <a:pt x="0" y="114045"/>
                  </a:moveTo>
                  <a:lnTo>
                    <a:pt x="8961" y="69651"/>
                  </a:lnTo>
                  <a:lnTo>
                    <a:pt x="33400" y="33400"/>
                  </a:lnTo>
                  <a:lnTo>
                    <a:pt x="69651" y="8961"/>
                  </a:lnTo>
                  <a:lnTo>
                    <a:pt x="114046" y="0"/>
                  </a:lnTo>
                  <a:lnTo>
                    <a:pt x="1553210" y="0"/>
                  </a:lnTo>
                  <a:lnTo>
                    <a:pt x="1597604" y="8961"/>
                  </a:lnTo>
                  <a:lnTo>
                    <a:pt x="1633855" y="33400"/>
                  </a:lnTo>
                  <a:lnTo>
                    <a:pt x="1658294" y="69651"/>
                  </a:lnTo>
                  <a:lnTo>
                    <a:pt x="1667256" y="114045"/>
                  </a:lnTo>
                  <a:lnTo>
                    <a:pt x="1667256" y="570230"/>
                  </a:lnTo>
                  <a:lnTo>
                    <a:pt x="1658294" y="614624"/>
                  </a:lnTo>
                  <a:lnTo>
                    <a:pt x="1633854" y="650875"/>
                  </a:lnTo>
                  <a:lnTo>
                    <a:pt x="1597604" y="675314"/>
                  </a:lnTo>
                  <a:lnTo>
                    <a:pt x="1553210" y="684276"/>
                  </a:lnTo>
                  <a:lnTo>
                    <a:pt x="114046" y="684276"/>
                  </a:lnTo>
                  <a:lnTo>
                    <a:pt x="69651" y="675314"/>
                  </a:lnTo>
                  <a:lnTo>
                    <a:pt x="33400" y="650875"/>
                  </a:lnTo>
                  <a:lnTo>
                    <a:pt x="8961" y="614624"/>
                  </a:lnTo>
                  <a:lnTo>
                    <a:pt x="0" y="570230"/>
                  </a:lnTo>
                  <a:lnTo>
                    <a:pt x="0" y="114045"/>
                  </a:lnTo>
                  <a:close/>
                </a:path>
              </a:pathLst>
            </a:custGeom>
            <a:ln w="12699">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6" name="object 46"/>
            <p:cNvPicPr/>
            <p:nvPr/>
          </p:nvPicPr>
          <p:blipFill>
            <a:blip r:embed="rId28" cstate="screen">
              <a:extLst>
                <a:ext uri="{28A0092B-C50C-407E-A947-70E740481C1C}">
                  <a14:useLocalDpi xmlns:a14="http://schemas.microsoft.com/office/drawing/2010/main"/>
                </a:ext>
              </a:extLst>
            </a:blip>
            <a:stretch>
              <a:fillRect/>
            </a:stretch>
          </p:blipFill>
          <p:spPr>
            <a:xfrm>
              <a:off x="10073385" y="4258944"/>
              <a:ext cx="934351" cy="179831"/>
            </a:xfrm>
            <a:prstGeom prst="rect">
              <a:avLst/>
            </a:prstGeom>
          </p:spPr>
        </p:pic>
        <p:pic>
          <p:nvPicPr>
            <p:cNvPr id="47" name="object 47"/>
            <p:cNvPicPr/>
            <p:nvPr/>
          </p:nvPicPr>
          <p:blipFill>
            <a:blip r:embed="rId29" cstate="screen">
              <a:extLst>
                <a:ext uri="{28A0092B-C50C-407E-A947-70E740481C1C}">
                  <a14:useLocalDpi xmlns:a14="http://schemas.microsoft.com/office/drawing/2010/main"/>
                </a:ext>
              </a:extLst>
            </a:blip>
            <a:stretch>
              <a:fillRect/>
            </a:stretch>
          </p:blipFill>
          <p:spPr>
            <a:xfrm>
              <a:off x="9855453" y="4428108"/>
              <a:ext cx="1334338" cy="131063"/>
            </a:xfrm>
            <a:prstGeom prst="rect">
              <a:avLst/>
            </a:prstGeom>
          </p:spPr>
        </p:pic>
        <p:pic>
          <p:nvPicPr>
            <p:cNvPr id="48" name="object 48"/>
            <p:cNvPicPr/>
            <p:nvPr/>
          </p:nvPicPr>
          <p:blipFill>
            <a:blip r:embed="rId30" cstate="screen">
              <a:extLst>
                <a:ext uri="{28A0092B-C50C-407E-A947-70E740481C1C}">
                  <a14:useLocalDpi xmlns:a14="http://schemas.microsoft.com/office/drawing/2010/main"/>
                </a:ext>
              </a:extLst>
            </a:blip>
            <a:stretch>
              <a:fillRect/>
            </a:stretch>
          </p:blipFill>
          <p:spPr>
            <a:xfrm>
              <a:off x="9949941" y="4550028"/>
              <a:ext cx="1151343" cy="131063"/>
            </a:xfrm>
            <a:prstGeom prst="rect">
              <a:avLst/>
            </a:prstGeom>
          </p:spPr>
        </p:pic>
        <p:pic>
          <p:nvPicPr>
            <p:cNvPr id="49" name="object 49"/>
            <p:cNvPicPr/>
            <p:nvPr/>
          </p:nvPicPr>
          <p:blipFill>
            <a:blip r:embed="rId31" cstate="screen">
              <a:extLst>
                <a:ext uri="{28A0092B-C50C-407E-A947-70E740481C1C}">
                  <a14:useLocalDpi xmlns:a14="http://schemas.microsoft.com/office/drawing/2010/main"/>
                </a:ext>
              </a:extLst>
            </a:blip>
            <a:stretch>
              <a:fillRect/>
            </a:stretch>
          </p:blipFill>
          <p:spPr>
            <a:xfrm>
              <a:off x="10180319" y="3476243"/>
              <a:ext cx="716279" cy="708659"/>
            </a:xfrm>
            <a:prstGeom prst="rect">
              <a:avLst/>
            </a:prstGeom>
          </p:spPr>
        </p:pic>
        <p:sp>
          <p:nvSpPr>
            <p:cNvPr id="50" name="object 50"/>
            <p:cNvSpPr/>
            <p:nvPr/>
          </p:nvSpPr>
          <p:spPr>
            <a:xfrm>
              <a:off x="10175493" y="3471417"/>
              <a:ext cx="726440" cy="718820"/>
            </a:xfrm>
            <a:custGeom>
              <a:avLst/>
              <a:gdLst/>
              <a:ahLst/>
              <a:cxnLst/>
              <a:rect l="l" t="t" r="r" b="b"/>
              <a:pathLst>
                <a:path w="726440" h="718820">
                  <a:moveTo>
                    <a:pt x="362965" y="0"/>
                  </a:moveTo>
                  <a:lnTo>
                    <a:pt x="436117" y="7366"/>
                  </a:lnTo>
                  <a:lnTo>
                    <a:pt x="504189" y="28321"/>
                  </a:lnTo>
                  <a:lnTo>
                    <a:pt x="565911" y="61341"/>
                  </a:lnTo>
                  <a:lnTo>
                    <a:pt x="619505" y="105156"/>
                  </a:lnTo>
                  <a:lnTo>
                    <a:pt x="663828" y="158369"/>
                  </a:lnTo>
                  <a:lnTo>
                    <a:pt x="697356" y="219329"/>
                  </a:lnTo>
                  <a:lnTo>
                    <a:pt x="718438" y="286766"/>
                  </a:lnTo>
                  <a:lnTo>
                    <a:pt x="725931" y="359156"/>
                  </a:lnTo>
                  <a:lnTo>
                    <a:pt x="724026" y="395859"/>
                  </a:lnTo>
                  <a:lnTo>
                    <a:pt x="709549" y="465963"/>
                  </a:lnTo>
                  <a:lnTo>
                    <a:pt x="682116" y="530352"/>
                  </a:lnTo>
                  <a:lnTo>
                    <a:pt x="643001" y="587629"/>
                  </a:lnTo>
                  <a:lnTo>
                    <a:pt x="593851" y="636270"/>
                  </a:lnTo>
                  <a:lnTo>
                    <a:pt x="535939" y="674878"/>
                  </a:lnTo>
                  <a:lnTo>
                    <a:pt x="470915" y="702056"/>
                  </a:lnTo>
                  <a:lnTo>
                    <a:pt x="400050" y="716407"/>
                  </a:lnTo>
                  <a:lnTo>
                    <a:pt x="362965" y="718312"/>
                  </a:lnTo>
                  <a:lnTo>
                    <a:pt x="325881" y="716407"/>
                  </a:lnTo>
                  <a:lnTo>
                    <a:pt x="255015" y="702056"/>
                  </a:lnTo>
                  <a:lnTo>
                    <a:pt x="189991" y="674878"/>
                  </a:lnTo>
                  <a:lnTo>
                    <a:pt x="132079" y="636270"/>
                  </a:lnTo>
                  <a:lnTo>
                    <a:pt x="82930" y="587629"/>
                  </a:lnTo>
                  <a:lnTo>
                    <a:pt x="43814" y="530352"/>
                  </a:lnTo>
                  <a:lnTo>
                    <a:pt x="16382" y="465963"/>
                  </a:lnTo>
                  <a:lnTo>
                    <a:pt x="1904" y="395859"/>
                  </a:lnTo>
                  <a:lnTo>
                    <a:pt x="0" y="359156"/>
                  </a:lnTo>
                  <a:lnTo>
                    <a:pt x="1904" y="322453"/>
                  </a:lnTo>
                  <a:lnTo>
                    <a:pt x="16382" y="252349"/>
                  </a:lnTo>
                  <a:lnTo>
                    <a:pt x="43814" y="187960"/>
                  </a:lnTo>
                  <a:lnTo>
                    <a:pt x="82930" y="130683"/>
                  </a:lnTo>
                  <a:lnTo>
                    <a:pt x="132079" y="82042"/>
                  </a:lnTo>
                  <a:lnTo>
                    <a:pt x="189991" y="43434"/>
                  </a:lnTo>
                  <a:lnTo>
                    <a:pt x="255015" y="16256"/>
                  </a:lnTo>
                  <a:lnTo>
                    <a:pt x="325881" y="1905"/>
                  </a:lnTo>
                  <a:lnTo>
                    <a:pt x="362965"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51" name="object 51"/>
          <p:cNvGrpSpPr/>
          <p:nvPr/>
        </p:nvGrpSpPr>
        <p:grpSpPr>
          <a:xfrm>
            <a:off x="3055366" y="4804727"/>
            <a:ext cx="1680210" cy="1223010"/>
            <a:chOff x="3055366" y="4804727"/>
            <a:chExt cx="1680210" cy="1223010"/>
          </a:xfrm>
        </p:grpSpPr>
        <p:sp>
          <p:nvSpPr>
            <p:cNvPr id="52" name="object 52"/>
            <p:cNvSpPr/>
            <p:nvPr/>
          </p:nvSpPr>
          <p:spPr>
            <a:xfrm>
              <a:off x="3061716" y="5317236"/>
              <a:ext cx="1667510" cy="704215"/>
            </a:xfrm>
            <a:custGeom>
              <a:avLst/>
              <a:gdLst/>
              <a:ahLst/>
              <a:cxnLst/>
              <a:rect l="l" t="t" r="r" b="b"/>
              <a:pathLst>
                <a:path w="1667510" h="704214">
                  <a:moveTo>
                    <a:pt x="0" y="117347"/>
                  </a:moveTo>
                  <a:lnTo>
                    <a:pt x="9227" y="71687"/>
                  </a:lnTo>
                  <a:lnTo>
                    <a:pt x="34385" y="34385"/>
                  </a:lnTo>
                  <a:lnTo>
                    <a:pt x="71687" y="9227"/>
                  </a:lnTo>
                  <a:lnTo>
                    <a:pt x="117347" y="0"/>
                  </a:lnTo>
                  <a:lnTo>
                    <a:pt x="1549908" y="0"/>
                  </a:lnTo>
                  <a:lnTo>
                    <a:pt x="1595568" y="9227"/>
                  </a:lnTo>
                  <a:lnTo>
                    <a:pt x="1632870" y="34385"/>
                  </a:lnTo>
                  <a:lnTo>
                    <a:pt x="1658028" y="71687"/>
                  </a:lnTo>
                  <a:lnTo>
                    <a:pt x="1667256" y="117347"/>
                  </a:lnTo>
                  <a:lnTo>
                    <a:pt x="1667256" y="586739"/>
                  </a:lnTo>
                  <a:lnTo>
                    <a:pt x="1658028" y="632416"/>
                  </a:lnTo>
                  <a:lnTo>
                    <a:pt x="1632870" y="669717"/>
                  </a:lnTo>
                  <a:lnTo>
                    <a:pt x="1595568" y="694866"/>
                  </a:lnTo>
                  <a:lnTo>
                    <a:pt x="1549908" y="704088"/>
                  </a:lnTo>
                  <a:lnTo>
                    <a:pt x="117347" y="704088"/>
                  </a:lnTo>
                  <a:lnTo>
                    <a:pt x="71687" y="694866"/>
                  </a:lnTo>
                  <a:lnTo>
                    <a:pt x="34385" y="669717"/>
                  </a:lnTo>
                  <a:lnTo>
                    <a:pt x="9227" y="632416"/>
                  </a:lnTo>
                  <a:lnTo>
                    <a:pt x="0" y="586739"/>
                  </a:lnTo>
                  <a:lnTo>
                    <a:pt x="0" y="117347"/>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53" name="object 53"/>
            <p:cNvPicPr/>
            <p:nvPr/>
          </p:nvPicPr>
          <p:blipFill>
            <a:blip r:embed="rId32" cstate="screen">
              <a:extLst>
                <a:ext uri="{28A0092B-C50C-407E-A947-70E740481C1C}">
                  <a14:useLocalDpi xmlns:a14="http://schemas.microsoft.com/office/drawing/2010/main"/>
                </a:ext>
              </a:extLst>
            </a:blip>
            <a:stretch>
              <a:fillRect/>
            </a:stretch>
          </p:blipFill>
          <p:spPr>
            <a:xfrm>
              <a:off x="3515614" y="5556808"/>
              <a:ext cx="823849" cy="179831"/>
            </a:xfrm>
            <a:prstGeom prst="rect">
              <a:avLst/>
            </a:prstGeom>
          </p:spPr>
        </p:pic>
        <p:pic>
          <p:nvPicPr>
            <p:cNvPr id="54" name="object 54"/>
            <p:cNvPicPr/>
            <p:nvPr/>
          </p:nvPicPr>
          <p:blipFill>
            <a:blip r:embed="rId33" cstate="screen">
              <a:extLst>
                <a:ext uri="{28A0092B-C50C-407E-A947-70E740481C1C}">
                  <a14:useLocalDpi xmlns:a14="http://schemas.microsoft.com/office/drawing/2010/main"/>
                </a:ext>
              </a:extLst>
            </a:blip>
            <a:stretch>
              <a:fillRect/>
            </a:stretch>
          </p:blipFill>
          <p:spPr>
            <a:xfrm>
              <a:off x="3265678" y="5725668"/>
              <a:ext cx="1305394" cy="131368"/>
            </a:xfrm>
            <a:prstGeom prst="rect">
              <a:avLst/>
            </a:prstGeom>
          </p:spPr>
        </p:pic>
        <p:pic>
          <p:nvPicPr>
            <p:cNvPr id="55" name="object 55"/>
            <p:cNvPicPr/>
            <p:nvPr/>
          </p:nvPicPr>
          <p:blipFill>
            <a:blip r:embed="rId34" cstate="screen">
              <a:extLst>
                <a:ext uri="{28A0092B-C50C-407E-A947-70E740481C1C}">
                  <a14:useLocalDpi xmlns:a14="http://schemas.microsoft.com/office/drawing/2010/main"/>
                </a:ext>
              </a:extLst>
            </a:blip>
            <a:stretch>
              <a:fillRect/>
            </a:stretch>
          </p:blipFill>
          <p:spPr>
            <a:xfrm>
              <a:off x="3381502" y="5848197"/>
              <a:ext cx="1071562" cy="131064"/>
            </a:xfrm>
            <a:prstGeom prst="rect">
              <a:avLst/>
            </a:prstGeom>
          </p:spPr>
        </p:pic>
        <p:pic>
          <p:nvPicPr>
            <p:cNvPr id="56" name="object 56"/>
            <p:cNvPicPr/>
            <p:nvPr/>
          </p:nvPicPr>
          <p:blipFill>
            <a:blip r:embed="rId35" cstate="print"/>
            <a:stretch>
              <a:fillRect/>
            </a:stretch>
          </p:blipFill>
          <p:spPr>
            <a:xfrm>
              <a:off x="3544824" y="4814316"/>
              <a:ext cx="716279" cy="708659"/>
            </a:xfrm>
            <a:prstGeom prst="rect">
              <a:avLst/>
            </a:prstGeom>
          </p:spPr>
        </p:pic>
        <p:sp>
          <p:nvSpPr>
            <p:cNvPr id="57" name="object 57"/>
            <p:cNvSpPr/>
            <p:nvPr/>
          </p:nvSpPr>
          <p:spPr>
            <a:xfrm>
              <a:off x="3539998" y="4809490"/>
              <a:ext cx="726440" cy="718820"/>
            </a:xfrm>
            <a:custGeom>
              <a:avLst/>
              <a:gdLst/>
              <a:ahLst/>
              <a:cxnLst/>
              <a:rect l="l" t="t" r="r" b="b"/>
              <a:pathLst>
                <a:path w="726439" h="718820">
                  <a:moveTo>
                    <a:pt x="362965" y="0"/>
                  </a:moveTo>
                  <a:lnTo>
                    <a:pt x="436117" y="7366"/>
                  </a:lnTo>
                  <a:lnTo>
                    <a:pt x="504189" y="28321"/>
                  </a:lnTo>
                  <a:lnTo>
                    <a:pt x="565912" y="61341"/>
                  </a:lnTo>
                  <a:lnTo>
                    <a:pt x="619505" y="105156"/>
                  </a:lnTo>
                  <a:lnTo>
                    <a:pt x="663828" y="158369"/>
                  </a:lnTo>
                  <a:lnTo>
                    <a:pt x="697356" y="219329"/>
                  </a:lnTo>
                  <a:lnTo>
                    <a:pt x="718438" y="286766"/>
                  </a:lnTo>
                  <a:lnTo>
                    <a:pt x="725931" y="359156"/>
                  </a:lnTo>
                  <a:lnTo>
                    <a:pt x="724026" y="395859"/>
                  </a:lnTo>
                  <a:lnTo>
                    <a:pt x="709549" y="465963"/>
                  </a:lnTo>
                  <a:lnTo>
                    <a:pt x="682116" y="530352"/>
                  </a:lnTo>
                  <a:lnTo>
                    <a:pt x="643001" y="587629"/>
                  </a:lnTo>
                  <a:lnTo>
                    <a:pt x="593851" y="636270"/>
                  </a:lnTo>
                  <a:lnTo>
                    <a:pt x="535939" y="674878"/>
                  </a:lnTo>
                  <a:lnTo>
                    <a:pt x="470915" y="702056"/>
                  </a:lnTo>
                  <a:lnTo>
                    <a:pt x="400050" y="716407"/>
                  </a:lnTo>
                  <a:lnTo>
                    <a:pt x="362965" y="718312"/>
                  </a:lnTo>
                  <a:lnTo>
                    <a:pt x="325881" y="716407"/>
                  </a:lnTo>
                  <a:lnTo>
                    <a:pt x="255015" y="702056"/>
                  </a:lnTo>
                  <a:lnTo>
                    <a:pt x="189991" y="674878"/>
                  </a:lnTo>
                  <a:lnTo>
                    <a:pt x="132079" y="636270"/>
                  </a:lnTo>
                  <a:lnTo>
                    <a:pt x="82930" y="587629"/>
                  </a:lnTo>
                  <a:lnTo>
                    <a:pt x="43814" y="530352"/>
                  </a:lnTo>
                  <a:lnTo>
                    <a:pt x="16382" y="465963"/>
                  </a:lnTo>
                  <a:lnTo>
                    <a:pt x="1904" y="395859"/>
                  </a:lnTo>
                  <a:lnTo>
                    <a:pt x="0" y="359156"/>
                  </a:lnTo>
                  <a:lnTo>
                    <a:pt x="1904" y="322453"/>
                  </a:lnTo>
                  <a:lnTo>
                    <a:pt x="16382" y="252349"/>
                  </a:lnTo>
                  <a:lnTo>
                    <a:pt x="43814" y="187960"/>
                  </a:lnTo>
                  <a:lnTo>
                    <a:pt x="82930" y="130683"/>
                  </a:lnTo>
                  <a:lnTo>
                    <a:pt x="132079" y="82042"/>
                  </a:lnTo>
                  <a:lnTo>
                    <a:pt x="189991" y="43434"/>
                  </a:lnTo>
                  <a:lnTo>
                    <a:pt x="255015" y="16256"/>
                  </a:lnTo>
                  <a:lnTo>
                    <a:pt x="325881" y="1905"/>
                  </a:lnTo>
                  <a:lnTo>
                    <a:pt x="362965"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58" name="object 58"/>
          <p:cNvGrpSpPr/>
          <p:nvPr/>
        </p:nvGrpSpPr>
        <p:grpSpPr>
          <a:xfrm>
            <a:off x="847330" y="4801679"/>
            <a:ext cx="10535920" cy="1666239"/>
            <a:chOff x="847330" y="4801679"/>
            <a:chExt cx="10535920" cy="1666239"/>
          </a:xfrm>
        </p:grpSpPr>
        <p:pic>
          <p:nvPicPr>
            <p:cNvPr id="59" name="object 59"/>
            <p:cNvPicPr/>
            <p:nvPr/>
          </p:nvPicPr>
          <p:blipFill>
            <a:blip r:embed="rId36" cstate="screen">
              <a:extLst>
                <a:ext uri="{28A0092B-C50C-407E-A947-70E740481C1C}">
                  <a14:useLocalDpi xmlns:a14="http://schemas.microsoft.com/office/drawing/2010/main"/>
                </a:ext>
              </a:extLst>
            </a:blip>
            <a:stretch>
              <a:fillRect/>
            </a:stretch>
          </p:blipFill>
          <p:spPr>
            <a:xfrm>
              <a:off x="847330" y="6078770"/>
              <a:ext cx="10535438" cy="320802"/>
            </a:xfrm>
            <a:prstGeom prst="rect">
              <a:avLst/>
            </a:prstGeom>
          </p:spPr>
        </p:pic>
        <p:pic>
          <p:nvPicPr>
            <p:cNvPr id="60" name="object 60"/>
            <p:cNvPicPr/>
            <p:nvPr/>
          </p:nvPicPr>
          <p:blipFill>
            <a:blip r:embed="rId37" cstate="print"/>
            <a:stretch>
              <a:fillRect/>
            </a:stretch>
          </p:blipFill>
          <p:spPr>
            <a:xfrm>
              <a:off x="4520184" y="6045707"/>
              <a:ext cx="3186684" cy="422186"/>
            </a:xfrm>
            <a:prstGeom prst="rect">
              <a:avLst/>
            </a:prstGeom>
          </p:spPr>
        </p:pic>
        <p:sp>
          <p:nvSpPr>
            <p:cNvPr id="61" name="object 61"/>
            <p:cNvSpPr/>
            <p:nvPr/>
          </p:nvSpPr>
          <p:spPr>
            <a:xfrm>
              <a:off x="861060" y="6092951"/>
              <a:ext cx="10457815" cy="233679"/>
            </a:xfrm>
            <a:custGeom>
              <a:avLst/>
              <a:gdLst/>
              <a:ahLst/>
              <a:cxnLst/>
              <a:rect l="l" t="t" r="r" b="b"/>
              <a:pathLst>
                <a:path w="10457815" h="233679">
                  <a:moveTo>
                    <a:pt x="10418826" y="0"/>
                  </a:moveTo>
                  <a:lnTo>
                    <a:pt x="38862" y="0"/>
                  </a:lnTo>
                  <a:lnTo>
                    <a:pt x="23735" y="3053"/>
                  </a:lnTo>
                  <a:lnTo>
                    <a:pt x="11382" y="11382"/>
                  </a:lnTo>
                  <a:lnTo>
                    <a:pt x="3053" y="23735"/>
                  </a:lnTo>
                  <a:lnTo>
                    <a:pt x="0" y="38862"/>
                  </a:lnTo>
                  <a:lnTo>
                    <a:pt x="0" y="194310"/>
                  </a:lnTo>
                  <a:lnTo>
                    <a:pt x="3053" y="209436"/>
                  </a:lnTo>
                  <a:lnTo>
                    <a:pt x="11382" y="221789"/>
                  </a:lnTo>
                  <a:lnTo>
                    <a:pt x="23735" y="230118"/>
                  </a:lnTo>
                  <a:lnTo>
                    <a:pt x="38862" y="233172"/>
                  </a:lnTo>
                  <a:lnTo>
                    <a:pt x="10418826" y="233172"/>
                  </a:lnTo>
                  <a:lnTo>
                    <a:pt x="10433952" y="230118"/>
                  </a:lnTo>
                  <a:lnTo>
                    <a:pt x="10446305" y="221789"/>
                  </a:lnTo>
                  <a:lnTo>
                    <a:pt x="10454634" y="209436"/>
                  </a:lnTo>
                  <a:lnTo>
                    <a:pt x="10457688" y="194310"/>
                  </a:lnTo>
                  <a:lnTo>
                    <a:pt x="10457688" y="38862"/>
                  </a:lnTo>
                  <a:lnTo>
                    <a:pt x="10454634" y="23735"/>
                  </a:lnTo>
                  <a:lnTo>
                    <a:pt x="10446305" y="11382"/>
                  </a:lnTo>
                  <a:lnTo>
                    <a:pt x="10433952" y="3053"/>
                  </a:lnTo>
                  <a:lnTo>
                    <a:pt x="10418826"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62" name="object 62"/>
            <p:cNvSpPr/>
            <p:nvPr/>
          </p:nvSpPr>
          <p:spPr>
            <a:xfrm>
              <a:off x="861060" y="6092951"/>
              <a:ext cx="10457815" cy="233679"/>
            </a:xfrm>
            <a:custGeom>
              <a:avLst/>
              <a:gdLst/>
              <a:ahLst/>
              <a:cxnLst/>
              <a:rect l="l" t="t" r="r" b="b"/>
              <a:pathLst>
                <a:path w="10457815" h="233679">
                  <a:moveTo>
                    <a:pt x="0" y="38862"/>
                  </a:moveTo>
                  <a:lnTo>
                    <a:pt x="3053" y="23735"/>
                  </a:lnTo>
                  <a:lnTo>
                    <a:pt x="11382" y="11382"/>
                  </a:lnTo>
                  <a:lnTo>
                    <a:pt x="23735" y="3053"/>
                  </a:lnTo>
                  <a:lnTo>
                    <a:pt x="38862" y="0"/>
                  </a:lnTo>
                  <a:lnTo>
                    <a:pt x="10418826" y="0"/>
                  </a:lnTo>
                  <a:lnTo>
                    <a:pt x="10433952" y="3053"/>
                  </a:lnTo>
                  <a:lnTo>
                    <a:pt x="10446305" y="11382"/>
                  </a:lnTo>
                  <a:lnTo>
                    <a:pt x="10454634" y="23735"/>
                  </a:lnTo>
                  <a:lnTo>
                    <a:pt x="10457688" y="38862"/>
                  </a:lnTo>
                  <a:lnTo>
                    <a:pt x="10457688" y="194310"/>
                  </a:lnTo>
                  <a:lnTo>
                    <a:pt x="10454634" y="209436"/>
                  </a:lnTo>
                  <a:lnTo>
                    <a:pt x="10446305" y="221789"/>
                  </a:lnTo>
                  <a:lnTo>
                    <a:pt x="10433952" y="230118"/>
                  </a:lnTo>
                  <a:lnTo>
                    <a:pt x="10418826" y="233172"/>
                  </a:lnTo>
                  <a:lnTo>
                    <a:pt x="38862" y="233172"/>
                  </a:lnTo>
                  <a:lnTo>
                    <a:pt x="23735" y="230118"/>
                  </a:lnTo>
                  <a:lnTo>
                    <a:pt x="11382" y="221789"/>
                  </a:lnTo>
                  <a:lnTo>
                    <a:pt x="3053" y="209436"/>
                  </a:lnTo>
                  <a:lnTo>
                    <a:pt x="0" y="194310"/>
                  </a:lnTo>
                  <a:lnTo>
                    <a:pt x="0" y="38862"/>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63" name="object 63"/>
            <p:cNvPicPr/>
            <p:nvPr/>
          </p:nvPicPr>
          <p:blipFill>
            <a:blip r:embed="rId38" cstate="screen">
              <a:extLst>
                <a:ext uri="{28A0092B-C50C-407E-A947-70E740481C1C}">
                  <a14:useLocalDpi xmlns:a14="http://schemas.microsoft.com/office/drawing/2010/main"/>
                </a:ext>
              </a:extLst>
            </a:blip>
            <a:stretch>
              <a:fillRect/>
            </a:stretch>
          </p:blipFill>
          <p:spPr>
            <a:xfrm>
              <a:off x="4638802" y="6110630"/>
              <a:ext cx="2965069" cy="195072"/>
            </a:xfrm>
            <a:prstGeom prst="rect">
              <a:avLst/>
            </a:prstGeom>
          </p:spPr>
        </p:pic>
        <p:sp>
          <p:nvSpPr>
            <p:cNvPr id="64" name="object 64"/>
            <p:cNvSpPr/>
            <p:nvPr/>
          </p:nvSpPr>
          <p:spPr>
            <a:xfrm>
              <a:off x="5262372" y="5315711"/>
              <a:ext cx="1668780" cy="706120"/>
            </a:xfrm>
            <a:custGeom>
              <a:avLst/>
              <a:gdLst/>
              <a:ahLst/>
              <a:cxnLst/>
              <a:rect l="l" t="t" r="r" b="b"/>
              <a:pathLst>
                <a:path w="1668779" h="706120">
                  <a:moveTo>
                    <a:pt x="0" y="117601"/>
                  </a:moveTo>
                  <a:lnTo>
                    <a:pt x="9249" y="71848"/>
                  </a:lnTo>
                  <a:lnTo>
                    <a:pt x="34464" y="34464"/>
                  </a:lnTo>
                  <a:lnTo>
                    <a:pt x="71848" y="9249"/>
                  </a:lnTo>
                  <a:lnTo>
                    <a:pt x="117601" y="0"/>
                  </a:lnTo>
                  <a:lnTo>
                    <a:pt x="1551177" y="0"/>
                  </a:lnTo>
                  <a:lnTo>
                    <a:pt x="1596931" y="9249"/>
                  </a:lnTo>
                  <a:lnTo>
                    <a:pt x="1634315" y="34464"/>
                  </a:lnTo>
                  <a:lnTo>
                    <a:pt x="1659530" y="71848"/>
                  </a:lnTo>
                  <a:lnTo>
                    <a:pt x="1668779" y="117601"/>
                  </a:lnTo>
                  <a:lnTo>
                    <a:pt x="1668779" y="588010"/>
                  </a:lnTo>
                  <a:lnTo>
                    <a:pt x="1659530" y="633785"/>
                  </a:lnTo>
                  <a:lnTo>
                    <a:pt x="1634315" y="671166"/>
                  </a:lnTo>
                  <a:lnTo>
                    <a:pt x="1596931" y="696369"/>
                  </a:lnTo>
                  <a:lnTo>
                    <a:pt x="1551177" y="705612"/>
                  </a:lnTo>
                  <a:lnTo>
                    <a:pt x="117601" y="705612"/>
                  </a:lnTo>
                  <a:lnTo>
                    <a:pt x="71848" y="696369"/>
                  </a:lnTo>
                  <a:lnTo>
                    <a:pt x="34464" y="671166"/>
                  </a:lnTo>
                  <a:lnTo>
                    <a:pt x="9249" y="633785"/>
                  </a:lnTo>
                  <a:lnTo>
                    <a:pt x="0" y="588010"/>
                  </a:lnTo>
                  <a:lnTo>
                    <a:pt x="0" y="117601"/>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65" name="object 65"/>
            <p:cNvPicPr/>
            <p:nvPr/>
          </p:nvPicPr>
          <p:blipFill>
            <a:blip r:embed="rId39" cstate="screen">
              <a:extLst>
                <a:ext uri="{28A0092B-C50C-407E-A947-70E740481C1C}">
                  <a14:useLocalDpi xmlns:a14="http://schemas.microsoft.com/office/drawing/2010/main"/>
                </a:ext>
              </a:extLst>
            </a:blip>
            <a:stretch>
              <a:fillRect/>
            </a:stretch>
          </p:blipFill>
          <p:spPr>
            <a:xfrm>
              <a:off x="5772277" y="5554979"/>
              <a:ext cx="705307" cy="179831"/>
            </a:xfrm>
            <a:prstGeom prst="rect">
              <a:avLst/>
            </a:prstGeom>
          </p:spPr>
        </p:pic>
        <p:pic>
          <p:nvPicPr>
            <p:cNvPr id="66" name="object 66"/>
            <p:cNvPicPr/>
            <p:nvPr/>
          </p:nvPicPr>
          <p:blipFill>
            <a:blip r:embed="rId40" cstate="screen">
              <a:extLst>
                <a:ext uri="{28A0092B-C50C-407E-A947-70E740481C1C}">
                  <a14:useLocalDpi xmlns:a14="http://schemas.microsoft.com/office/drawing/2010/main"/>
                </a:ext>
              </a:extLst>
            </a:blip>
            <a:stretch>
              <a:fillRect/>
            </a:stretch>
          </p:blipFill>
          <p:spPr>
            <a:xfrm>
              <a:off x="5776848" y="5724143"/>
              <a:ext cx="694944" cy="131064"/>
            </a:xfrm>
            <a:prstGeom prst="rect">
              <a:avLst/>
            </a:prstGeom>
          </p:spPr>
        </p:pic>
        <p:pic>
          <p:nvPicPr>
            <p:cNvPr id="67" name="object 67"/>
            <p:cNvPicPr/>
            <p:nvPr/>
          </p:nvPicPr>
          <p:blipFill>
            <a:blip r:embed="rId41" cstate="screen">
              <a:extLst>
                <a:ext uri="{28A0092B-C50C-407E-A947-70E740481C1C}">
                  <a14:useLocalDpi xmlns:a14="http://schemas.microsoft.com/office/drawing/2010/main"/>
                </a:ext>
              </a:extLst>
            </a:blip>
            <a:stretch>
              <a:fillRect/>
            </a:stretch>
          </p:blipFill>
          <p:spPr>
            <a:xfrm>
              <a:off x="5621401" y="5846063"/>
              <a:ext cx="990917" cy="131064"/>
            </a:xfrm>
            <a:prstGeom prst="rect">
              <a:avLst/>
            </a:prstGeom>
          </p:spPr>
        </p:pic>
        <p:pic>
          <p:nvPicPr>
            <p:cNvPr id="68" name="object 68"/>
            <p:cNvPicPr/>
            <p:nvPr/>
          </p:nvPicPr>
          <p:blipFill>
            <a:blip r:embed="rId42" cstate="print"/>
            <a:stretch>
              <a:fillRect/>
            </a:stretch>
          </p:blipFill>
          <p:spPr>
            <a:xfrm>
              <a:off x="5748528" y="4811267"/>
              <a:ext cx="717803" cy="708660"/>
            </a:xfrm>
            <a:prstGeom prst="rect">
              <a:avLst/>
            </a:prstGeom>
          </p:spPr>
        </p:pic>
        <p:sp>
          <p:nvSpPr>
            <p:cNvPr id="69" name="object 69"/>
            <p:cNvSpPr/>
            <p:nvPr/>
          </p:nvSpPr>
          <p:spPr>
            <a:xfrm>
              <a:off x="5743702" y="4806441"/>
              <a:ext cx="727710" cy="718820"/>
            </a:xfrm>
            <a:custGeom>
              <a:avLst/>
              <a:gdLst/>
              <a:ahLst/>
              <a:cxnLst/>
              <a:rect l="l" t="t" r="r" b="b"/>
              <a:pathLst>
                <a:path w="727710" h="718820">
                  <a:moveTo>
                    <a:pt x="363727" y="0"/>
                  </a:moveTo>
                  <a:lnTo>
                    <a:pt x="437007" y="7365"/>
                  </a:lnTo>
                  <a:lnTo>
                    <a:pt x="505206" y="28320"/>
                  </a:lnTo>
                  <a:lnTo>
                    <a:pt x="567055" y="61340"/>
                  </a:lnTo>
                  <a:lnTo>
                    <a:pt x="620902" y="105155"/>
                  </a:lnTo>
                  <a:lnTo>
                    <a:pt x="665226" y="158368"/>
                  </a:lnTo>
                  <a:lnTo>
                    <a:pt x="698753" y="219328"/>
                  </a:lnTo>
                  <a:lnTo>
                    <a:pt x="719963" y="286765"/>
                  </a:lnTo>
                  <a:lnTo>
                    <a:pt x="727456" y="359155"/>
                  </a:lnTo>
                  <a:lnTo>
                    <a:pt x="725551" y="395858"/>
                  </a:lnTo>
                  <a:lnTo>
                    <a:pt x="711073" y="465962"/>
                  </a:lnTo>
                  <a:lnTo>
                    <a:pt x="683513" y="530351"/>
                  </a:lnTo>
                  <a:lnTo>
                    <a:pt x="644271" y="587628"/>
                  </a:lnTo>
                  <a:lnTo>
                    <a:pt x="594995" y="636269"/>
                  </a:lnTo>
                  <a:lnTo>
                    <a:pt x="537083" y="674877"/>
                  </a:lnTo>
                  <a:lnTo>
                    <a:pt x="471805" y="702055"/>
                  </a:lnTo>
                  <a:lnTo>
                    <a:pt x="400938" y="716406"/>
                  </a:lnTo>
                  <a:lnTo>
                    <a:pt x="363727" y="718311"/>
                  </a:lnTo>
                  <a:lnTo>
                    <a:pt x="326517" y="716406"/>
                  </a:lnTo>
                  <a:lnTo>
                    <a:pt x="255650" y="702055"/>
                  </a:lnTo>
                  <a:lnTo>
                    <a:pt x="190373" y="674877"/>
                  </a:lnTo>
                  <a:lnTo>
                    <a:pt x="132461" y="636269"/>
                  </a:lnTo>
                  <a:lnTo>
                    <a:pt x="83185" y="587628"/>
                  </a:lnTo>
                  <a:lnTo>
                    <a:pt x="43942" y="530351"/>
                  </a:lnTo>
                  <a:lnTo>
                    <a:pt x="16383" y="465962"/>
                  </a:lnTo>
                  <a:lnTo>
                    <a:pt x="1905" y="395858"/>
                  </a:lnTo>
                  <a:lnTo>
                    <a:pt x="0" y="359155"/>
                  </a:lnTo>
                  <a:lnTo>
                    <a:pt x="1905" y="322452"/>
                  </a:lnTo>
                  <a:lnTo>
                    <a:pt x="16383" y="252348"/>
                  </a:lnTo>
                  <a:lnTo>
                    <a:pt x="43942" y="187959"/>
                  </a:lnTo>
                  <a:lnTo>
                    <a:pt x="83185" y="130682"/>
                  </a:lnTo>
                  <a:lnTo>
                    <a:pt x="132461" y="82041"/>
                  </a:lnTo>
                  <a:lnTo>
                    <a:pt x="190373" y="43433"/>
                  </a:lnTo>
                  <a:lnTo>
                    <a:pt x="255650" y="16255"/>
                  </a:lnTo>
                  <a:lnTo>
                    <a:pt x="326517" y="1904"/>
                  </a:lnTo>
                  <a:lnTo>
                    <a:pt x="363727" y="0"/>
                  </a:lnTo>
                  <a:close/>
                </a:path>
              </a:pathLst>
            </a:custGeom>
            <a:ln w="9524">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70" name="object 70"/>
            <p:cNvSpPr/>
            <p:nvPr/>
          </p:nvSpPr>
          <p:spPr>
            <a:xfrm>
              <a:off x="7464551" y="5320283"/>
              <a:ext cx="1668780" cy="707390"/>
            </a:xfrm>
            <a:custGeom>
              <a:avLst/>
              <a:gdLst/>
              <a:ahLst/>
              <a:cxnLst/>
              <a:rect l="l" t="t" r="r" b="b"/>
              <a:pathLst>
                <a:path w="1668779" h="707389">
                  <a:moveTo>
                    <a:pt x="0" y="117855"/>
                  </a:moveTo>
                  <a:lnTo>
                    <a:pt x="9253" y="71955"/>
                  </a:lnTo>
                  <a:lnTo>
                    <a:pt x="34496" y="34496"/>
                  </a:lnTo>
                  <a:lnTo>
                    <a:pt x="71955" y="9253"/>
                  </a:lnTo>
                  <a:lnTo>
                    <a:pt x="117855" y="0"/>
                  </a:lnTo>
                  <a:lnTo>
                    <a:pt x="1550924" y="0"/>
                  </a:lnTo>
                  <a:lnTo>
                    <a:pt x="1596824" y="9253"/>
                  </a:lnTo>
                  <a:lnTo>
                    <a:pt x="1634283" y="34496"/>
                  </a:lnTo>
                  <a:lnTo>
                    <a:pt x="1659526" y="71955"/>
                  </a:lnTo>
                  <a:lnTo>
                    <a:pt x="1668779" y="117855"/>
                  </a:lnTo>
                  <a:lnTo>
                    <a:pt x="1668779" y="589279"/>
                  </a:lnTo>
                  <a:lnTo>
                    <a:pt x="1659526" y="635153"/>
                  </a:lnTo>
                  <a:lnTo>
                    <a:pt x="1634283" y="672615"/>
                  </a:lnTo>
                  <a:lnTo>
                    <a:pt x="1596824" y="697873"/>
                  </a:lnTo>
                  <a:lnTo>
                    <a:pt x="1550924" y="707135"/>
                  </a:lnTo>
                  <a:lnTo>
                    <a:pt x="117855" y="707135"/>
                  </a:lnTo>
                  <a:lnTo>
                    <a:pt x="71955" y="697873"/>
                  </a:lnTo>
                  <a:lnTo>
                    <a:pt x="34496" y="672615"/>
                  </a:lnTo>
                  <a:lnTo>
                    <a:pt x="9253" y="635153"/>
                  </a:lnTo>
                  <a:lnTo>
                    <a:pt x="0" y="589279"/>
                  </a:lnTo>
                  <a:lnTo>
                    <a:pt x="0" y="117855"/>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71" name="object 71"/>
            <p:cNvPicPr/>
            <p:nvPr/>
          </p:nvPicPr>
          <p:blipFill>
            <a:blip r:embed="rId43" cstate="screen">
              <a:extLst>
                <a:ext uri="{28A0092B-C50C-407E-A947-70E740481C1C}">
                  <a14:useLocalDpi xmlns:a14="http://schemas.microsoft.com/office/drawing/2010/main"/>
                </a:ext>
              </a:extLst>
            </a:blip>
            <a:stretch>
              <a:fillRect/>
            </a:stretch>
          </p:blipFill>
          <p:spPr>
            <a:xfrm>
              <a:off x="7977250" y="5560771"/>
              <a:ext cx="739838" cy="179831"/>
            </a:xfrm>
            <a:prstGeom prst="rect">
              <a:avLst/>
            </a:prstGeom>
          </p:spPr>
        </p:pic>
        <p:pic>
          <p:nvPicPr>
            <p:cNvPr id="72" name="object 72"/>
            <p:cNvPicPr/>
            <p:nvPr/>
          </p:nvPicPr>
          <p:blipFill>
            <a:blip r:embed="rId44" cstate="screen">
              <a:extLst>
                <a:ext uri="{28A0092B-C50C-407E-A947-70E740481C1C}">
                  <a14:useLocalDpi xmlns:a14="http://schemas.microsoft.com/office/drawing/2010/main"/>
                </a:ext>
              </a:extLst>
            </a:blip>
            <a:stretch>
              <a:fillRect/>
            </a:stretch>
          </p:blipFill>
          <p:spPr>
            <a:xfrm>
              <a:off x="7582535" y="5729935"/>
              <a:ext cx="1478470" cy="131064"/>
            </a:xfrm>
            <a:prstGeom prst="rect">
              <a:avLst/>
            </a:prstGeom>
          </p:spPr>
        </p:pic>
        <p:pic>
          <p:nvPicPr>
            <p:cNvPr id="73" name="object 73"/>
            <p:cNvPicPr/>
            <p:nvPr/>
          </p:nvPicPr>
          <p:blipFill>
            <a:blip r:embed="rId45" cstate="screen">
              <a:extLst>
                <a:ext uri="{28A0092B-C50C-407E-A947-70E740481C1C}">
                  <a14:useLocalDpi xmlns:a14="http://schemas.microsoft.com/office/drawing/2010/main"/>
                </a:ext>
              </a:extLst>
            </a:blip>
            <a:stretch>
              <a:fillRect/>
            </a:stretch>
          </p:blipFill>
          <p:spPr>
            <a:xfrm>
              <a:off x="7823326" y="5851855"/>
              <a:ext cx="994524" cy="131063"/>
            </a:xfrm>
            <a:prstGeom prst="rect">
              <a:avLst/>
            </a:prstGeom>
          </p:spPr>
        </p:pic>
        <p:pic>
          <p:nvPicPr>
            <p:cNvPr id="74" name="object 74"/>
            <p:cNvPicPr/>
            <p:nvPr/>
          </p:nvPicPr>
          <p:blipFill>
            <a:blip r:embed="rId46" cstate="print"/>
            <a:stretch>
              <a:fillRect/>
            </a:stretch>
          </p:blipFill>
          <p:spPr>
            <a:xfrm>
              <a:off x="7949184" y="4817363"/>
              <a:ext cx="716279" cy="705612"/>
            </a:xfrm>
            <a:prstGeom prst="rect">
              <a:avLst/>
            </a:prstGeom>
          </p:spPr>
        </p:pic>
        <p:sp>
          <p:nvSpPr>
            <p:cNvPr id="75" name="object 75"/>
            <p:cNvSpPr/>
            <p:nvPr/>
          </p:nvSpPr>
          <p:spPr>
            <a:xfrm>
              <a:off x="7944358" y="4812537"/>
              <a:ext cx="726440" cy="715645"/>
            </a:xfrm>
            <a:custGeom>
              <a:avLst/>
              <a:gdLst/>
              <a:ahLst/>
              <a:cxnLst/>
              <a:rect l="l" t="t" r="r" b="b"/>
              <a:pathLst>
                <a:path w="726440" h="715645">
                  <a:moveTo>
                    <a:pt x="362966" y="0"/>
                  </a:moveTo>
                  <a:lnTo>
                    <a:pt x="436118" y="7366"/>
                  </a:lnTo>
                  <a:lnTo>
                    <a:pt x="504190" y="28193"/>
                  </a:lnTo>
                  <a:lnTo>
                    <a:pt x="565785" y="61087"/>
                  </a:lnTo>
                  <a:lnTo>
                    <a:pt x="619506" y="104775"/>
                  </a:lnTo>
                  <a:lnTo>
                    <a:pt x="663828" y="157734"/>
                  </a:lnTo>
                  <a:lnTo>
                    <a:pt x="697357" y="218439"/>
                  </a:lnTo>
                  <a:lnTo>
                    <a:pt x="718439" y="285623"/>
                  </a:lnTo>
                  <a:lnTo>
                    <a:pt x="725932" y="357631"/>
                  </a:lnTo>
                  <a:lnTo>
                    <a:pt x="724026" y="394207"/>
                  </a:lnTo>
                  <a:lnTo>
                    <a:pt x="709549" y="463931"/>
                  </a:lnTo>
                  <a:lnTo>
                    <a:pt x="682117" y="528066"/>
                  </a:lnTo>
                  <a:lnTo>
                    <a:pt x="643001" y="585089"/>
                  </a:lnTo>
                  <a:lnTo>
                    <a:pt x="593725" y="633603"/>
                  </a:lnTo>
                  <a:lnTo>
                    <a:pt x="535940" y="672084"/>
                  </a:lnTo>
                  <a:lnTo>
                    <a:pt x="470916" y="699135"/>
                  </a:lnTo>
                  <a:lnTo>
                    <a:pt x="400050" y="713359"/>
                  </a:lnTo>
                  <a:lnTo>
                    <a:pt x="362966" y="715264"/>
                  </a:lnTo>
                  <a:lnTo>
                    <a:pt x="325882" y="713359"/>
                  </a:lnTo>
                  <a:lnTo>
                    <a:pt x="255016" y="699135"/>
                  </a:lnTo>
                  <a:lnTo>
                    <a:pt x="189992" y="672084"/>
                  </a:lnTo>
                  <a:lnTo>
                    <a:pt x="132207" y="633603"/>
                  </a:lnTo>
                  <a:lnTo>
                    <a:pt x="82931" y="585089"/>
                  </a:lnTo>
                  <a:lnTo>
                    <a:pt x="43815" y="528066"/>
                  </a:lnTo>
                  <a:lnTo>
                    <a:pt x="16383" y="463931"/>
                  </a:lnTo>
                  <a:lnTo>
                    <a:pt x="1905" y="394207"/>
                  </a:lnTo>
                  <a:lnTo>
                    <a:pt x="0" y="357631"/>
                  </a:lnTo>
                  <a:lnTo>
                    <a:pt x="1905" y="321056"/>
                  </a:lnTo>
                  <a:lnTo>
                    <a:pt x="16383" y="251332"/>
                  </a:lnTo>
                  <a:lnTo>
                    <a:pt x="43815" y="187198"/>
                  </a:lnTo>
                  <a:lnTo>
                    <a:pt x="82931" y="130175"/>
                  </a:lnTo>
                  <a:lnTo>
                    <a:pt x="132207" y="81661"/>
                  </a:lnTo>
                  <a:lnTo>
                    <a:pt x="189992" y="43180"/>
                  </a:lnTo>
                  <a:lnTo>
                    <a:pt x="255016" y="16129"/>
                  </a:lnTo>
                  <a:lnTo>
                    <a:pt x="325882" y="1905"/>
                  </a:lnTo>
                  <a:lnTo>
                    <a:pt x="362966"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76" name="object 76"/>
          <p:cNvGrpSpPr/>
          <p:nvPr/>
        </p:nvGrpSpPr>
        <p:grpSpPr>
          <a:xfrm>
            <a:off x="2616454" y="3507803"/>
            <a:ext cx="1680210" cy="1200150"/>
            <a:chOff x="2616454" y="3507803"/>
            <a:chExt cx="1680210" cy="1200150"/>
          </a:xfrm>
        </p:grpSpPr>
        <p:sp>
          <p:nvSpPr>
            <p:cNvPr id="77" name="object 77"/>
            <p:cNvSpPr/>
            <p:nvPr/>
          </p:nvSpPr>
          <p:spPr>
            <a:xfrm>
              <a:off x="2622804" y="4027931"/>
              <a:ext cx="1667510" cy="673735"/>
            </a:xfrm>
            <a:custGeom>
              <a:avLst/>
              <a:gdLst/>
              <a:ahLst/>
              <a:cxnLst/>
              <a:rect l="l" t="t" r="r" b="b"/>
              <a:pathLst>
                <a:path w="1667510" h="673735">
                  <a:moveTo>
                    <a:pt x="0" y="112268"/>
                  </a:moveTo>
                  <a:lnTo>
                    <a:pt x="8826" y="68580"/>
                  </a:lnTo>
                  <a:lnTo>
                    <a:pt x="32892" y="32893"/>
                  </a:lnTo>
                  <a:lnTo>
                    <a:pt x="68579" y="8826"/>
                  </a:lnTo>
                  <a:lnTo>
                    <a:pt x="112268" y="0"/>
                  </a:lnTo>
                  <a:lnTo>
                    <a:pt x="1554987" y="0"/>
                  </a:lnTo>
                  <a:lnTo>
                    <a:pt x="1598675" y="8826"/>
                  </a:lnTo>
                  <a:lnTo>
                    <a:pt x="1634362" y="32893"/>
                  </a:lnTo>
                  <a:lnTo>
                    <a:pt x="1658429" y="68580"/>
                  </a:lnTo>
                  <a:lnTo>
                    <a:pt x="1667256" y="112268"/>
                  </a:lnTo>
                  <a:lnTo>
                    <a:pt x="1667256" y="561340"/>
                  </a:lnTo>
                  <a:lnTo>
                    <a:pt x="1658429" y="605028"/>
                  </a:lnTo>
                  <a:lnTo>
                    <a:pt x="1634362" y="640715"/>
                  </a:lnTo>
                  <a:lnTo>
                    <a:pt x="1598675" y="664781"/>
                  </a:lnTo>
                  <a:lnTo>
                    <a:pt x="1554987" y="673608"/>
                  </a:lnTo>
                  <a:lnTo>
                    <a:pt x="112268" y="673608"/>
                  </a:lnTo>
                  <a:lnTo>
                    <a:pt x="68580" y="664781"/>
                  </a:lnTo>
                  <a:lnTo>
                    <a:pt x="32893" y="640715"/>
                  </a:lnTo>
                  <a:lnTo>
                    <a:pt x="8826" y="605028"/>
                  </a:lnTo>
                  <a:lnTo>
                    <a:pt x="0" y="561340"/>
                  </a:lnTo>
                  <a:lnTo>
                    <a:pt x="0" y="112268"/>
                  </a:lnTo>
                  <a:close/>
                </a:path>
              </a:pathLst>
            </a:custGeom>
            <a:ln w="12699">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78" name="object 78"/>
            <p:cNvPicPr/>
            <p:nvPr/>
          </p:nvPicPr>
          <p:blipFill>
            <a:blip r:embed="rId47" cstate="screen">
              <a:extLst>
                <a:ext uri="{28A0092B-C50C-407E-A947-70E740481C1C}">
                  <a14:useLocalDpi xmlns:a14="http://schemas.microsoft.com/office/drawing/2010/main"/>
                </a:ext>
              </a:extLst>
            </a:blip>
            <a:stretch>
              <a:fillRect/>
            </a:stretch>
          </p:blipFill>
          <p:spPr>
            <a:xfrm>
              <a:off x="3103753" y="4266310"/>
              <a:ext cx="759891" cy="179831"/>
            </a:xfrm>
            <a:prstGeom prst="rect">
              <a:avLst/>
            </a:prstGeom>
          </p:spPr>
        </p:pic>
        <p:pic>
          <p:nvPicPr>
            <p:cNvPr id="79" name="object 79"/>
            <p:cNvPicPr/>
            <p:nvPr/>
          </p:nvPicPr>
          <p:blipFill>
            <a:blip r:embed="rId48" cstate="screen">
              <a:extLst>
                <a:ext uri="{28A0092B-C50C-407E-A947-70E740481C1C}">
                  <a14:useLocalDpi xmlns:a14="http://schemas.microsoft.com/office/drawing/2010/main"/>
                </a:ext>
              </a:extLst>
            </a:blip>
            <a:stretch>
              <a:fillRect/>
            </a:stretch>
          </p:blipFill>
          <p:spPr>
            <a:xfrm>
              <a:off x="3090037" y="4435474"/>
              <a:ext cx="779411" cy="131063"/>
            </a:xfrm>
            <a:prstGeom prst="rect">
              <a:avLst/>
            </a:prstGeom>
          </p:spPr>
        </p:pic>
        <p:pic>
          <p:nvPicPr>
            <p:cNvPr id="80" name="object 80"/>
            <p:cNvPicPr/>
            <p:nvPr/>
          </p:nvPicPr>
          <p:blipFill>
            <a:blip r:embed="rId49" cstate="screen">
              <a:extLst>
                <a:ext uri="{28A0092B-C50C-407E-A947-70E740481C1C}">
                  <a14:useLocalDpi xmlns:a14="http://schemas.microsoft.com/office/drawing/2010/main"/>
                </a:ext>
              </a:extLst>
            </a:blip>
            <a:stretch>
              <a:fillRect/>
            </a:stretch>
          </p:blipFill>
          <p:spPr>
            <a:xfrm>
              <a:off x="2963545" y="4557394"/>
              <a:ext cx="1025474" cy="131063"/>
            </a:xfrm>
            <a:prstGeom prst="rect">
              <a:avLst/>
            </a:prstGeom>
          </p:spPr>
        </p:pic>
        <p:pic>
          <p:nvPicPr>
            <p:cNvPr id="81" name="object 81"/>
            <p:cNvPicPr/>
            <p:nvPr/>
          </p:nvPicPr>
          <p:blipFill>
            <a:blip r:embed="rId50" cstate="print"/>
            <a:stretch>
              <a:fillRect/>
            </a:stretch>
          </p:blipFill>
          <p:spPr>
            <a:xfrm>
              <a:off x="3090672" y="3517391"/>
              <a:ext cx="720851" cy="719328"/>
            </a:xfrm>
            <a:prstGeom prst="rect">
              <a:avLst/>
            </a:prstGeom>
          </p:spPr>
        </p:pic>
        <p:sp>
          <p:nvSpPr>
            <p:cNvPr id="82" name="object 82"/>
            <p:cNvSpPr/>
            <p:nvPr/>
          </p:nvSpPr>
          <p:spPr>
            <a:xfrm>
              <a:off x="3085846" y="3512565"/>
              <a:ext cx="730885" cy="728980"/>
            </a:xfrm>
            <a:custGeom>
              <a:avLst/>
              <a:gdLst/>
              <a:ahLst/>
              <a:cxnLst/>
              <a:rect l="l" t="t" r="r" b="b"/>
              <a:pathLst>
                <a:path w="730885" h="728979">
                  <a:moveTo>
                    <a:pt x="365252" y="0"/>
                  </a:moveTo>
                  <a:lnTo>
                    <a:pt x="438784" y="7493"/>
                  </a:lnTo>
                  <a:lnTo>
                    <a:pt x="507365" y="28701"/>
                  </a:lnTo>
                  <a:lnTo>
                    <a:pt x="569468" y="62357"/>
                  </a:lnTo>
                  <a:lnTo>
                    <a:pt x="623443" y="106807"/>
                  </a:lnTo>
                  <a:lnTo>
                    <a:pt x="668019" y="160782"/>
                  </a:lnTo>
                  <a:lnTo>
                    <a:pt x="701802" y="222631"/>
                  </a:lnTo>
                  <a:lnTo>
                    <a:pt x="723011" y="291084"/>
                  </a:lnTo>
                  <a:lnTo>
                    <a:pt x="730504" y="364490"/>
                  </a:lnTo>
                  <a:lnTo>
                    <a:pt x="728599" y="401701"/>
                  </a:lnTo>
                  <a:lnTo>
                    <a:pt x="713994" y="472821"/>
                  </a:lnTo>
                  <a:lnTo>
                    <a:pt x="686307" y="538226"/>
                  </a:lnTo>
                  <a:lnTo>
                    <a:pt x="647065" y="596265"/>
                  </a:lnTo>
                  <a:lnTo>
                    <a:pt x="597534" y="645668"/>
                  </a:lnTo>
                  <a:lnTo>
                    <a:pt x="539369" y="684911"/>
                  </a:lnTo>
                  <a:lnTo>
                    <a:pt x="473837" y="712597"/>
                  </a:lnTo>
                  <a:lnTo>
                    <a:pt x="402590" y="727075"/>
                  </a:lnTo>
                  <a:lnTo>
                    <a:pt x="365252" y="728980"/>
                  </a:lnTo>
                  <a:lnTo>
                    <a:pt x="327914" y="727075"/>
                  </a:lnTo>
                  <a:lnTo>
                    <a:pt x="256667" y="712597"/>
                  </a:lnTo>
                  <a:lnTo>
                    <a:pt x="191134" y="684911"/>
                  </a:lnTo>
                  <a:lnTo>
                    <a:pt x="132969" y="645668"/>
                  </a:lnTo>
                  <a:lnTo>
                    <a:pt x="83439" y="596265"/>
                  </a:lnTo>
                  <a:lnTo>
                    <a:pt x="44196" y="538226"/>
                  </a:lnTo>
                  <a:lnTo>
                    <a:pt x="16510" y="472821"/>
                  </a:lnTo>
                  <a:lnTo>
                    <a:pt x="1905" y="401701"/>
                  </a:lnTo>
                  <a:lnTo>
                    <a:pt x="0" y="364490"/>
                  </a:lnTo>
                  <a:lnTo>
                    <a:pt x="1905" y="327279"/>
                  </a:lnTo>
                  <a:lnTo>
                    <a:pt x="16510" y="256159"/>
                  </a:lnTo>
                  <a:lnTo>
                    <a:pt x="44196" y="190754"/>
                  </a:lnTo>
                  <a:lnTo>
                    <a:pt x="83439" y="132715"/>
                  </a:lnTo>
                  <a:lnTo>
                    <a:pt x="132969" y="83312"/>
                  </a:lnTo>
                  <a:lnTo>
                    <a:pt x="191134" y="44069"/>
                  </a:lnTo>
                  <a:lnTo>
                    <a:pt x="256667" y="16383"/>
                  </a:lnTo>
                  <a:lnTo>
                    <a:pt x="327914" y="1905"/>
                  </a:lnTo>
                  <a:lnTo>
                    <a:pt x="365252"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83" name="object 83"/>
          <p:cNvGrpSpPr/>
          <p:nvPr/>
        </p:nvGrpSpPr>
        <p:grpSpPr>
          <a:xfrm>
            <a:off x="3498659" y="2334754"/>
            <a:ext cx="2491105" cy="1031875"/>
            <a:chOff x="3498659" y="2334754"/>
            <a:chExt cx="2491105" cy="1031875"/>
          </a:xfrm>
        </p:grpSpPr>
        <p:pic>
          <p:nvPicPr>
            <p:cNvPr id="84" name="object 84"/>
            <p:cNvPicPr/>
            <p:nvPr/>
          </p:nvPicPr>
          <p:blipFill>
            <a:blip r:embed="rId51" cstate="print"/>
            <a:stretch>
              <a:fillRect/>
            </a:stretch>
          </p:blipFill>
          <p:spPr>
            <a:xfrm>
              <a:off x="3963883" y="2334754"/>
              <a:ext cx="2025476" cy="1031787"/>
            </a:xfrm>
            <a:prstGeom prst="rect">
              <a:avLst/>
            </a:prstGeom>
          </p:spPr>
        </p:pic>
        <p:sp>
          <p:nvSpPr>
            <p:cNvPr id="85" name="object 85"/>
            <p:cNvSpPr/>
            <p:nvPr/>
          </p:nvSpPr>
          <p:spPr>
            <a:xfrm>
              <a:off x="3977639" y="2348483"/>
              <a:ext cx="1948180" cy="954405"/>
            </a:xfrm>
            <a:custGeom>
              <a:avLst/>
              <a:gdLst/>
              <a:ahLst/>
              <a:cxnLst/>
              <a:rect l="l" t="t" r="r" b="b"/>
              <a:pathLst>
                <a:path w="1948179" h="954404">
                  <a:moveTo>
                    <a:pt x="0" y="159003"/>
                  </a:moveTo>
                  <a:lnTo>
                    <a:pt x="8111" y="108768"/>
                  </a:lnTo>
                  <a:lnTo>
                    <a:pt x="30695" y="65123"/>
                  </a:lnTo>
                  <a:lnTo>
                    <a:pt x="65123" y="30695"/>
                  </a:lnTo>
                  <a:lnTo>
                    <a:pt x="108768" y="8111"/>
                  </a:lnTo>
                  <a:lnTo>
                    <a:pt x="159004" y="0"/>
                  </a:lnTo>
                  <a:lnTo>
                    <a:pt x="1788668" y="0"/>
                  </a:lnTo>
                  <a:lnTo>
                    <a:pt x="1838903" y="8111"/>
                  </a:lnTo>
                  <a:lnTo>
                    <a:pt x="1882548" y="30695"/>
                  </a:lnTo>
                  <a:lnTo>
                    <a:pt x="1916976" y="65123"/>
                  </a:lnTo>
                  <a:lnTo>
                    <a:pt x="1939560" y="108768"/>
                  </a:lnTo>
                  <a:lnTo>
                    <a:pt x="1947672" y="159003"/>
                  </a:lnTo>
                  <a:lnTo>
                    <a:pt x="1947672" y="795019"/>
                  </a:lnTo>
                  <a:lnTo>
                    <a:pt x="1939560" y="845255"/>
                  </a:lnTo>
                  <a:lnTo>
                    <a:pt x="1916976" y="888900"/>
                  </a:lnTo>
                  <a:lnTo>
                    <a:pt x="1882548" y="923328"/>
                  </a:lnTo>
                  <a:lnTo>
                    <a:pt x="1838903" y="945912"/>
                  </a:lnTo>
                  <a:lnTo>
                    <a:pt x="1788668" y="954024"/>
                  </a:lnTo>
                  <a:lnTo>
                    <a:pt x="159004" y="954024"/>
                  </a:lnTo>
                  <a:lnTo>
                    <a:pt x="108768" y="945912"/>
                  </a:lnTo>
                  <a:lnTo>
                    <a:pt x="65123" y="923328"/>
                  </a:lnTo>
                  <a:lnTo>
                    <a:pt x="30695" y="888900"/>
                  </a:lnTo>
                  <a:lnTo>
                    <a:pt x="8111" y="845255"/>
                  </a:lnTo>
                  <a:lnTo>
                    <a:pt x="0" y="795019"/>
                  </a:lnTo>
                  <a:lnTo>
                    <a:pt x="0" y="159003"/>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86" name="object 86"/>
            <p:cNvPicPr/>
            <p:nvPr/>
          </p:nvPicPr>
          <p:blipFill>
            <a:blip r:embed="rId52" cstate="screen">
              <a:extLst>
                <a:ext uri="{28A0092B-C50C-407E-A947-70E740481C1C}">
                  <a14:useLocalDpi xmlns:a14="http://schemas.microsoft.com/office/drawing/2010/main"/>
                </a:ext>
              </a:extLst>
            </a:blip>
            <a:stretch>
              <a:fillRect/>
            </a:stretch>
          </p:blipFill>
          <p:spPr>
            <a:xfrm>
              <a:off x="4275708" y="2432303"/>
              <a:ext cx="779729" cy="179832"/>
            </a:xfrm>
            <a:prstGeom prst="rect">
              <a:avLst/>
            </a:prstGeom>
          </p:spPr>
        </p:pic>
        <p:pic>
          <p:nvPicPr>
            <p:cNvPr id="87" name="object 87"/>
            <p:cNvPicPr/>
            <p:nvPr/>
          </p:nvPicPr>
          <p:blipFill>
            <a:blip r:embed="rId6" cstate="screen">
              <a:extLst>
                <a:ext uri="{28A0092B-C50C-407E-A947-70E740481C1C}">
                  <a14:useLocalDpi xmlns:a14="http://schemas.microsoft.com/office/drawing/2010/main"/>
                </a:ext>
              </a:extLst>
            </a:blip>
            <a:stretch>
              <a:fillRect/>
            </a:stretch>
          </p:blipFill>
          <p:spPr>
            <a:xfrm>
              <a:off x="4275708" y="2599943"/>
              <a:ext cx="1129601" cy="179832"/>
            </a:xfrm>
            <a:prstGeom prst="rect">
              <a:avLst/>
            </a:prstGeom>
          </p:spPr>
        </p:pic>
        <p:pic>
          <p:nvPicPr>
            <p:cNvPr id="88" name="object 88"/>
            <p:cNvPicPr/>
            <p:nvPr/>
          </p:nvPicPr>
          <p:blipFill>
            <a:blip r:embed="rId7" cstate="screen">
              <a:extLst>
                <a:ext uri="{28A0092B-C50C-407E-A947-70E740481C1C}">
                  <a14:useLocalDpi xmlns:a14="http://schemas.microsoft.com/office/drawing/2010/main"/>
                </a:ext>
              </a:extLst>
            </a:blip>
            <a:stretch>
              <a:fillRect/>
            </a:stretch>
          </p:blipFill>
          <p:spPr>
            <a:xfrm>
              <a:off x="4275708" y="2769107"/>
              <a:ext cx="141732" cy="131063"/>
            </a:xfrm>
            <a:prstGeom prst="rect">
              <a:avLst/>
            </a:prstGeom>
          </p:spPr>
        </p:pic>
        <p:pic>
          <p:nvPicPr>
            <p:cNvPr id="89" name="object 89"/>
            <p:cNvPicPr/>
            <p:nvPr/>
          </p:nvPicPr>
          <p:blipFill>
            <a:blip r:embed="rId53" cstate="screen">
              <a:extLst>
                <a:ext uri="{28A0092B-C50C-407E-A947-70E740481C1C}">
                  <a14:useLocalDpi xmlns:a14="http://schemas.microsoft.com/office/drawing/2010/main"/>
                </a:ext>
              </a:extLst>
            </a:blip>
            <a:stretch>
              <a:fillRect/>
            </a:stretch>
          </p:blipFill>
          <p:spPr>
            <a:xfrm>
              <a:off x="4370196" y="2769107"/>
              <a:ext cx="1340357" cy="131063"/>
            </a:xfrm>
            <a:prstGeom prst="rect">
              <a:avLst/>
            </a:prstGeom>
          </p:spPr>
        </p:pic>
        <p:pic>
          <p:nvPicPr>
            <p:cNvPr id="90" name="object 90"/>
            <p:cNvPicPr/>
            <p:nvPr/>
          </p:nvPicPr>
          <p:blipFill>
            <a:blip r:embed="rId54" cstate="screen">
              <a:extLst>
                <a:ext uri="{28A0092B-C50C-407E-A947-70E740481C1C}">
                  <a14:useLocalDpi xmlns:a14="http://schemas.microsoft.com/office/drawing/2010/main"/>
                </a:ext>
              </a:extLst>
            </a:blip>
            <a:stretch>
              <a:fillRect/>
            </a:stretch>
          </p:blipFill>
          <p:spPr>
            <a:xfrm>
              <a:off x="4275708" y="2891027"/>
              <a:ext cx="607428" cy="131063"/>
            </a:xfrm>
            <a:prstGeom prst="rect">
              <a:avLst/>
            </a:prstGeom>
          </p:spPr>
        </p:pic>
        <p:pic>
          <p:nvPicPr>
            <p:cNvPr id="91" name="object 91"/>
            <p:cNvPicPr/>
            <p:nvPr/>
          </p:nvPicPr>
          <p:blipFill>
            <a:blip r:embed="rId55" cstate="screen">
              <a:extLst>
                <a:ext uri="{28A0092B-C50C-407E-A947-70E740481C1C}">
                  <a14:useLocalDpi xmlns:a14="http://schemas.microsoft.com/office/drawing/2010/main"/>
                </a:ext>
              </a:extLst>
            </a:blip>
            <a:stretch>
              <a:fillRect/>
            </a:stretch>
          </p:blipFill>
          <p:spPr>
            <a:xfrm>
              <a:off x="4275708" y="3012897"/>
              <a:ext cx="1043533" cy="131368"/>
            </a:xfrm>
            <a:prstGeom prst="rect">
              <a:avLst/>
            </a:prstGeom>
          </p:spPr>
        </p:pic>
        <p:pic>
          <p:nvPicPr>
            <p:cNvPr id="92" name="object 92"/>
            <p:cNvPicPr/>
            <p:nvPr/>
          </p:nvPicPr>
          <p:blipFill>
            <a:blip r:embed="rId56" cstate="print"/>
            <a:stretch>
              <a:fillRect/>
            </a:stretch>
          </p:blipFill>
          <p:spPr>
            <a:xfrm>
              <a:off x="3508247" y="2456687"/>
              <a:ext cx="720851" cy="720851"/>
            </a:xfrm>
            <a:prstGeom prst="rect">
              <a:avLst/>
            </a:prstGeom>
          </p:spPr>
        </p:pic>
        <p:sp>
          <p:nvSpPr>
            <p:cNvPr id="93" name="object 93"/>
            <p:cNvSpPr/>
            <p:nvPr/>
          </p:nvSpPr>
          <p:spPr>
            <a:xfrm>
              <a:off x="3503421" y="2451861"/>
              <a:ext cx="730885" cy="730885"/>
            </a:xfrm>
            <a:custGeom>
              <a:avLst/>
              <a:gdLst/>
              <a:ahLst/>
              <a:cxnLst/>
              <a:rect l="l" t="t" r="r" b="b"/>
              <a:pathLst>
                <a:path w="730885" h="730885">
                  <a:moveTo>
                    <a:pt x="365251" y="0"/>
                  </a:moveTo>
                  <a:lnTo>
                    <a:pt x="438785" y="7492"/>
                  </a:lnTo>
                  <a:lnTo>
                    <a:pt x="507364" y="28701"/>
                  </a:lnTo>
                  <a:lnTo>
                    <a:pt x="569467" y="62484"/>
                  </a:lnTo>
                  <a:lnTo>
                    <a:pt x="623442" y="107061"/>
                  </a:lnTo>
                  <a:lnTo>
                    <a:pt x="668019" y="161036"/>
                  </a:lnTo>
                  <a:lnTo>
                    <a:pt x="701801" y="223138"/>
                  </a:lnTo>
                  <a:lnTo>
                    <a:pt x="723011" y="291718"/>
                  </a:lnTo>
                  <a:lnTo>
                    <a:pt x="730503" y="365251"/>
                  </a:lnTo>
                  <a:lnTo>
                    <a:pt x="728599" y="402589"/>
                  </a:lnTo>
                  <a:lnTo>
                    <a:pt x="713993" y="473837"/>
                  </a:lnTo>
                  <a:lnTo>
                    <a:pt x="686307" y="539368"/>
                  </a:lnTo>
                  <a:lnTo>
                    <a:pt x="647064" y="597535"/>
                  </a:lnTo>
                  <a:lnTo>
                    <a:pt x="597535" y="647064"/>
                  </a:lnTo>
                  <a:lnTo>
                    <a:pt x="539368" y="686308"/>
                  </a:lnTo>
                  <a:lnTo>
                    <a:pt x="473837" y="713993"/>
                  </a:lnTo>
                  <a:lnTo>
                    <a:pt x="402589" y="728599"/>
                  </a:lnTo>
                  <a:lnTo>
                    <a:pt x="365251" y="730503"/>
                  </a:lnTo>
                  <a:lnTo>
                    <a:pt x="327913" y="728599"/>
                  </a:lnTo>
                  <a:lnTo>
                    <a:pt x="256666" y="713993"/>
                  </a:lnTo>
                  <a:lnTo>
                    <a:pt x="191135" y="686308"/>
                  </a:lnTo>
                  <a:lnTo>
                    <a:pt x="132968" y="647064"/>
                  </a:lnTo>
                  <a:lnTo>
                    <a:pt x="83438" y="597535"/>
                  </a:lnTo>
                  <a:lnTo>
                    <a:pt x="44195" y="539368"/>
                  </a:lnTo>
                  <a:lnTo>
                    <a:pt x="16510" y="473837"/>
                  </a:lnTo>
                  <a:lnTo>
                    <a:pt x="1904" y="402589"/>
                  </a:lnTo>
                  <a:lnTo>
                    <a:pt x="0" y="365251"/>
                  </a:lnTo>
                  <a:lnTo>
                    <a:pt x="1904" y="327913"/>
                  </a:lnTo>
                  <a:lnTo>
                    <a:pt x="16510" y="256666"/>
                  </a:lnTo>
                  <a:lnTo>
                    <a:pt x="44195" y="191135"/>
                  </a:lnTo>
                  <a:lnTo>
                    <a:pt x="83438" y="132968"/>
                  </a:lnTo>
                  <a:lnTo>
                    <a:pt x="132968" y="83438"/>
                  </a:lnTo>
                  <a:lnTo>
                    <a:pt x="191135" y="44196"/>
                  </a:lnTo>
                  <a:lnTo>
                    <a:pt x="256666" y="16510"/>
                  </a:lnTo>
                  <a:lnTo>
                    <a:pt x="327913" y="1904"/>
                  </a:lnTo>
                  <a:lnTo>
                    <a:pt x="365251"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94" name="object 94"/>
          <p:cNvGrpSpPr/>
          <p:nvPr/>
        </p:nvGrpSpPr>
        <p:grpSpPr>
          <a:xfrm>
            <a:off x="6241859" y="2302750"/>
            <a:ext cx="2499995" cy="1031875"/>
            <a:chOff x="6241859" y="2302750"/>
            <a:chExt cx="2499995" cy="1031875"/>
          </a:xfrm>
        </p:grpSpPr>
        <p:pic>
          <p:nvPicPr>
            <p:cNvPr id="95" name="object 95"/>
            <p:cNvPicPr/>
            <p:nvPr/>
          </p:nvPicPr>
          <p:blipFill>
            <a:blip r:embed="rId57" cstate="print"/>
            <a:stretch>
              <a:fillRect/>
            </a:stretch>
          </p:blipFill>
          <p:spPr>
            <a:xfrm>
              <a:off x="6714716" y="2302750"/>
              <a:ext cx="2026973" cy="1031787"/>
            </a:xfrm>
            <a:prstGeom prst="rect">
              <a:avLst/>
            </a:prstGeom>
          </p:spPr>
        </p:pic>
        <p:sp>
          <p:nvSpPr>
            <p:cNvPr id="96" name="object 96"/>
            <p:cNvSpPr/>
            <p:nvPr/>
          </p:nvSpPr>
          <p:spPr>
            <a:xfrm>
              <a:off x="6728459" y="2316480"/>
              <a:ext cx="1949450" cy="954405"/>
            </a:xfrm>
            <a:custGeom>
              <a:avLst/>
              <a:gdLst/>
              <a:ahLst/>
              <a:cxnLst/>
              <a:rect l="l" t="t" r="r" b="b"/>
              <a:pathLst>
                <a:path w="1949450" h="954404">
                  <a:moveTo>
                    <a:pt x="0" y="159004"/>
                  </a:moveTo>
                  <a:lnTo>
                    <a:pt x="8111" y="108768"/>
                  </a:lnTo>
                  <a:lnTo>
                    <a:pt x="30695" y="65123"/>
                  </a:lnTo>
                  <a:lnTo>
                    <a:pt x="65123" y="30695"/>
                  </a:lnTo>
                  <a:lnTo>
                    <a:pt x="108768" y="8111"/>
                  </a:lnTo>
                  <a:lnTo>
                    <a:pt x="159004" y="0"/>
                  </a:lnTo>
                  <a:lnTo>
                    <a:pt x="1790192" y="0"/>
                  </a:lnTo>
                  <a:lnTo>
                    <a:pt x="1840427" y="8111"/>
                  </a:lnTo>
                  <a:lnTo>
                    <a:pt x="1884072" y="30695"/>
                  </a:lnTo>
                  <a:lnTo>
                    <a:pt x="1918500" y="65123"/>
                  </a:lnTo>
                  <a:lnTo>
                    <a:pt x="1941084" y="108768"/>
                  </a:lnTo>
                  <a:lnTo>
                    <a:pt x="1949196" y="159004"/>
                  </a:lnTo>
                  <a:lnTo>
                    <a:pt x="1949196" y="795020"/>
                  </a:lnTo>
                  <a:lnTo>
                    <a:pt x="1941084" y="845255"/>
                  </a:lnTo>
                  <a:lnTo>
                    <a:pt x="1918500" y="888900"/>
                  </a:lnTo>
                  <a:lnTo>
                    <a:pt x="1884072" y="923328"/>
                  </a:lnTo>
                  <a:lnTo>
                    <a:pt x="1840427" y="945912"/>
                  </a:lnTo>
                  <a:lnTo>
                    <a:pt x="1790192" y="954024"/>
                  </a:lnTo>
                  <a:lnTo>
                    <a:pt x="159004" y="954024"/>
                  </a:lnTo>
                  <a:lnTo>
                    <a:pt x="108768" y="945912"/>
                  </a:lnTo>
                  <a:lnTo>
                    <a:pt x="65123" y="923328"/>
                  </a:lnTo>
                  <a:lnTo>
                    <a:pt x="30695" y="888900"/>
                  </a:lnTo>
                  <a:lnTo>
                    <a:pt x="8111" y="845255"/>
                  </a:lnTo>
                  <a:lnTo>
                    <a:pt x="0" y="795020"/>
                  </a:lnTo>
                  <a:lnTo>
                    <a:pt x="0" y="159004"/>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97" name="object 97"/>
            <p:cNvPicPr/>
            <p:nvPr/>
          </p:nvPicPr>
          <p:blipFill>
            <a:blip r:embed="rId58" cstate="screen">
              <a:extLst>
                <a:ext uri="{28A0092B-C50C-407E-A947-70E740481C1C}">
                  <a14:useLocalDpi xmlns:a14="http://schemas.microsoft.com/office/drawing/2010/main"/>
                </a:ext>
              </a:extLst>
            </a:blip>
            <a:stretch>
              <a:fillRect/>
            </a:stretch>
          </p:blipFill>
          <p:spPr>
            <a:xfrm>
              <a:off x="7027798" y="2399360"/>
              <a:ext cx="982979" cy="180136"/>
            </a:xfrm>
            <a:prstGeom prst="rect">
              <a:avLst/>
            </a:prstGeom>
          </p:spPr>
        </p:pic>
        <p:pic>
          <p:nvPicPr>
            <p:cNvPr id="98" name="object 98"/>
            <p:cNvPicPr/>
            <p:nvPr/>
          </p:nvPicPr>
          <p:blipFill>
            <a:blip r:embed="rId59" cstate="screen">
              <a:extLst>
                <a:ext uri="{28A0092B-C50C-407E-A947-70E740481C1C}">
                  <a14:useLocalDpi xmlns:a14="http://schemas.microsoft.com/office/drawing/2010/main"/>
                </a:ext>
              </a:extLst>
            </a:blip>
            <a:stretch>
              <a:fillRect/>
            </a:stretch>
          </p:blipFill>
          <p:spPr>
            <a:xfrm>
              <a:off x="7027798" y="2567686"/>
              <a:ext cx="1097279" cy="179832"/>
            </a:xfrm>
            <a:prstGeom prst="rect">
              <a:avLst/>
            </a:prstGeom>
          </p:spPr>
        </p:pic>
        <p:pic>
          <p:nvPicPr>
            <p:cNvPr id="99" name="object 99"/>
            <p:cNvPicPr/>
            <p:nvPr/>
          </p:nvPicPr>
          <p:blipFill>
            <a:blip r:embed="rId7" cstate="screen">
              <a:extLst>
                <a:ext uri="{28A0092B-C50C-407E-A947-70E740481C1C}">
                  <a14:useLocalDpi xmlns:a14="http://schemas.microsoft.com/office/drawing/2010/main"/>
                </a:ext>
              </a:extLst>
            </a:blip>
            <a:stretch>
              <a:fillRect/>
            </a:stretch>
          </p:blipFill>
          <p:spPr>
            <a:xfrm>
              <a:off x="7027798" y="2736850"/>
              <a:ext cx="141731" cy="131063"/>
            </a:xfrm>
            <a:prstGeom prst="rect">
              <a:avLst/>
            </a:prstGeom>
          </p:spPr>
        </p:pic>
        <p:pic>
          <p:nvPicPr>
            <p:cNvPr id="100" name="object 100"/>
            <p:cNvPicPr/>
            <p:nvPr/>
          </p:nvPicPr>
          <p:blipFill>
            <a:blip r:embed="rId60" cstate="screen">
              <a:extLst>
                <a:ext uri="{28A0092B-C50C-407E-A947-70E740481C1C}">
                  <a14:useLocalDpi xmlns:a14="http://schemas.microsoft.com/office/drawing/2010/main"/>
                </a:ext>
              </a:extLst>
            </a:blip>
            <a:stretch>
              <a:fillRect/>
            </a:stretch>
          </p:blipFill>
          <p:spPr>
            <a:xfrm>
              <a:off x="7122286" y="2736850"/>
              <a:ext cx="931964" cy="131063"/>
            </a:xfrm>
            <a:prstGeom prst="rect">
              <a:avLst/>
            </a:prstGeom>
          </p:spPr>
        </p:pic>
        <p:pic>
          <p:nvPicPr>
            <p:cNvPr id="101" name="object 101"/>
            <p:cNvPicPr/>
            <p:nvPr/>
          </p:nvPicPr>
          <p:blipFill>
            <a:blip r:embed="rId61" cstate="screen">
              <a:extLst>
                <a:ext uri="{28A0092B-C50C-407E-A947-70E740481C1C}">
                  <a14:useLocalDpi xmlns:a14="http://schemas.microsoft.com/office/drawing/2010/main"/>
                </a:ext>
              </a:extLst>
            </a:blip>
            <a:stretch>
              <a:fillRect/>
            </a:stretch>
          </p:blipFill>
          <p:spPr>
            <a:xfrm>
              <a:off x="7027798" y="2858770"/>
              <a:ext cx="1182217" cy="131063"/>
            </a:xfrm>
            <a:prstGeom prst="rect">
              <a:avLst/>
            </a:prstGeom>
          </p:spPr>
        </p:pic>
        <p:pic>
          <p:nvPicPr>
            <p:cNvPr id="102" name="object 102"/>
            <p:cNvPicPr/>
            <p:nvPr/>
          </p:nvPicPr>
          <p:blipFill>
            <a:blip r:embed="rId62" cstate="print"/>
            <a:stretch>
              <a:fillRect/>
            </a:stretch>
          </p:blipFill>
          <p:spPr>
            <a:xfrm>
              <a:off x="6251447" y="2439924"/>
              <a:ext cx="723900" cy="723900"/>
            </a:xfrm>
            <a:prstGeom prst="rect">
              <a:avLst/>
            </a:prstGeom>
          </p:spPr>
        </p:pic>
        <p:sp>
          <p:nvSpPr>
            <p:cNvPr id="103" name="object 103"/>
            <p:cNvSpPr/>
            <p:nvPr/>
          </p:nvSpPr>
          <p:spPr>
            <a:xfrm>
              <a:off x="6246621" y="2435098"/>
              <a:ext cx="734060" cy="734060"/>
            </a:xfrm>
            <a:custGeom>
              <a:avLst/>
              <a:gdLst/>
              <a:ahLst/>
              <a:cxnLst/>
              <a:rect l="l" t="t" r="r" b="b"/>
              <a:pathLst>
                <a:path w="734059" h="734060">
                  <a:moveTo>
                    <a:pt x="366775" y="0"/>
                  </a:moveTo>
                  <a:lnTo>
                    <a:pt x="440689" y="7492"/>
                  </a:lnTo>
                  <a:lnTo>
                    <a:pt x="509524" y="28828"/>
                  </a:lnTo>
                  <a:lnTo>
                    <a:pt x="571753" y="62737"/>
                  </a:lnTo>
                  <a:lnTo>
                    <a:pt x="626109" y="107441"/>
                  </a:lnTo>
                  <a:lnTo>
                    <a:pt x="670813" y="161798"/>
                  </a:lnTo>
                  <a:lnTo>
                    <a:pt x="704723" y="224027"/>
                  </a:lnTo>
                  <a:lnTo>
                    <a:pt x="726058" y="292862"/>
                  </a:lnTo>
                  <a:lnTo>
                    <a:pt x="733551" y="366775"/>
                  </a:lnTo>
                  <a:lnTo>
                    <a:pt x="731647" y="404240"/>
                  </a:lnTo>
                  <a:lnTo>
                    <a:pt x="717042" y="475868"/>
                  </a:lnTo>
                  <a:lnTo>
                    <a:pt x="689228" y="541527"/>
                  </a:lnTo>
                  <a:lnTo>
                    <a:pt x="649731" y="600075"/>
                  </a:lnTo>
                  <a:lnTo>
                    <a:pt x="600075" y="649731"/>
                  </a:lnTo>
                  <a:lnTo>
                    <a:pt x="541527" y="689228"/>
                  </a:lnTo>
                  <a:lnTo>
                    <a:pt x="475869" y="717041"/>
                  </a:lnTo>
                  <a:lnTo>
                    <a:pt x="404241" y="731647"/>
                  </a:lnTo>
                  <a:lnTo>
                    <a:pt x="366775" y="733551"/>
                  </a:lnTo>
                  <a:lnTo>
                    <a:pt x="329310" y="731647"/>
                  </a:lnTo>
                  <a:lnTo>
                    <a:pt x="257682" y="717041"/>
                  </a:lnTo>
                  <a:lnTo>
                    <a:pt x="192024" y="689228"/>
                  </a:lnTo>
                  <a:lnTo>
                    <a:pt x="133476" y="649731"/>
                  </a:lnTo>
                  <a:lnTo>
                    <a:pt x="83819" y="600075"/>
                  </a:lnTo>
                  <a:lnTo>
                    <a:pt x="44323" y="541527"/>
                  </a:lnTo>
                  <a:lnTo>
                    <a:pt x="16510" y="475868"/>
                  </a:lnTo>
                  <a:lnTo>
                    <a:pt x="1904" y="404240"/>
                  </a:lnTo>
                  <a:lnTo>
                    <a:pt x="0" y="366775"/>
                  </a:lnTo>
                  <a:lnTo>
                    <a:pt x="1904" y="329311"/>
                  </a:lnTo>
                  <a:lnTo>
                    <a:pt x="16510" y="257682"/>
                  </a:lnTo>
                  <a:lnTo>
                    <a:pt x="44323" y="192024"/>
                  </a:lnTo>
                  <a:lnTo>
                    <a:pt x="83819" y="133476"/>
                  </a:lnTo>
                  <a:lnTo>
                    <a:pt x="133476" y="83819"/>
                  </a:lnTo>
                  <a:lnTo>
                    <a:pt x="192024" y="44323"/>
                  </a:lnTo>
                  <a:lnTo>
                    <a:pt x="257682" y="16510"/>
                  </a:lnTo>
                  <a:lnTo>
                    <a:pt x="329310" y="1904"/>
                  </a:lnTo>
                  <a:lnTo>
                    <a:pt x="366775"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104" name="object 104"/>
          <p:cNvGrpSpPr/>
          <p:nvPr/>
        </p:nvGrpSpPr>
        <p:grpSpPr>
          <a:xfrm>
            <a:off x="854710" y="4797107"/>
            <a:ext cx="1680210" cy="1230630"/>
            <a:chOff x="854710" y="4797107"/>
            <a:chExt cx="1680210" cy="1230630"/>
          </a:xfrm>
        </p:grpSpPr>
        <p:sp>
          <p:nvSpPr>
            <p:cNvPr id="105" name="object 105"/>
            <p:cNvSpPr/>
            <p:nvPr/>
          </p:nvSpPr>
          <p:spPr>
            <a:xfrm>
              <a:off x="861060" y="5318760"/>
              <a:ext cx="1667510" cy="702945"/>
            </a:xfrm>
            <a:custGeom>
              <a:avLst/>
              <a:gdLst/>
              <a:ahLst/>
              <a:cxnLst/>
              <a:rect l="l" t="t" r="r" b="b"/>
              <a:pathLst>
                <a:path w="1667510" h="702945">
                  <a:moveTo>
                    <a:pt x="0" y="117093"/>
                  </a:moveTo>
                  <a:lnTo>
                    <a:pt x="9201" y="71526"/>
                  </a:lnTo>
                  <a:lnTo>
                    <a:pt x="34296" y="34305"/>
                  </a:lnTo>
                  <a:lnTo>
                    <a:pt x="71516" y="9205"/>
                  </a:lnTo>
                  <a:lnTo>
                    <a:pt x="117093" y="0"/>
                  </a:lnTo>
                  <a:lnTo>
                    <a:pt x="1550162" y="0"/>
                  </a:lnTo>
                  <a:lnTo>
                    <a:pt x="1595729" y="9205"/>
                  </a:lnTo>
                  <a:lnTo>
                    <a:pt x="1632950" y="34305"/>
                  </a:lnTo>
                  <a:lnTo>
                    <a:pt x="1658050" y="71526"/>
                  </a:lnTo>
                  <a:lnTo>
                    <a:pt x="1667256" y="117093"/>
                  </a:lnTo>
                  <a:lnTo>
                    <a:pt x="1667256" y="585469"/>
                  </a:lnTo>
                  <a:lnTo>
                    <a:pt x="1658050" y="631047"/>
                  </a:lnTo>
                  <a:lnTo>
                    <a:pt x="1632950" y="668267"/>
                  </a:lnTo>
                  <a:lnTo>
                    <a:pt x="1595729" y="693362"/>
                  </a:lnTo>
                  <a:lnTo>
                    <a:pt x="1550162" y="702563"/>
                  </a:lnTo>
                  <a:lnTo>
                    <a:pt x="117093" y="702563"/>
                  </a:lnTo>
                  <a:lnTo>
                    <a:pt x="71516" y="693362"/>
                  </a:lnTo>
                  <a:lnTo>
                    <a:pt x="34296" y="668267"/>
                  </a:lnTo>
                  <a:lnTo>
                    <a:pt x="9201" y="631047"/>
                  </a:lnTo>
                  <a:lnTo>
                    <a:pt x="0" y="585469"/>
                  </a:lnTo>
                  <a:lnTo>
                    <a:pt x="0" y="117093"/>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06" name="object 106"/>
            <p:cNvPicPr/>
            <p:nvPr/>
          </p:nvPicPr>
          <p:blipFill>
            <a:blip r:embed="rId63" cstate="screen">
              <a:extLst>
                <a:ext uri="{28A0092B-C50C-407E-A947-70E740481C1C}">
                  <a14:useLocalDpi xmlns:a14="http://schemas.microsoft.com/office/drawing/2010/main"/>
                </a:ext>
              </a:extLst>
            </a:blip>
            <a:stretch>
              <a:fillRect/>
            </a:stretch>
          </p:blipFill>
          <p:spPr>
            <a:xfrm>
              <a:off x="1354836" y="5558028"/>
              <a:ext cx="772668" cy="180136"/>
            </a:xfrm>
            <a:prstGeom prst="rect">
              <a:avLst/>
            </a:prstGeom>
          </p:spPr>
        </p:pic>
        <p:pic>
          <p:nvPicPr>
            <p:cNvPr id="107" name="object 107"/>
            <p:cNvPicPr/>
            <p:nvPr/>
          </p:nvPicPr>
          <p:blipFill>
            <a:blip r:embed="rId64" cstate="screen">
              <a:extLst>
                <a:ext uri="{28A0092B-C50C-407E-A947-70E740481C1C}">
                  <a14:useLocalDpi xmlns:a14="http://schemas.microsoft.com/office/drawing/2010/main"/>
                </a:ext>
              </a:extLst>
            </a:blip>
            <a:stretch>
              <a:fillRect/>
            </a:stretch>
          </p:blipFill>
          <p:spPr>
            <a:xfrm>
              <a:off x="1185672" y="5727801"/>
              <a:ext cx="1063980" cy="131063"/>
            </a:xfrm>
            <a:prstGeom prst="rect">
              <a:avLst/>
            </a:prstGeom>
          </p:spPr>
        </p:pic>
        <p:pic>
          <p:nvPicPr>
            <p:cNvPr id="108" name="object 108"/>
            <p:cNvPicPr/>
            <p:nvPr/>
          </p:nvPicPr>
          <p:blipFill>
            <a:blip r:embed="rId65" cstate="screen">
              <a:extLst>
                <a:ext uri="{28A0092B-C50C-407E-A947-70E740481C1C}">
                  <a14:useLocalDpi xmlns:a14="http://schemas.microsoft.com/office/drawing/2010/main"/>
                </a:ext>
              </a:extLst>
            </a:blip>
            <a:stretch>
              <a:fillRect/>
            </a:stretch>
          </p:blipFill>
          <p:spPr>
            <a:xfrm>
              <a:off x="1208532" y="5849721"/>
              <a:ext cx="1014590" cy="131063"/>
            </a:xfrm>
            <a:prstGeom prst="rect">
              <a:avLst/>
            </a:prstGeom>
          </p:spPr>
        </p:pic>
        <p:pic>
          <p:nvPicPr>
            <p:cNvPr id="109" name="object 109"/>
            <p:cNvPicPr/>
            <p:nvPr/>
          </p:nvPicPr>
          <p:blipFill>
            <a:blip r:embed="rId66" cstate="print"/>
            <a:stretch>
              <a:fillRect/>
            </a:stretch>
          </p:blipFill>
          <p:spPr>
            <a:xfrm>
              <a:off x="1333500" y="4806696"/>
              <a:ext cx="720851" cy="719327"/>
            </a:xfrm>
            <a:prstGeom prst="rect">
              <a:avLst/>
            </a:prstGeom>
          </p:spPr>
        </p:pic>
        <p:sp>
          <p:nvSpPr>
            <p:cNvPr id="110" name="object 110"/>
            <p:cNvSpPr/>
            <p:nvPr/>
          </p:nvSpPr>
          <p:spPr>
            <a:xfrm>
              <a:off x="1328674" y="4801870"/>
              <a:ext cx="730885" cy="728980"/>
            </a:xfrm>
            <a:custGeom>
              <a:avLst/>
              <a:gdLst/>
              <a:ahLst/>
              <a:cxnLst/>
              <a:rect l="l" t="t" r="r" b="b"/>
              <a:pathLst>
                <a:path w="730885" h="728979">
                  <a:moveTo>
                    <a:pt x="365251" y="0"/>
                  </a:moveTo>
                  <a:lnTo>
                    <a:pt x="438784" y="7492"/>
                  </a:lnTo>
                  <a:lnTo>
                    <a:pt x="507364" y="28701"/>
                  </a:lnTo>
                  <a:lnTo>
                    <a:pt x="569468" y="62356"/>
                  </a:lnTo>
                  <a:lnTo>
                    <a:pt x="623443" y="106806"/>
                  </a:lnTo>
                  <a:lnTo>
                    <a:pt x="668019" y="160781"/>
                  </a:lnTo>
                  <a:lnTo>
                    <a:pt x="701801" y="222630"/>
                  </a:lnTo>
                  <a:lnTo>
                    <a:pt x="723011" y="291083"/>
                  </a:lnTo>
                  <a:lnTo>
                    <a:pt x="730503" y="364489"/>
                  </a:lnTo>
                  <a:lnTo>
                    <a:pt x="728599" y="401700"/>
                  </a:lnTo>
                  <a:lnTo>
                    <a:pt x="713994" y="472820"/>
                  </a:lnTo>
                  <a:lnTo>
                    <a:pt x="686307" y="538225"/>
                  </a:lnTo>
                  <a:lnTo>
                    <a:pt x="647064" y="596264"/>
                  </a:lnTo>
                  <a:lnTo>
                    <a:pt x="597534" y="645667"/>
                  </a:lnTo>
                  <a:lnTo>
                    <a:pt x="539369" y="684910"/>
                  </a:lnTo>
                  <a:lnTo>
                    <a:pt x="473837" y="712596"/>
                  </a:lnTo>
                  <a:lnTo>
                    <a:pt x="402589" y="727074"/>
                  </a:lnTo>
                  <a:lnTo>
                    <a:pt x="365251" y="728979"/>
                  </a:lnTo>
                  <a:lnTo>
                    <a:pt x="327913" y="727074"/>
                  </a:lnTo>
                  <a:lnTo>
                    <a:pt x="256666" y="712596"/>
                  </a:lnTo>
                  <a:lnTo>
                    <a:pt x="191134" y="684910"/>
                  </a:lnTo>
                  <a:lnTo>
                    <a:pt x="132969" y="645667"/>
                  </a:lnTo>
                  <a:lnTo>
                    <a:pt x="83438" y="596264"/>
                  </a:lnTo>
                  <a:lnTo>
                    <a:pt x="44195" y="538225"/>
                  </a:lnTo>
                  <a:lnTo>
                    <a:pt x="16509" y="472820"/>
                  </a:lnTo>
                  <a:lnTo>
                    <a:pt x="1904" y="401700"/>
                  </a:lnTo>
                  <a:lnTo>
                    <a:pt x="0" y="364489"/>
                  </a:lnTo>
                  <a:lnTo>
                    <a:pt x="1904" y="327278"/>
                  </a:lnTo>
                  <a:lnTo>
                    <a:pt x="16509" y="256158"/>
                  </a:lnTo>
                  <a:lnTo>
                    <a:pt x="44195" y="190753"/>
                  </a:lnTo>
                  <a:lnTo>
                    <a:pt x="83438" y="132714"/>
                  </a:lnTo>
                  <a:lnTo>
                    <a:pt x="132969" y="83311"/>
                  </a:lnTo>
                  <a:lnTo>
                    <a:pt x="191134" y="44068"/>
                  </a:lnTo>
                  <a:lnTo>
                    <a:pt x="256666" y="16382"/>
                  </a:lnTo>
                  <a:lnTo>
                    <a:pt x="327913" y="1904"/>
                  </a:lnTo>
                  <a:lnTo>
                    <a:pt x="365251"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111" name="object 111"/>
          <p:cNvGrpSpPr/>
          <p:nvPr/>
        </p:nvGrpSpPr>
        <p:grpSpPr>
          <a:xfrm>
            <a:off x="7898638" y="3489515"/>
            <a:ext cx="1680210" cy="1221740"/>
            <a:chOff x="7898638" y="3489515"/>
            <a:chExt cx="1680210" cy="1221740"/>
          </a:xfrm>
        </p:grpSpPr>
        <p:sp>
          <p:nvSpPr>
            <p:cNvPr id="112" name="object 112"/>
            <p:cNvSpPr/>
            <p:nvPr/>
          </p:nvSpPr>
          <p:spPr>
            <a:xfrm>
              <a:off x="7904988" y="4020312"/>
              <a:ext cx="1667510" cy="684530"/>
            </a:xfrm>
            <a:custGeom>
              <a:avLst/>
              <a:gdLst/>
              <a:ahLst/>
              <a:cxnLst/>
              <a:rect l="l" t="t" r="r" b="b"/>
              <a:pathLst>
                <a:path w="1667509" h="684529">
                  <a:moveTo>
                    <a:pt x="0" y="114045"/>
                  </a:moveTo>
                  <a:lnTo>
                    <a:pt x="8961" y="69651"/>
                  </a:lnTo>
                  <a:lnTo>
                    <a:pt x="33400" y="33400"/>
                  </a:lnTo>
                  <a:lnTo>
                    <a:pt x="69651" y="8961"/>
                  </a:lnTo>
                  <a:lnTo>
                    <a:pt x="114045" y="0"/>
                  </a:lnTo>
                  <a:lnTo>
                    <a:pt x="1553209" y="0"/>
                  </a:lnTo>
                  <a:lnTo>
                    <a:pt x="1597604" y="8961"/>
                  </a:lnTo>
                  <a:lnTo>
                    <a:pt x="1633854" y="33400"/>
                  </a:lnTo>
                  <a:lnTo>
                    <a:pt x="1658294" y="69651"/>
                  </a:lnTo>
                  <a:lnTo>
                    <a:pt x="1667255" y="114045"/>
                  </a:lnTo>
                  <a:lnTo>
                    <a:pt x="1667255" y="570230"/>
                  </a:lnTo>
                  <a:lnTo>
                    <a:pt x="1658294" y="614624"/>
                  </a:lnTo>
                  <a:lnTo>
                    <a:pt x="1633854" y="650875"/>
                  </a:lnTo>
                  <a:lnTo>
                    <a:pt x="1597604" y="675314"/>
                  </a:lnTo>
                  <a:lnTo>
                    <a:pt x="1553209" y="684276"/>
                  </a:lnTo>
                  <a:lnTo>
                    <a:pt x="114045" y="684276"/>
                  </a:lnTo>
                  <a:lnTo>
                    <a:pt x="69651" y="675314"/>
                  </a:lnTo>
                  <a:lnTo>
                    <a:pt x="33400" y="650875"/>
                  </a:lnTo>
                  <a:lnTo>
                    <a:pt x="8961" y="614624"/>
                  </a:lnTo>
                  <a:lnTo>
                    <a:pt x="0" y="570230"/>
                  </a:lnTo>
                  <a:lnTo>
                    <a:pt x="0" y="114045"/>
                  </a:lnTo>
                  <a:close/>
                </a:path>
              </a:pathLst>
            </a:custGeom>
            <a:ln w="12699">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13" name="object 113"/>
            <p:cNvPicPr/>
            <p:nvPr/>
          </p:nvPicPr>
          <p:blipFill>
            <a:blip r:embed="rId67" cstate="screen">
              <a:extLst>
                <a:ext uri="{28A0092B-C50C-407E-A947-70E740481C1C}">
                  <a14:useLocalDpi xmlns:a14="http://schemas.microsoft.com/office/drawing/2010/main"/>
                </a:ext>
              </a:extLst>
            </a:blip>
            <a:stretch>
              <a:fillRect/>
            </a:stretch>
          </p:blipFill>
          <p:spPr>
            <a:xfrm>
              <a:off x="8288147" y="4259580"/>
              <a:ext cx="962355" cy="179831"/>
            </a:xfrm>
            <a:prstGeom prst="rect">
              <a:avLst/>
            </a:prstGeom>
          </p:spPr>
        </p:pic>
        <p:pic>
          <p:nvPicPr>
            <p:cNvPr id="114" name="object 114"/>
            <p:cNvPicPr/>
            <p:nvPr/>
          </p:nvPicPr>
          <p:blipFill>
            <a:blip r:embed="rId68" cstate="screen">
              <a:extLst>
                <a:ext uri="{28A0092B-C50C-407E-A947-70E740481C1C}">
                  <a14:useLocalDpi xmlns:a14="http://schemas.microsoft.com/office/drawing/2010/main"/>
                </a:ext>
              </a:extLst>
            </a:blip>
            <a:stretch>
              <a:fillRect/>
            </a:stretch>
          </p:blipFill>
          <p:spPr>
            <a:xfrm>
              <a:off x="7965059" y="4428744"/>
              <a:ext cx="1590560" cy="131063"/>
            </a:xfrm>
            <a:prstGeom prst="rect">
              <a:avLst/>
            </a:prstGeom>
          </p:spPr>
        </p:pic>
        <p:pic>
          <p:nvPicPr>
            <p:cNvPr id="115" name="object 115"/>
            <p:cNvPicPr/>
            <p:nvPr/>
          </p:nvPicPr>
          <p:blipFill>
            <a:blip r:embed="rId69" cstate="screen">
              <a:extLst>
                <a:ext uri="{28A0092B-C50C-407E-A947-70E740481C1C}">
                  <a14:useLocalDpi xmlns:a14="http://schemas.microsoft.com/office/drawing/2010/main"/>
                </a:ext>
              </a:extLst>
            </a:blip>
            <a:stretch>
              <a:fillRect/>
            </a:stretch>
          </p:blipFill>
          <p:spPr>
            <a:xfrm>
              <a:off x="8178419" y="4550613"/>
              <a:ext cx="1163205" cy="131368"/>
            </a:xfrm>
            <a:prstGeom prst="rect">
              <a:avLst/>
            </a:prstGeom>
          </p:spPr>
        </p:pic>
        <p:pic>
          <p:nvPicPr>
            <p:cNvPr id="116" name="object 116"/>
            <p:cNvPicPr/>
            <p:nvPr/>
          </p:nvPicPr>
          <p:blipFill>
            <a:blip r:embed="rId70" cstate="print"/>
            <a:stretch>
              <a:fillRect/>
            </a:stretch>
          </p:blipFill>
          <p:spPr>
            <a:xfrm>
              <a:off x="8372856" y="3499104"/>
              <a:ext cx="720737" cy="708660"/>
            </a:xfrm>
            <a:prstGeom prst="rect">
              <a:avLst/>
            </a:prstGeom>
          </p:spPr>
        </p:pic>
        <p:sp>
          <p:nvSpPr>
            <p:cNvPr id="117" name="object 117"/>
            <p:cNvSpPr/>
            <p:nvPr/>
          </p:nvSpPr>
          <p:spPr>
            <a:xfrm>
              <a:off x="8368030" y="3494278"/>
              <a:ext cx="730885" cy="718820"/>
            </a:xfrm>
            <a:custGeom>
              <a:avLst/>
              <a:gdLst/>
              <a:ahLst/>
              <a:cxnLst/>
              <a:rect l="l" t="t" r="r" b="b"/>
              <a:pathLst>
                <a:path w="730884" h="718820">
                  <a:moveTo>
                    <a:pt x="365251" y="0"/>
                  </a:moveTo>
                  <a:lnTo>
                    <a:pt x="438785" y="7366"/>
                  </a:lnTo>
                  <a:lnTo>
                    <a:pt x="507365" y="28321"/>
                  </a:lnTo>
                  <a:lnTo>
                    <a:pt x="569468" y="61341"/>
                  </a:lnTo>
                  <a:lnTo>
                    <a:pt x="623443" y="105156"/>
                  </a:lnTo>
                  <a:lnTo>
                    <a:pt x="668020" y="158369"/>
                  </a:lnTo>
                  <a:lnTo>
                    <a:pt x="701675" y="219329"/>
                  </a:lnTo>
                  <a:lnTo>
                    <a:pt x="723011" y="286766"/>
                  </a:lnTo>
                  <a:lnTo>
                    <a:pt x="730503" y="359156"/>
                  </a:lnTo>
                  <a:lnTo>
                    <a:pt x="728599" y="395859"/>
                  </a:lnTo>
                  <a:lnTo>
                    <a:pt x="713994" y="465963"/>
                  </a:lnTo>
                  <a:lnTo>
                    <a:pt x="686308" y="530352"/>
                  </a:lnTo>
                  <a:lnTo>
                    <a:pt x="647065" y="587629"/>
                  </a:lnTo>
                  <a:lnTo>
                    <a:pt x="597535" y="636270"/>
                  </a:lnTo>
                  <a:lnTo>
                    <a:pt x="539242" y="674878"/>
                  </a:lnTo>
                  <a:lnTo>
                    <a:pt x="473837" y="702056"/>
                  </a:lnTo>
                  <a:lnTo>
                    <a:pt x="402590" y="716407"/>
                  </a:lnTo>
                  <a:lnTo>
                    <a:pt x="365251" y="718312"/>
                  </a:lnTo>
                  <a:lnTo>
                    <a:pt x="327914" y="716407"/>
                  </a:lnTo>
                  <a:lnTo>
                    <a:pt x="256667" y="702056"/>
                  </a:lnTo>
                  <a:lnTo>
                    <a:pt x="191262" y="674878"/>
                  </a:lnTo>
                  <a:lnTo>
                    <a:pt x="132969" y="636270"/>
                  </a:lnTo>
                  <a:lnTo>
                    <a:pt x="83439" y="587629"/>
                  </a:lnTo>
                  <a:lnTo>
                    <a:pt x="44196" y="530352"/>
                  </a:lnTo>
                  <a:lnTo>
                    <a:pt x="16510" y="465963"/>
                  </a:lnTo>
                  <a:lnTo>
                    <a:pt x="1904" y="395859"/>
                  </a:lnTo>
                  <a:lnTo>
                    <a:pt x="0" y="359156"/>
                  </a:lnTo>
                  <a:lnTo>
                    <a:pt x="1904" y="322453"/>
                  </a:lnTo>
                  <a:lnTo>
                    <a:pt x="16510" y="252349"/>
                  </a:lnTo>
                  <a:lnTo>
                    <a:pt x="44196" y="187960"/>
                  </a:lnTo>
                  <a:lnTo>
                    <a:pt x="83439" y="130683"/>
                  </a:lnTo>
                  <a:lnTo>
                    <a:pt x="132969" y="82042"/>
                  </a:lnTo>
                  <a:lnTo>
                    <a:pt x="191262" y="43434"/>
                  </a:lnTo>
                  <a:lnTo>
                    <a:pt x="256667" y="16256"/>
                  </a:lnTo>
                  <a:lnTo>
                    <a:pt x="327914" y="1905"/>
                  </a:lnTo>
                  <a:lnTo>
                    <a:pt x="365251"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118" name="object 118"/>
          <p:cNvGrpSpPr/>
          <p:nvPr/>
        </p:nvGrpSpPr>
        <p:grpSpPr>
          <a:xfrm>
            <a:off x="4341876" y="1249425"/>
            <a:ext cx="3343275" cy="967105"/>
            <a:chOff x="4341876" y="1249425"/>
            <a:chExt cx="3343275" cy="967105"/>
          </a:xfrm>
        </p:grpSpPr>
        <p:sp>
          <p:nvSpPr>
            <p:cNvPr id="119" name="object 119"/>
            <p:cNvSpPr/>
            <p:nvPr/>
          </p:nvSpPr>
          <p:spPr>
            <a:xfrm>
              <a:off x="4852416" y="1255775"/>
              <a:ext cx="2822575" cy="954405"/>
            </a:xfrm>
            <a:custGeom>
              <a:avLst/>
              <a:gdLst/>
              <a:ahLst/>
              <a:cxnLst/>
              <a:rect l="l" t="t" r="r" b="b"/>
              <a:pathLst>
                <a:path w="2822575" h="954405">
                  <a:moveTo>
                    <a:pt x="0" y="159003"/>
                  </a:moveTo>
                  <a:lnTo>
                    <a:pt x="8111" y="108768"/>
                  </a:lnTo>
                  <a:lnTo>
                    <a:pt x="30695" y="65123"/>
                  </a:lnTo>
                  <a:lnTo>
                    <a:pt x="65123" y="30695"/>
                  </a:lnTo>
                  <a:lnTo>
                    <a:pt x="108768" y="8111"/>
                  </a:lnTo>
                  <a:lnTo>
                    <a:pt x="159004" y="0"/>
                  </a:lnTo>
                  <a:lnTo>
                    <a:pt x="2663443" y="0"/>
                  </a:lnTo>
                  <a:lnTo>
                    <a:pt x="2713679" y="8111"/>
                  </a:lnTo>
                  <a:lnTo>
                    <a:pt x="2757324" y="30695"/>
                  </a:lnTo>
                  <a:lnTo>
                    <a:pt x="2791752" y="65123"/>
                  </a:lnTo>
                  <a:lnTo>
                    <a:pt x="2814336" y="108768"/>
                  </a:lnTo>
                  <a:lnTo>
                    <a:pt x="2822448" y="159003"/>
                  </a:lnTo>
                  <a:lnTo>
                    <a:pt x="2822448" y="795020"/>
                  </a:lnTo>
                  <a:lnTo>
                    <a:pt x="2814336" y="845255"/>
                  </a:lnTo>
                  <a:lnTo>
                    <a:pt x="2791752" y="888900"/>
                  </a:lnTo>
                  <a:lnTo>
                    <a:pt x="2757324" y="923328"/>
                  </a:lnTo>
                  <a:lnTo>
                    <a:pt x="2713679" y="945912"/>
                  </a:lnTo>
                  <a:lnTo>
                    <a:pt x="2663443" y="954024"/>
                  </a:lnTo>
                  <a:lnTo>
                    <a:pt x="159004" y="954024"/>
                  </a:lnTo>
                  <a:lnTo>
                    <a:pt x="108768" y="945912"/>
                  </a:lnTo>
                  <a:lnTo>
                    <a:pt x="65123" y="923328"/>
                  </a:lnTo>
                  <a:lnTo>
                    <a:pt x="30695" y="888900"/>
                  </a:lnTo>
                  <a:lnTo>
                    <a:pt x="8111" y="845255"/>
                  </a:lnTo>
                  <a:lnTo>
                    <a:pt x="0" y="795020"/>
                  </a:lnTo>
                  <a:lnTo>
                    <a:pt x="0" y="159003"/>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20" name="object 120"/>
            <p:cNvPicPr/>
            <p:nvPr/>
          </p:nvPicPr>
          <p:blipFill>
            <a:blip r:embed="rId71" cstate="screen">
              <a:extLst>
                <a:ext uri="{28A0092B-C50C-407E-A947-70E740481C1C}">
                  <a14:useLocalDpi xmlns:a14="http://schemas.microsoft.com/office/drawing/2010/main"/>
                </a:ext>
              </a:extLst>
            </a:blip>
            <a:stretch>
              <a:fillRect/>
            </a:stretch>
          </p:blipFill>
          <p:spPr>
            <a:xfrm>
              <a:off x="5150866" y="1339341"/>
              <a:ext cx="659041" cy="179832"/>
            </a:xfrm>
            <a:prstGeom prst="rect">
              <a:avLst/>
            </a:prstGeom>
          </p:spPr>
        </p:pic>
        <p:pic>
          <p:nvPicPr>
            <p:cNvPr id="121" name="object 121"/>
            <p:cNvPicPr/>
            <p:nvPr/>
          </p:nvPicPr>
          <p:blipFill>
            <a:blip r:embed="rId72" cstate="screen">
              <a:extLst>
                <a:ext uri="{28A0092B-C50C-407E-A947-70E740481C1C}">
                  <a14:useLocalDpi xmlns:a14="http://schemas.microsoft.com/office/drawing/2010/main"/>
                </a:ext>
              </a:extLst>
            </a:blip>
            <a:stretch>
              <a:fillRect/>
            </a:stretch>
          </p:blipFill>
          <p:spPr>
            <a:xfrm>
              <a:off x="5150866" y="1506981"/>
              <a:ext cx="1895729" cy="179832"/>
            </a:xfrm>
            <a:prstGeom prst="rect">
              <a:avLst/>
            </a:prstGeom>
          </p:spPr>
        </p:pic>
        <p:pic>
          <p:nvPicPr>
            <p:cNvPr id="122" name="object 122"/>
            <p:cNvPicPr/>
            <p:nvPr/>
          </p:nvPicPr>
          <p:blipFill>
            <a:blip r:embed="rId7" cstate="screen">
              <a:extLst>
                <a:ext uri="{28A0092B-C50C-407E-A947-70E740481C1C}">
                  <a14:useLocalDpi xmlns:a14="http://schemas.microsoft.com/office/drawing/2010/main"/>
                </a:ext>
              </a:extLst>
            </a:blip>
            <a:stretch>
              <a:fillRect/>
            </a:stretch>
          </p:blipFill>
          <p:spPr>
            <a:xfrm>
              <a:off x="5150866" y="1676145"/>
              <a:ext cx="141732" cy="131063"/>
            </a:xfrm>
            <a:prstGeom prst="rect">
              <a:avLst/>
            </a:prstGeom>
          </p:spPr>
        </p:pic>
        <p:pic>
          <p:nvPicPr>
            <p:cNvPr id="123" name="object 123"/>
            <p:cNvPicPr/>
            <p:nvPr/>
          </p:nvPicPr>
          <p:blipFill>
            <a:blip r:embed="rId73" cstate="screen">
              <a:extLst>
                <a:ext uri="{28A0092B-C50C-407E-A947-70E740481C1C}">
                  <a14:useLocalDpi xmlns:a14="http://schemas.microsoft.com/office/drawing/2010/main"/>
                </a:ext>
              </a:extLst>
            </a:blip>
            <a:stretch>
              <a:fillRect/>
            </a:stretch>
          </p:blipFill>
          <p:spPr>
            <a:xfrm>
              <a:off x="5245354" y="1676145"/>
              <a:ext cx="2439797" cy="131063"/>
            </a:xfrm>
            <a:prstGeom prst="rect">
              <a:avLst/>
            </a:prstGeom>
          </p:spPr>
        </p:pic>
        <p:pic>
          <p:nvPicPr>
            <p:cNvPr id="124" name="object 124"/>
            <p:cNvPicPr/>
            <p:nvPr/>
          </p:nvPicPr>
          <p:blipFill>
            <a:blip r:embed="rId74" cstate="screen">
              <a:extLst>
                <a:ext uri="{28A0092B-C50C-407E-A947-70E740481C1C}">
                  <a14:useLocalDpi xmlns:a14="http://schemas.microsoft.com/office/drawing/2010/main"/>
                </a:ext>
              </a:extLst>
            </a:blip>
            <a:stretch>
              <a:fillRect/>
            </a:stretch>
          </p:blipFill>
          <p:spPr>
            <a:xfrm>
              <a:off x="5150866" y="1798065"/>
              <a:ext cx="1332991" cy="131063"/>
            </a:xfrm>
            <a:prstGeom prst="rect">
              <a:avLst/>
            </a:prstGeom>
          </p:spPr>
        </p:pic>
        <p:pic>
          <p:nvPicPr>
            <p:cNvPr id="125" name="object 125"/>
            <p:cNvPicPr/>
            <p:nvPr/>
          </p:nvPicPr>
          <p:blipFill>
            <a:blip r:embed="rId75" cstate="print"/>
            <a:stretch>
              <a:fillRect/>
            </a:stretch>
          </p:blipFill>
          <p:spPr>
            <a:xfrm>
              <a:off x="4341876" y="1339583"/>
              <a:ext cx="835164" cy="833640"/>
            </a:xfrm>
            <a:prstGeom prst="rect">
              <a:avLst/>
            </a:prstGeom>
          </p:spPr>
        </p:pic>
        <p:pic>
          <p:nvPicPr>
            <p:cNvPr id="126" name="object 126"/>
            <p:cNvPicPr/>
            <p:nvPr/>
          </p:nvPicPr>
          <p:blipFill>
            <a:blip r:embed="rId76" cstate="print"/>
            <a:stretch>
              <a:fillRect/>
            </a:stretch>
          </p:blipFill>
          <p:spPr>
            <a:xfrm>
              <a:off x="4373880" y="1371599"/>
              <a:ext cx="720852" cy="719327"/>
            </a:xfrm>
            <a:prstGeom prst="rect">
              <a:avLst/>
            </a:prstGeom>
          </p:spPr>
        </p:pic>
        <p:sp>
          <p:nvSpPr>
            <p:cNvPr id="127" name="object 127"/>
            <p:cNvSpPr/>
            <p:nvPr/>
          </p:nvSpPr>
          <p:spPr>
            <a:xfrm>
              <a:off x="4373880" y="1371599"/>
              <a:ext cx="721360" cy="719455"/>
            </a:xfrm>
            <a:custGeom>
              <a:avLst/>
              <a:gdLst/>
              <a:ahLst/>
              <a:cxnLst/>
              <a:rect l="l" t="t" r="r" b="b"/>
              <a:pathLst>
                <a:path w="721360" h="719455">
                  <a:moveTo>
                    <a:pt x="0" y="359663"/>
                  </a:moveTo>
                  <a:lnTo>
                    <a:pt x="3291" y="310861"/>
                  </a:lnTo>
                  <a:lnTo>
                    <a:pt x="12878" y="264054"/>
                  </a:lnTo>
                  <a:lnTo>
                    <a:pt x="28330" y="219670"/>
                  </a:lnTo>
                  <a:lnTo>
                    <a:pt x="49219" y="178138"/>
                  </a:lnTo>
                  <a:lnTo>
                    <a:pt x="75114" y="139887"/>
                  </a:lnTo>
                  <a:lnTo>
                    <a:pt x="105584" y="105346"/>
                  </a:lnTo>
                  <a:lnTo>
                    <a:pt x="140201" y="74943"/>
                  </a:lnTo>
                  <a:lnTo>
                    <a:pt x="178533" y="49106"/>
                  </a:lnTo>
                  <a:lnTo>
                    <a:pt x="220152" y="28265"/>
                  </a:lnTo>
                  <a:lnTo>
                    <a:pt x="264627" y="12848"/>
                  </a:lnTo>
                  <a:lnTo>
                    <a:pt x="311528" y="3283"/>
                  </a:lnTo>
                  <a:lnTo>
                    <a:pt x="360425" y="0"/>
                  </a:lnTo>
                  <a:lnTo>
                    <a:pt x="409323" y="3283"/>
                  </a:lnTo>
                  <a:lnTo>
                    <a:pt x="456224" y="12848"/>
                  </a:lnTo>
                  <a:lnTo>
                    <a:pt x="500699" y="28265"/>
                  </a:lnTo>
                  <a:lnTo>
                    <a:pt x="542318" y="49106"/>
                  </a:lnTo>
                  <a:lnTo>
                    <a:pt x="580650" y="74943"/>
                  </a:lnTo>
                  <a:lnTo>
                    <a:pt x="615267" y="105346"/>
                  </a:lnTo>
                  <a:lnTo>
                    <a:pt x="645737" y="139887"/>
                  </a:lnTo>
                  <a:lnTo>
                    <a:pt x="671632" y="178138"/>
                  </a:lnTo>
                  <a:lnTo>
                    <a:pt x="692521" y="219670"/>
                  </a:lnTo>
                  <a:lnTo>
                    <a:pt x="707973" y="264054"/>
                  </a:lnTo>
                  <a:lnTo>
                    <a:pt x="717560" y="310861"/>
                  </a:lnTo>
                  <a:lnTo>
                    <a:pt x="720852" y="359663"/>
                  </a:lnTo>
                  <a:lnTo>
                    <a:pt x="717560" y="408466"/>
                  </a:lnTo>
                  <a:lnTo>
                    <a:pt x="707973" y="455273"/>
                  </a:lnTo>
                  <a:lnTo>
                    <a:pt x="692521" y="499657"/>
                  </a:lnTo>
                  <a:lnTo>
                    <a:pt x="671632" y="541189"/>
                  </a:lnTo>
                  <a:lnTo>
                    <a:pt x="645737" y="579440"/>
                  </a:lnTo>
                  <a:lnTo>
                    <a:pt x="615267" y="613981"/>
                  </a:lnTo>
                  <a:lnTo>
                    <a:pt x="580650" y="644384"/>
                  </a:lnTo>
                  <a:lnTo>
                    <a:pt x="542318" y="670221"/>
                  </a:lnTo>
                  <a:lnTo>
                    <a:pt x="500699" y="691062"/>
                  </a:lnTo>
                  <a:lnTo>
                    <a:pt x="456224" y="706479"/>
                  </a:lnTo>
                  <a:lnTo>
                    <a:pt x="409323" y="716044"/>
                  </a:lnTo>
                  <a:lnTo>
                    <a:pt x="360425" y="719327"/>
                  </a:lnTo>
                  <a:lnTo>
                    <a:pt x="311528" y="716044"/>
                  </a:lnTo>
                  <a:lnTo>
                    <a:pt x="264627" y="706479"/>
                  </a:lnTo>
                  <a:lnTo>
                    <a:pt x="220152" y="691062"/>
                  </a:lnTo>
                  <a:lnTo>
                    <a:pt x="178533" y="670221"/>
                  </a:lnTo>
                  <a:lnTo>
                    <a:pt x="140201" y="644384"/>
                  </a:lnTo>
                  <a:lnTo>
                    <a:pt x="105584" y="613981"/>
                  </a:lnTo>
                  <a:lnTo>
                    <a:pt x="75114" y="579440"/>
                  </a:lnTo>
                  <a:lnTo>
                    <a:pt x="49219" y="541189"/>
                  </a:lnTo>
                  <a:lnTo>
                    <a:pt x="28330" y="499657"/>
                  </a:lnTo>
                  <a:lnTo>
                    <a:pt x="12878" y="455273"/>
                  </a:lnTo>
                  <a:lnTo>
                    <a:pt x="3291" y="408466"/>
                  </a:lnTo>
                  <a:lnTo>
                    <a:pt x="0" y="359663"/>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128" name="object 128"/>
          <p:cNvGrpSpPr/>
          <p:nvPr/>
        </p:nvGrpSpPr>
        <p:grpSpPr>
          <a:xfrm>
            <a:off x="8866187" y="2319273"/>
            <a:ext cx="2459355" cy="967105"/>
            <a:chOff x="8866187" y="2319273"/>
            <a:chExt cx="2459355" cy="967105"/>
          </a:xfrm>
        </p:grpSpPr>
        <p:sp>
          <p:nvSpPr>
            <p:cNvPr id="129" name="object 129"/>
            <p:cNvSpPr/>
            <p:nvPr/>
          </p:nvSpPr>
          <p:spPr>
            <a:xfrm>
              <a:off x="9371076" y="2325623"/>
              <a:ext cx="1948180" cy="954405"/>
            </a:xfrm>
            <a:custGeom>
              <a:avLst/>
              <a:gdLst/>
              <a:ahLst/>
              <a:cxnLst/>
              <a:rect l="l" t="t" r="r" b="b"/>
              <a:pathLst>
                <a:path w="1948179" h="954404">
                  <a:moveTo>
                    <a:pt x="0" y="159003"/>
                  </a:moveTo>
                  <a:lnTo>
                    <a:pt x="8111" y="108768"/>
                  </a:lnTo>
                  <a:lnTo>
                    <a:pt x="30695" y="65123"/>
                  </a:lnTo>
                  <a:lnTo>
                    <a:pt x="65123" y="30695"/>
                  </a:lnTo>
                  <a:lnTo>
                    <a:pt x="108768" y="8111"/>
                  </a:lnTo>
                  <a:lnTo>
                    <a:pt x="159003" y="0"/>
                  </a:lnTo>
                  <a:lnTo>
                    <a:pt x="1788668" y="0"/>
                  </a:lnTo>
                  <a:lnTo>
                    <a:pt x="1838903" y="8111"/>
                  </a:lnTo>
                  <a:lnTo>
                    <a:pt x="1882548" y="30695"/>
                  </a:lnTo>
                  <a:lnTo>
                    <a:pt x="1916976" y="65123"/>
                  </a:lnTo>
                  <a:lnTo>
                    <a:pt x="1939560" y="108768"/>
                  </a:lnTo>
                  <a:lnTo>
                    <a:pt x="1947672" y="159003"/>
                  </a:lnTo>
                  <a:lnTo>
                    <a:pt x="1947672" y="795020"/>
                  </a:lnTo>
                  <a:lnTo>
                    <a:pt x="1939560" y="845255"/>
                  </a:lnTo>
                  <a:lnTo>
                    <a:pt x="1916976" y="888900"/>
                  </a:lnTo>
                  <a:lnTo>
                    <a:pt x="1882548" y="923328"/>
                  </a:lnTo>
                  <a:lnTo>
                    <a:pt x="1838903" y="945912"/>
                  </a:lnTo>
                  <a:lnTo>
                    <a:pt x="1788668" y="954024"/>
                  </a:lnTo>
                  <a:lnTo>
                    <a:pt x="159003" y="954024"/>
                  </a:lnTo>
                  <a:lnTo>
                    <a:pt x="108768" y="945912"/>
                  </a:lnTo>
                  <a:lnTo>
                    <a:pt x="65123" y="923328"/>
                  </a:lnTo>
                  <a:lnTo>
                    <a:pt x="30695" y="888900"/>
                  </a:lnTo>
                  <a:lnTo>
                    <a:pt x="8111" y="845255"/>
                  </a:lnTo>
                  <a:lnTo>
                    <a:pt x="0" y="795020"/>
                  </a:lnTo>
                  <a:lnTo>
                    <a:pt x="0" y="159003"/>
                  </a:lnTo>
                  <a:close/>
                </a:path>
              </a:pathLst>
            </a:custGeom>
            <a:ln w="12700">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30" name="object 130"/>
            <p:cNvPicPr/>
            <p:nvPr/>
          </p:nvPicPr>
          <p:blipFill>
            <a:blip r:embed="rId77" cstate="screen">
              <a:extLst>
                <a:ext uri="{28A0092B-C50C-407E-A947-70E740481C1C}">
                  <a14:useLocalDpi xmlns:a14="http://schemas.microsoft.com/office/drawing/2010/main"/>
                </a:ext>
              </a:extLst>
            </a:blip>
            <a:stretch>
              <a:fillRect/>
            </a:stretch>
          </p:blipFill>
          <p:spPr>
            <a:xfrm>
              <a:off x="9669526" y="2409443"/>
              <a:ext cx="730186" cy="179832"/>
            </a:xfrm>
            <a:prstGeom prst="rect">
              <a:avLst/>
            </a:prstGeom>
          </p:spPr>
        </p:pic>
        <p:pic>
          <p:nvPicPr>
            <p:cNvPr id="131" name="object 131"/>
            <p:cNvPicPr/>
            <p:nvPr/>
          </p:nvPicPr>
          <p:blipFill>
            <a:blip r:embed="rId59" cstate="screen">
              <a:extLst>
                <a:ext uri="{28A0092B-C50C-407E-A947-70E740481C1C}">
                  <a14:useLocalDpi xmlns:a14="http://schemas.microsoft.com/office/drawing/2010/main"/>
                </a:ext>
              </a:extLst>
            </a:blip>
            <a:stretch>
              <a:fillRect/>
            </a:stretch>
          </p:blipFill>
          <p:spPr>
            <a:xfrm>
              <a:off x="9669526" y="2577083"/>
              <a:ext cx="1097597" cy="179832"/>
            </a:xfrm>
            <a:prstGeom prst="rect">
              <a:avLst/>
            </a:prstGeom>
          </p:spPr>
        </p:pic>
        <p:pic>
          <p:nvPicPr>
            <p:cNvPr id="132" name="object 132"/>
            <p:cNvPicPr/>
            <p:nvPr/>
          </p:nvPicPr>
          <p:blipFill>
            <a:blip r:embed="rId7" cstate="screen">
              <a:extLst>
                <a:ext uri="{28A0092B-C50C-407E-A947-70E740481C1C}">
                  <a14:useLocalDpi xmlns:a14="http://schemas.microsoft.com/office/drawing/2010/main"/>
                </a:ext>
              </a:extLst>
            </a:blip>
            <a:stretch>
              <a:fillRect/>
            </a:stretch>
          </p:blipFill>
          <p:spPr>
            <a:xfrm>
              <a:off x="9669526" y="2746247"/>
              <a:ext cx="141731" cy="131063"/>
            </a:xfrm>
            <a:prstGeom prst="rect">
              <a:avLst/>
            </a:prstGeom>
          </p:spPr>
        </p:pic>
        <p:pic>
          <p:nvPicPr>
            <p:cNvPr id="133" name="object 133"/>
            <p:cNvPicPr/>
            <p:nvPr/>
          </p:nvPicPr>
          <p:blipFill>
            <a:blip r:embed="rId78" cstate="screen">
              <a:extLst>
                <a:ext uri="{28A0092B-C50C-407E-A947-70E740481C1C}">
                  <a14:useLocalDpi xmlns:a14="http://schemas.microsoft.com/office/drawing/2010/main"/>
                </a:ext>
              </a:extLst>
            </a:blip>
            <a:stretch>
              <a:fillRect/>
            </a:stretch>
          </p:blipFill>
          <p:spPr>
            <a:xfrm>
              <a:off x="9764013" y="2746247"/>
              <a:ext cx="302513" cy="131063"/>
            </a:xfrm>
            <a:prstGeom prst="rect">
              <a:avLst/>
            </a:prstGeom>
          </p:spPr>
        </p:pic>
        <p:pic>
          <p:nvPicPr>
            <p:cNvPr id="134" name="object 134"/>
            <p:cNvPicPr/>
            <p:nvPr/>
          </p:nvPicPr>
          <p:blipFill>
            <a:blip r:embed="rId79" cstate="screen">
              <a:extLst>
                <a:ext uri="{28A0092B-C50C-407E-A947-70E740481C1C}">
                  <a14:useLocalDpi xmlns:a14="http://schemas.microsoft.com/office/drawing/2010/main"/>
                </a:ext>
              </a:extLst>
            </a:blip>
            <a:stretch>
              <a:fillRect/>
            </a:stretch>
          </p:blipFill>
          <p:spPr>
            <a:xfrm>
              <a:off x="9669526" y="2868167"/>
              <a:ext cx="1008545" cy="131063"/>
            </a:xfrm>
            <a:prstGeom prst="rect">
              <a:avLst/>
            </a:prstGeom>
          </p:spPr>
        </p:pic>
        <p:pic>
          <p:nvPicPr>
            <p:cNvPr id="135" name="object 135"/>
            <p:cNvPicPr/>
            <p:nvPr/>
          </p:nvPicPr>
          <p:blipFill>
            <a:blip r:embed="rId80" cstate="print"/>
            <a:stretch>
              <a:fillRect/>
            </a:stretch>
          </p:blipFill>
          <p:spPr>
            <a:xfrm>
              <a:off x="8875775" y="2432303"/>
              <a:ext cx="720851" cy="751332"/>
            </a:xfrm>
            <a:prstGeom prst="rect">
              <a:avLst/>
            </a:prstGeom>
          </p:spPr>
        </p:pic>
        <p:sp>
          <p:nvSpPr>
            <p:cNvPr id="136" name="object 136"/>
            <p:cNvSpPr/>
            <p:nvPr/>
          </p:nvSpPr>
          <p:spPr>
            <a:xfrm>
              <a:off x="8870950" y="2427477"/>
              <a:ext cx="730885" cy="761365"/>
            </a:xfrm>
            <a:custGeom>
              <a:avLst/>
              <a:gdLst/>
              <a:ahLst/>
              <a:cxnLst/>
              <a:rect l="l" t="t" r="r" b="b"/>
              <a:pathLst>
                <a:path w="730884" h="761364">
                  <a:moveTo>
                    <a:pt x="365251" y="0"/>
                  </a:moveTo>
                  <a:lnTo>
                    <a:pt x="438911" y="7747"/>
                  </a:lnTo>
                  <a:lnTo>
                    <a:pt x="507492" y="29972"/>
                  </a:lnTo>
                  <a:lnTo>
                    <a:pt x="569468" y="65024"/>
                  </a:lnTo>
                  <a:lnTo>
                    <a:pt x="623570" y="111506"/>
                  </a:lnTo>
                  <a:lnTo>
                    <a:pt x="668147" y="167894"/>
                  </a:lnTo>
                  <a:lnTo>
                    <a:pt x="701801" y="232537"/>
                  </a:lnTo>
                  <a:lnTo>
                    <a:pt x="723010" y="303911"/>
                  </a:lnTo>
                  <a:lnTo>
                    <a:pt x="728599" y="341630"/>
                  </a:lnTo>
                  <a:lnTo>
                    <a:pt x="730503" y="380492"/>
                  </a:lnTo>
                  <a:lnTo>
                    <a:pt x="728599" y="419354"/>
                  </a:lnTo>
                  <a:lnTo>
                    <a:pt x="723010" y="457073"/>
                  </a:lnTo>
                  <a:lnTo>
                    <a:pt x="701801" y="528447"/>
                  </a:lnTo>
                  <a:lnTo>
                    <a:pt x="668147" y="593089"/>
                  </a:lnTo>
                  <a:lnTo>
                    <a:pt x="623570" y="649477"/>
                  </a:lnTo>
                  <a:lnTo>
                    <a:pt x="569468" y="695960"/>
                  </a:lnTo>
                  <a:lnTo>
                    <a:pt x="507492" y="731012"/>
                  </a:lnTo>
                  <a:lnTo>
                    <a:pt x="438911" y="753237"/>
                  </a:lnTo>
                  <a:lnTo>
                    <a:pt x="365251" y="760984"/>
                  </a:lnTo>
                  <a:lnTo>
                    <a:pt x="327914" y="758951"/>
                  </a:lnTo>
                  <a:lnTo>
                    <a:pt x="256540" y="743838"/>
                  </a:lnTo>
                  <a:lnTo>
                    <a:pt x="191134" y="715010"/>
                  </a:lnTo>
                  <a:lnTo>
                    <a:pt x="132842" y="673988"/>
                  </a:lnTo>
                  <a:lnTo>
                    <a:pt x="83439" y="622426"/>
                  </a:lnTo>
                  <a:lnTo>
                    <a:pt x="44069" y="561721"/>
                  </a:lnTo>
                  <a:lnTo>
                    <a:pt x="16509" y="493522"/>
                  </a:lnTo>
                  <a:lnTo>
                    <a:pt x="1904" y="419354"/>
                  </a:lnTo>
                  <a:lnTo>
                    <a:pt x="0" y="380492"/>
                  </a:lnTo>
                  <a:lnTo>
                    <a:pt x="1904" y="341630"/>
                  </a:lnTo>
                  <a:lnTo>
                    <a:pt x="7493" y="303911"/>
                  </a:lnTo>
                  <a:lnTo>
                    <a:pt x="28701" y="232537"/>
                  </a:lnTo>
                  <a:lnTo>
                    <a:pt x="62356" y="167894"/>
                  </a:lnTo>
                  <a:lnTo>
                    <a:pt x="106933" y="111506"/>
                  </a:lnTo>
                  <a:lnTo>
                    <a:pt x="161035" y="65024"/>
                  </a:lnTo>
                  <a:lnTo>
                    <a:pt x="223011" y="29972"/>
                  </a:lnTo>
                  <a:lnTo>
                    <a:pt x="291592" y="7747"/>
                  </a:lnTo>
                  <a:lnTo>
                    <a:pt x="365251" y="0"/>
                  </a:lnTo>
                  <a:close/>
                </a:path>
              </a:pathLst>
            </a:custGeom>
            <a:ln w="9525">
              <a:solidFill>
                <a:srgbClr val="00C49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137" name="object 137"/>
          <p:cNvGrpSpPr/>
          <p:nvPr/>
        </p:nvGrpSpPr>
        <p:grpSpPr>
          <a:xfrm>
            <a:off x="0" y="0"/>
            <a:ext cx="12192000" cy="1114425"/>
            <a:chOff x="0" y="0"/>
            <a:chExt cx="12192000" cy="1114425"/>
          </a:xfrm>
        </p:grpSpPr>
        <p:sp>
          <p:nvSpPr>
            <p:cNvPr id="138" name="object 138"/>
            <p:cNvSpPr/>
            <p:nvPr/>
          </p:nvSpPr>
          <p:spPr>
            <a:xfrm>
              <a:off x="0" y="0"/>
              <a:ext cx="12192000" cy="1114425"/>
            </a:xfrm>
            <a:custGeom>
              <a:avLst/>
              <a:gdLst/>
              <a:ahLst/>
              <a:cxnLst/>
              <a:rect l="l" t="t" r="r" b="b"/>
              <a:pathLst>
                <a:path w="12192000" h="1114425">
                  <a:moveTo>
                    <a:pt x="12192000" y="0"/>
                  </a:moveTo>
                  <a:lnTo>
                    <a:pt x="0" y="0"/>
                  </a:lnTo>
                  <a:lnTo>
                    <a:pt x="0" y="902335"/>
                  </a:lnTo>
                  <a:lnTo>
                    <a:pt x="6096000" y="1114044"/>
                  </a:lnTo>
                  <a:lnTo>
                    <a:pt x="12192000" y="902335"/>
                  </a:lnTo>
                  <a:lnTo>
                    <a:pt x="12192000"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39" name="object 139"/>
            <p:cNvPicPr/>
            <p:nvPr/>
          </p:nvPicPr>
          <p:blipFill>
            <a:blip r:embed="rId81" cstate="screen">
              <a:extLst>
                <a:ext uri="{28A0092B-C50C-407E-A947-70E740481C1C}">
                  <a14:useLocalDpi xmlns:a14="http://schemas.microsoft.com/office/drawing/2010/main"/>
                </a:ext>
              </a:extLst>
            </a:blip>
            <a:stretch>
              <a:fillRect/>
            </a:stretch>
          </p:blipFill>
          <p:spPr>
            <a:xfrm>
              <a:off x="2733167" y="167081"/>
              <a:ext cx="6952107" cy="651052"/>
            </a:xfrm>
            <a:prstGeom prst="rect">
              <a:avLst/>
            </a:prstGeom>
          </p:spPr>
        </p:pic>
        <p:sp>
          <p:nvSpPr>
            <p:cNvPr id="140" name="object 140"/>
            <p:cNvSpPr/>
            <p:nvPr/>
          </p:nvSpPr>
          <p:spPr>
            <a:xfrm>
              <a:off x="10217265" y="333102"/>
              <a:ext cx="33020" cy="141605"/>
            </a:xfrm>
            <a:custGeom>
              <a:avLst/>
              <a:gdLst/>
              <a:ahLst/>
              <a:cxnLst/>
              <a:rect l="l" t="t" r="r" b="b"/>
              <a:pathLst>
                <a:path w="33020" h="141604">
                  <a:moveTo>
                    <a:pt x="32690" y="0"/>
                  </a:moveTo>
                  <a:lnTo>
                    <a:pt x="0" y="0"/>
                  </a:lnTo>
                  <a:lnTo>
                    <a:pt x="0" y="141267"/>
                  </a:lnTo>
                  <a:lnTo>
                    <a:pt x="32690" y="141267"/>
                  </a:lnTo>
                  <a:lnTo>
                    <a:pt x="32690"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41" name="object 141"/>
            <p:cNvPicPr/>
            <p:nvPr/>
          </p:nvPicPr>
          <p:blipFill>
            <a:blip r:embed="rId82" cstate="screen">
              <a:extLst>
                <a:ext uri="{28A0092B-C50C-407E-A947-70E740481C1C}">
                  <a14:useLocalDpi xmlns:a14="http://schemas.microsoft.com/office/drawing/2010/main"/>
                </a:ext>
              </a:extLst>
            </a:blip>
            <a:stretch>
              <a:fillRect/>
            </a:stretch>
          </p:blipFill>
          <p:spPr>
            <a:xfrm>
              <a:off x="10281211" y="333102"/>
              <a:ext cx="137493" cy="141267"/>
            </a:xfrm>
            <a:prstGeom prst="rect">
              <a:avLst/>
            </a:prstGeom>
          </p:spPr>
        </p:pic>
        <p:sp>
          <p:nvSpPr>
            <p:cNvPr id="142" name="object 142"/>
            <p:cNvSpPr/>
            <p:nvPr/>
          </p:nvSpPr>
          <p:spPr>
            <a:xfrm>
              <a:off x="10449471" y="329729"/>
              <a:ext cx="837565" cy="148590"/>
            </a:xfrm>
            <a:custGeom>
              <a:avLst/>
              <a:gdLst/>
              <a:ahLst/>
              <a:cxnLst/>
              <a:rect l="l" t="t" r="r" b="b"/>
              <a:pathLst>
                <a:path w="837565" h="148590">
                  <a:moveTo>
                    <a:pt x="78384" y="2781"/>
                  </a:moveTo>
                  <a:lnTo>
                    <a:pt x="0" y="2781"/>
                  </a:lnTo>
                  <a:lnTo>
                    <a:pt x="0" y="30759"/>
                  </a:lnTo>
                  <a:lnTo>
                    <a:pt x="0" y="58737"/>
                  </a:lnTo>
                  <a:lnTo>
                    <a:pt x="0" y="85445"/>
                  </a:lnTo>
                  <a:lnTo>
                    <a:pt x="0" y="145211"/>
                  </a:lnTo>
                  <a:lnTo>
                    <a:pt x="32753" y="145211"/>
                  </a:lnTo>
                  <a:lnTo>
                    <a:pt x="32753" y="85445"/>
                  </a:lnTo>
                  <a:lnTo>
                    <a:pt x="75057" y="85445"/>
                  </a:lnTo>
                  <a:lnTo>
                    <a:pt x="75057" y="58737"/>
                  </a:lnTo>
                  <a:lnTo>
                    <a:pt x="32753" y="58737"/>
                  </a:lnTo>
                  <a:lnTo>
                    <a:pt x="32753" y="30759"/>
                  </a:lnTo>
                  <a:lnTo>
                    <a:pt x="78384" y="30759"/>
                  </a:lnTo>
                  <a:lnTo>
                    <a:pt x="78384" y="2781"/>
                  </a:lnTo>
                  <a:close/>
                </a:path>
                <a:path w="837565" h="148590">
                  <a:moveTo>
                    <a:pt x="212547" y="144653"/>
                  </a:moveTo>
                  <a:lnTo>
                    <a:pt x="170726" y="88722"/>
                  </a:lnTo>
                  <a:lnTo>
                    <a:pt x="169278" y="86791"/>
                  </a:lnTo>
                  <a:lnTo>
                    <a:pt x="176974" y="84861"/>
                  </a:lnTo>
                  <a:lnTo>
                    <a:pt x="184150" y="80518"/>
                  </a:lnTo>
                  <a:lnTo>
                    <a:pt x="188963" y="75704"/>
                  </a:lnTo>
                  <a:lnTo>
                    <a:pt x="194564" y="68821"/>
                  </a:lnTo>
                  <a:lnTo>
                    <a:pt x="195160" y="67500"/>
                  </a:lnTo>
                  <a:lnTo>
                    <a:pt x="197942" y="61480"/>
                  </a:lnTo>
                  <a:lnTo>
                    <a:pt x="199605" y="54140"/>
                  </a:lnTo>
                  <a:lnTo>
                    <a:pt x="200050" y="47256"/>
                  </a:lnTo>
                  <a:lnTo>
                    <a:pt x="198907" y="36385"/>
                  </a:lnTo>
                  <a:lnTo>
                    <a:pt x="173837" y="7061"/>
                  </a:lnTo>
                  <a:lnTo>
                    <a:pt x="166839" y="5194"/>
                  </a:lnTo>
                  <a:lnTo>
                    <a:pt x="166839" y="39547"/>
                  </a:lnTo>
                  <a:lnTo>
                    <a:pt x="166839" y="54483"/>
                  </a:lnTo>
                  <a:lnTo>
                    <a:pt x="163957" y="58826"/>
                  </a:lnTo>
                  <a:lnTo>
                    <a:pt x="161594" y="61239"/>
                  </a:lnTo>
                  <a:lnTo>
                    <a:pt x="156273" y="67017"/>
                  </a:lnTo>
                  <a:lnTo>
                    <a:pt x="148132" y="67500"/>
                  </a:lnTo>
                  <a:lnTo>
                    <a:pt x="134670" y="67500"/>
                  </a:lnTo>
                  <a:lnTo>
                    <a:pt x="134670" y="28448"/>
                  </a:lnTo>
                  <a:lnTo>
                    <a:pt x="146659" y="28448"/>
                  </a:lnTo>
                  <a:lnTo>
                    <a:pt x="154863" y="28930"/>
                  </a:lnTo>
                  <a:lnTo>
                    <a:pt x="160108" y="33274"/>
                  </a:lnTo>
                  <a:lnTo>
                    <a:pt x="163004" y="35204"/>
                  </a:lnTo>
                  <a:lnTo>
                    <a:pt x="166839" y="39547"/>
                  </a:lnTo>
                  <a:lnTo>
                    <a:pt x="166839" y="5194"/>
                  </a:lnTo>
                  <a:lnTo>
                    <a:pt x="163855" y="4381"/>
                  </a:lnTo>
                  <a:lnTo>
                    <a:pt x="151460" y="3378"/>
                  </a:lnTo>
                  <a:lnTo>
                    <a:pt x="102425" y="3378"/>
                  </a:lnTo>
                  <a:lnTo>
                    <a:pt x="102425" y="144653"/>
                  </a:lnTo>
                  <a:lnTo>
                    <a:pt x="134670" y="144653"/>
                  </a:lnTo>
                  <a:lnTo>
                    <a:pt x="134670" y="88722"/>
                  </a:lnTo>
                  <a:lnTo>
                    <a:pt x="172618" y="144653"/>
                  </a:lnTo>
                  <a:lnTo>
                    <a:pt x="212547" y="144653"/>
                  </a:lnTo>
                  <a:close/>
                </a:path>
                <a:path w="837565" h="148590">
                  <a:moveTo>
                    <a:pt x="360172" y="144653"/>
                  </a:moveTo>
                  <a:lnTo>
                    <a:pt x="349707" y="118135"/>
                  </a:lnTo>
                  <a:lnTo>
                    <a:pt x="339801" y="93052"/>
                  </a:lnTo>
                  <a:lnTo>
                    <a:pt x="320967" y="45326"/>
                  </a:lnTo>
                  <a:lnTo>
                    <a:pt x="306768" y="9372"/>
                  </a:lnTo>
                  <a:lnTo>
                    <a:pt x="306768" y="93052"/>
                  </a:lnTo>
                  <a:lnTo>
                    <a:pt x="272161" y="93052"/>
                  </a:lnTo>
                  <a:lnTo>
                    <a:pt x="289471" y="45326"/>
                  </a:lnTo>
                  <a:lnTo>
                    <a:pt x="306768" y="93052"/>
                  </a:lnTo>
                  <a:lnTo>
                    <a:pt x="306768" y="9372"/>
                  </a:lnTo>
                  <a:lnTo>
                    <a:pt x="304406" y="3378"/>
                  </a:lnTo>
                  <a:lnTo>
                    <a:pt x="274599" y="3378"/>
                  </a:lnTo>
                  <a:lnTo>
                    <a:pt x="217805" y="144653"/>
                  </a:lnTo>
                  <a:lnTo>
                    <a:pt x="251523" y="144653"/>
                  </a:lnTo>
                  <a:lnTo>
                    <a:pt x="262547" y="118135"/>
                  </a:lnTo>
                  <a:lnTo>
                    <a:pt x="315937" y="118135"/>
                  </a:lnTo>
                  <a:lnTo>
                    <a:pt x="326517" y="144653"/>
                  </a:lnTo>
                  <a:lnTo>
                    <a:pt x="360172" y="144653"/>
                  </a:lnTo>
                  <a:close/>
                </a:path>
                <a:path w="837565" h="148590">
                  <a:moveTo>
                    <a:pt x="468820" y="98361"/>
                  </a:moveTo>
                  <a:lnTo>
                    <a:pt x="445287" y="63652"/>
                  </a:lnTo>
                  <a:lnTo>
                    <a:pt x="428434" y="57378"/>
                  </a:lnTo>
                  <a:lnTo>
                    <a:pt x="419265" y="53517"/>
                  </a:lnTo>
                  <a:lnTo>
                    <a:pt x="414007" y="52552"/>
                  </a:lnTo>
                  <a:lnTo>
                    <a:pt x="408686" y="47256"/>
                  </a:lnTo>
                  <a:lnTo>
                    <a:pt x="407733" y="44843"/>
                  </a:lnTo>
                  <a:lnTo>
                    <a:pt x="407733" y="37617"/>
                  </a:lnTo>
                  <a:lnTo>
                    <a:pt x="409206" y="34721"/>
                  </a:lnTo>
                  <a:lnTo>
                    <a:pt x="411124" y="32308"/>
                  </a:lnTo>
                  <a:lnTo>
                    <a:pt x="414972" y="28448"/>
                  </a:lnTo>
                  <a:lnTo>
                    <a:pt x="420738" y="27482"/>
                  </a:lnTo>
                  <a:lnTo>
                    <a:pt x="425043" y="27482"/>
                  </a:lnTo>
                  <a:lnTo>
                    <a:pt x="428853" y="27774"/>
                  </a:lnTo>
                  <a:lnTo>
                    <a:pt x="434301" y="29108"/>
                  </a:lnTo>
                  <a:lnTo>
                    <a:pt x="441020" y="32169"/>
                  </a:lnTo>
                  <a:lnTo>
                    <a:pt x="448627" y="37617"/>
                  </a:lnTo>
                  <a:lnTo>
                    <a:pt x="463054" y="13995"/>
                  </a:lnTo>
                  <a:lnTo>
                    <a:pt x="451040" y="6718"/>
                  </a:lnTo>
                  <a:lnTo>
                    <a:pt x="439788" y="2476"/>
                  </a:lnTo>
                  <a:lnTo>
                    <a:pt x="429704" y="495"/>
                  </a:lnTo>
                  <a:lnTo>
                    <a:pt x="421195" y="0"/>
                  </a:lnTo>
                  <a:lnTo>
                    <a:pt x="411746" y="609"/>
                  </a:lnTo>
                  <a:lnTo>
                    <a:pt x="377088" y="27482"/>
                  </a:lnTo>
                  <a:lnTo>
                    <a:pt x="374078" y="44843"/>
                  </a:lnTo>
                  <a:lnTo>
                    <a:pt x="374421" y="50444"/>
                  </a:lnTo>
                  <a:lnTo>
                    <a:pt x="402475" y="80518"/>
                  </a:lnTo>
                  <a:lnTo>
                    <a:pt x="417855" y="86309"/>
                  </a:lnTo>
                  <a:lnTo>
                    <a:pt x="426516" y="89204"/>
                  </a:lnTo>
                  <a:lnTo>
                    <a:pt x="433247" y="94983"/>
                  </a:lnTo>
                  <a:lnTo>
                    <a:pt x="435165" y="97878"/>
                  </a:lnTo>
                  <a:lnTo>
                    <a:pt x="435165" y="108000"/>
                  </a:lnTo>
                  <a:lnTo>
                    <a:pt x="433247" y="111861"/>
                  </a:lnTo>
                  <a:lnTo>
                    <a:pt x="425551" y="118135"/>
                  </a:lnTo>
                  <a:lnTo>
                    <a:pt x="419785" y="119087"/>
                  </a:lnTo>
                  <a:lnTo>
                    <a:pt x="409206" y="119087"/>
                  </a:lnTo>
                  <a:lnTo>
                    <a:pt x="384657" y="103174"/>
                  </a:lnTo>
                  <a:lnTo>
                    <a:pt x="367855" y="126326"/>
                  </a:lnTo>
                  <a:lnTo>
                    <a:pt x="401916" y="146519"/>
                  </a:lnTo>
                  <a:lnTo>
                    <a:pt x="416382" y="148018"/>
                  </a:lnTo>
                  <a:lnTo>
                    <a:pt x="424738" y="147586"/>
                  </a:lnTo>
                  <a:lnTo>
                    <a:pt x="461327" y="126834"/>
                  </a:lnTo>
                  <a:lnTo>
                    <a:pt x="467880" y="108877"/>
                  </a:lnTo>
                  <a:lnTo>
                    <a:pt x="468820" y="98361"/>
                  </a:lnTo>
                  <a:close/>
                </a:path>
                <a:path w="837565" h="148590">
                  <a:moveTo>
                    <a:pt x="572211" y="2781"/>
                  </a:moveTo>
                  <a:lnTo>
                    <a:pt x="478434" y="2781"/>
                  </a:lnTo>
                  <a:lnTo>
                    <a:pt x="478434" y="30759"/>
                  </a:lnTo>
                  <a:lnTo>
                    <a:pt x="509193" y="30759"/>
                  </a:lnTo>
                  <a:lnTo>
                    <a:pt x="509193" y="145211"/>
                  </a:lnTo>
                  <a:lnTo>
                    <a:pt x="541896" y="145211"/>
                  </a:lnTo>
                  <a:lnTo>
                    <a:pt x="541896" y="30759"/>
                  </a:lnTo>
                  <a:lnTo>
                    <a:pt x="572211" y="30759"/>
                  </a:lnTo>
                  <a:lnTo>
                    <a:pt x="572211" y="2781"/>
                  </a:lnTo>
                  <a:close/>
                </a:path>
                <a:path w="837565" h="148590">
                  <a:moveTo>
                    <a:pt x="699643" y="144653"/>
                  </a:moveTo>
                  <a:lnTo>
                    <a:pt x="657809" y="88722"/>
                  </a:lnTo>
                  <a:lnTo>
                    <a:pt x="656374" y="86791"/>
                  </a:lnTo>
                  <a:lnTo>
                    <a:pt x="664514" y="84861"/>
                  </a:lnTo>
                  <a:lnTo>
                    <a:pt x="671245" y="80518"/>
                  </a:lnTo>
                  <a:lnTo>
                    <a:pt x="676046" y="75704"/>
                  </a:lnTo>
                  <a:lnTo>
                    <a:pt x="681647" y="68821"/>
                  </a:lnTo>
                  <a:lnTo>
                    <a:pt x="682256" y="67500"/>
                  </a:lnTo>
                  <a:lnTo>
                    <a:pt x="685038" y="61480"/>
                  </a:lnTo>
                  <a:lnTo>
                    <a:pt x="686701" y="54140"/>
                  </a:lnTo>
                  <a:lnTo>
                    <a:pt x="687146" y="47256"/>
                  </a:lnTo>
                  <a:lnTo>
                    <a:pt x="686066" y="36385"/>
                  </a:lnTo>
                  <a:lnTo>
                    <a:pt x="661200" y="7061"/>
                  </a:lnTo>
                  <a:lnTo>
                    <a:pt x="654443" y="5257"/>
                  </a:lnTo>
                  <a:lnTo>
                    <a:pt x="654443" y="39547"/>
                  </a:lnTo>
                  <a:lnTo>
                    <a:pt x="654443" y="54483"/>
                  </a:lnTo>
                  <a:lnTo>
                    <a:pt x="651052" y="58826"/>
                  </a:lnTo>
                  <a:lnTo>
                    <a:pt x="649135" y="61239"/>
                  </a:lnTo>
                  <a:lnTo>
                    <a:pt x="643356" y="67017"/>
                  </a:lnTo>
                  <a:lnTo>
                    <a:pt x="635152" y="67500"/>
                  </a:lnTo>
                  <a:lnTo>
                    <a:pt x="622211" y="67500"/>
                  </a:lnTo>
                  <a:lnTo>
                    <a:pt x="622211" y="28448"/>
                  </a:lnTo>
                  <a:lnTo>
                    <a:pt x="633742" y="28448"/>
                  </a:lnTo>
                  <a:lnTo>
                    <a:pt x="642404" y="28930"/>
                  </a:lnTo>
                  <a:lnTo>
                    <a:pt x="647712" y="33274"/>
                  </a:lnTo>
                  <a:lnTo>
                    <a:pt x="650608" y="35204"/>
                  </a:lnTo>
                  <a:lnTo>
                    <a:pt x="654443" y="39547"/>
                  </a:lnTo>
                  <a:lnTo>
                    <a:pt x="654443" y="5257"/>
                  </a:lnTo>
                  <a:lnTo>
                    <a:pt x="651205" y="4381"/>
                  </a:lnTo>
                  <a:lnTo>
                    <a:pt x="639000" y="3378"/>
                  </a:lnTo>
                  <a:lnTo>
                    <a:pt x="589521" y="3378"/>
                  </a:lnTo>
                  <a:lnTo>
                    <a:pt x="589521" y="144653"/>
                  </a:lnTo>
                  <a:lnTo>
                    <a:pt x="622211" y="144653"/>
                  </a:lnTo>
                  <a:lnTo>
                    <a:pt x="622211" y="88722"/>
                  </a:lnTo>
                  <a:lnTo>
                    <a:pt x="660222" y="144653"/>
                  </a:lnTo>
                  <a:lnTo>
                    <a:pt x="699643" y="144653"/>
                  </a:lnTo>
                  <a:close/>
                </a:path>
                <a:path w="837565" h="148590">
                  <a:moveTo>
                    <a:pt x="837133" y="3378"/>
                  </a:moveTo>
                  <a:lnTo>
                    <a:pt x="804443" y="3378"/>
                  </a:lnTo>
                  <a:lnTo>
                    <a:pt x="804443" y="92100"/>
                  </a:lnTo>
                  <a:lnTo>
                    <a:pt x="803922" y="102704"/>
                  </a:lnTo>
                  <a:lnTo>
                    <a:pt x="791425" y="116205"/>
                  </a:lnTo>
                  <a:lnTo>
                    <a:pt x="783742" y="117170"/>
                  </a:lnTo>
                  <a:lnTo>
                    <a:pt x="771232" y="117170"/>
                  </a:lnTo>
                  <a:lnTo>
                    <a:pt x="763549" y="116205"/>
                  </a:lnTo>
                  <a:lnTo>
                    <a:pt x="757783" y="109931"/>
                  </a:lnTo>
                  <a:lnTo>
                    <a:pt x="750595" y="102704"/>
                  </a:lnTo>
                  <a:lnTo>
                    <a:pt x="750595" y="3378"/>
                  </a:lnTo>
                  <a:lnTo>
                    <a:pt x="717905" y="3378"/>
                  </a:lnTo>
                  <a:lnTo>
                    <a:pt x="717905" y="86791"/>
                  </a:lnTo>
                  <a:lnTo>
                    <a:pt x="718350" y="97459"/>
                  </a:lnTo>
                  <a:lnTo>
                    <a:pt x="743966" y="140093"/>
                  </a:lnTo>
                  <a:lnTo>
                    <a:pt x="777519" y="148018"/>
                  </a:lnTo>
                  <a:lnTo>
                    <a:pt x="788733" y="147421"/>
                  </a:lnTo>
                  <a:lnTo>
                    <a:pt x="829614" y="120421"/>
                  </a:lnTo>
                  <a:lnTo>
                    <a:pt x="837133" y="86791"/>
                  </a:lnTo>
                  <a:lnTo>
                    <a:pt x="837133" y="3378"/>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43" name="object 143"/>
            <p:cNvPicPr/>
            <p:nvPr/>
          </p:nvPicPr>
          <p:blipFill>
            <a:blip r:embed="rId83" cstate="screen">
              <a:extLst>
                <a:ext uri="{28A0092B-C50C-407E-A947-70E740481C1C}">
                  <a14:useLocalDpi xmlns:a14="http://schemas.microsoft.com/office/drawing/2010/main"/>
                </a:ext>
              </a:extLst>
            </a:blip>
            <a:stretch>
              <a:fillRect/>
            </a:stretch>
          </p:blipFill>
          <p:spPr>
            <a:xfrm>
              <a:off x="11310646" y="329728"/>
              <a:ext cx="351008" cy="148016"/>
            </a:xfrm>
            <a:prstGeom prst="rect">
              <a:avLst/>
            </a:prstGeom>
          </p:spPr>
        </p:pic>
        <p:pic>
          <p:nvPicPr>
            <p:cNvPr id="144" name="object 144"/>
            <p:cNvPicPr/>
            <p:nvPr/>
          </p:nvPicPr>
          <p:blipFill>
            <a:blip r:embed="rId84" cstate="screen">
              <a:extLst>
                <a:ext uri="{28A0092B-C50C-407E-A947-70E740481C1C}">
                  <a14:useLocalDpi xmlns:a14="http://schemas.microsoft.com/office/drawing/2010/main"/>
                </a:ext>
              </a:extLst>
            </a:blip>
            <a:stretch>
              <a:fillRect/>
            </a:stretch>
          </p:blipFill>
          <p:spPr>
            <a:xfrm>
              <a:off x="11692423" y="332510"/>
              <a:ext cx="208194" cy="142427"/>
            </a:xfrm>
            <a:prstGeom prst="rect">
              <a:avLst/>
            </a:prstGeom>
          </p:spPr>
        </p:pic>
        <p:pic>
          <p:nvPicPr>
            <p:cNvPr id="145" name="object 145"/>
            <p:cNvPicPr/>
            <p:nvPr/>
          </p:nvPicPr>
          <p:blipFill>
            <a:blip r:embed="rId85" cstate="screen">
              <a:extLst>
                <a:ext uri="{28A0092B-C50C-407E-A947-70E740481C1C}">
                  <a14:useLocalDpi xmlns:a14="http://schemas.microsoft.com/office/drawing/2010/main"/>
                </a:ext>
              </a:extLst>
            </a:blip>
            <a:stretch>
              <a:fillRect/>
            </a:stretch>
          </p:blipFill>
          <p:spPr>
            <a:xfrm>
              <a:off x="10216784" y="531742"/>
              <a:ext cx="405819" cy="141261"/>
            </a:xfrm>
            <a:prstGeom prst="rect">
              <a:avLst/>
            </a:prstGeom>
          </p:spPr>
        </p:pic>
        <p:pic>
          <p:nvPicPr>
            <p:cNvPr id="146" name="object 146"/>
            <p:cNvPicPr/>
            <p:nvPr/>
          </p:nvPicPr>
          <p:blipFill>
            <a:blip r:embed="rId86" cstate="screen">
              <a:extLst>
                <a:ext uri="{28A0092B-C50C-407E-A947-70E740481C1C}">
                  <a14:useLocalDpi xmlns:a14="http://schemas.microsoft.com/office/drawing/2010/main"/>
                </a:ext>
              </a:extLst>
            </a:blip>
            <a:stretch>
              <a:fillRect/>
            </a:stretch>
          </p:blipFill>
          <p:spPr>
            <a:xfrm>
              <a:off x="10653372" y="531742"/>
              <a:ext cx="124993" cy="141261"/>
            </a:xfrm>
            <a:prstGeom prst="rect">
              <a:avLst/>
            </a:prstGeom>
          </p:spPr>
        </p:pic>
        <p:sp>
          <p:nvSpPr>
            <p:cNvPr id="147" name="object 147"/>
            <p:cNvSpPr/>
            <p:nvPr/>
          </p:nvSpPr>
          <p:spPr>
            <a:xfrm>
              <a:off x="10019647" y="333102"/>
              <a:ext cx="141605" cy="340360"/>
            </a:xfrm>
            <a:custGeom>
              <a:avLst/>
              <a:gdLst/>
              <a:ahLst/>
              <a:cxnLst/>
              <a:rect l="l" t="t" r="r" b="b"/>
              <a:pathLst>
                <a:path w="141604" h="340359">
                  <a:moveTo>
                    <a:pt x="141358" y="0"/>
                  </a:moveTo>
                  <a:lnTo>
                    <a:pt x="0" y="0"/>
                  </a:lnTo>
                  <a:lnTo>
                    <a:pt x="10922" y="2200"/>
                  </a:lnTo>
                  <a:lnTo>
                    <a:pt x="19954" y="8197"/>
                  </a:lnTo>
                  <a:lnTo>
                    <a:pt x="26100" y="17086"/>
                  </a:lnTo>
                  <a:lnTo>
                    <a:pt x="28370" y="27963"/>
                  </a:lnTo>
                  <a:lnTo>
                    <a:pt x="28370" y="339901"/>
                  </a:lnTo>
                  <a:lnTo>
                    <a:pt x="141358" y="339901"/>
                  </a:lnTo>
                  <a:lnTo>
                    <a:pt x="141358" y="283493"/>
                  </a:lnTo>
                  <a:lnTo>
                    <a:pt x="56253" y="169713"/>
                  </a:lnTo>
                  <a:lnTo>
                    <a:pt x="141358" y="56408"/>
                  </a:lnTo>
                  <a:lnTo>
                    <a:pt x="141358"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48" name="object 148"/>
            <p:cNvSpPr/>
            <p:nvPr/>
          </p:nvSpPr>
          <p:spPr>
            <a:xfrm>
              <a:off x="9878282" y="333102"/>
              <a:ext cx="141605" cy="340360"/>
            </a:xfrm>
            <a:custGeom>
              <a:avLst/>
              <a:gdLst/>
              <a:ahLst/>
              <a:cxnLst/>
              <a:rect l="l" t="t" r="r" b="b"/>
              <a:pathLst>
                <a:path w="141604" h="340359">
                  <a:moveTo>
                    <a:pt x="141364" y="0"/>
                  </a:moveTo>
                  <a:lnTo>
                    <a:pt x="0" y="0"/>
                  </a:lnTo>
                  <a:lnTo>
                    <a:pt x="0" y="283493"/>
                  </a:lnTo>
                  <a:lnTo>
                    <a:pt x="4395" y="305527"/>
                  </a:lnTo>
                  <a:lnTo>
                    <a:pt x="16409" y="323449"/>
                  </a:lnTo>
                  <a:lnTo>
                    <a:pt x="34283" y="335494"/>
                  </a:lnTo>
                  <a:lnTo>
                    <a:pt x="56260" y="339901"/>
                  </a:lnTo>
                  <a:lnTo>
                    <a:pt x="78310" y="335494"/>
                  </a:lnTo>
                  <a:lnTo>
                    <a:pt x="96347" y="323449"/>
                  </a:lnTo>
                  <a:lnTo>
                    <a:pt x="108524" y="305527"/>
                  </a:lnTo>
                  <a:lnTo>
                    <a:pt x="112994" y="283493"/>
                  </a:lnTo>
                  <a:lnTo>
                    <a:pt x="112994" y="24107"/>
                  </a:lnTo>
                  <a:lnTo>
                    <a:pt x="113955" y="20250"/>
                  </a:lnTo>
                  <a:lnTo>
                    <a:pt x="115398" y="16876"/>
                  </a:lnTo>
                  <a:lnTo>
                    <a:pt x="115398" y="16394"/>
                  </a:lnTo>
                  <a:lnTo>
                    <a:pt x="116359" y="14466"/>
                  </a:lnTo>
                  <a:lnTo>
                    <a:pt x="120739" y="8546"/>
                  </a:lnTo>
                  <a:lnTo>
                    <a:pt x="126518" y="3979"/>
                  </a:lnTo>
                  <a:lnTo>
                    <a:pt x="133469" y="1040"/>
                  </a:lnTo>
                  <a:lnTo>
                    <a:pt x="141364"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1114425"/>
            <a:chOff x="0" y="0"/>
            <a:chExt cx="12192000" cy="1114425"/>
          </a:xfrm>
        </p:grpSpPr>
        <p:sp>
          <p:nvSpPr>
            <p:cNvPr id="3" name="object 3"/>
            <p:cNvSpPr/>
            <p:nvPr/>
          </p:nvSpPr>
          <p:spPr>
            <a:xfrm>
              <a:off x="0" y="0"/>
              <a:ext cx="12192000" cy="1114425"/>
            </a:xfrm>
            <a:custGeom>
              <a:avLst/>
              <a:gdLst/>
              <a:ahLst/>
              <a:cxnLst/>
              <a:rect l="l" t="t" r="r" b="b"/>
              <a:pathLst>
                <a:path w="12192000" h="1114425">
                  <a:moveTo>
                    <a:pt x="12192000" y="0"/>
                  </a:moveTo>
                  <a:lnTo>
                    <a:pt x="0" y="0"/>
                  </a:lnTo>
                  <a:lnTo>
                    <a:pt x="0" y="902335"/>
                  </a:lnTo>
                  <a:lnTo>
                    <a:pt x="6096000" y="1114044"/>
                  </a:lnTo>
                  <a:lnTo>
                    <a:pt x="12192000" y="902335"/>
                  </a:lnTo>
                  <a:lnTo>
                    <a:pt x="12192000" y="0"/>
                  </a:lnTo>
                  <a:close/>
                </a:path>
              </a:pathLst>
            </a:custGeom>
            <a:solidFill>
              <a:srgbClr val="A4E3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4" name="object 4"/>
            <p:cNvPicPr/>
            <p:nvPr/>
          </p:nvPicPr>
          <p:blipFill>
            <a:blip r:embed="rId2" cstate="screen">
              <a:extLst>
                <a:ext uri="{28A0092B-C50C-407E-A947-70E740481C1C}">
                  <a14:useLocalDpi xmlns:a14="http://schemas.microsoft.com/office/drawing/2010/main"/>
                </a:ext>
              </a:extLst>
            </a:blip>
            <a:stretch>
              <a:fillRect/>
            </a:stretch>
          </p:blipFill>
          <p:spPr>
            <a:xfrm>
              <a:off x="3661536" y="167081"/>
              <a:ext cx="5101336" cy="651052"/>
            </a:xfrm>
            <a:prstGeom prst="rect">
              <a:avLst/>
            </a:prstGeom>
          </p:spPr>
        </p:pic>
      </p:grpSp>
      <p:grpSp>
        <p:nvGrpSpPr>
          <p:cNvPr id="6" name="object 6"/>
          <p:cNvGrpSpPr/>
          <p:nvPr/>
        </p:nvGrpSpPr>
        <p:grpSpPr>
          <a:xfrm>
            <a:off x="10217265" y="329728"/>
            <a:ext cx="1683385" cy="148590"/>
            <a:chOff x="10217265" y="329728"/>
            <a:chExt cx="1683385" cy="148590"/>
          </a:xfrm>
        </p:grpSpPr>
        <p:sp>
          <p:nvSpPr>
            <p:cNvPr id="7" name="object 7"/>
            <p:cNvSpPr/>
            <p:nvPr/>
          </p:nvSpPr>
          <p:spPr>
            <a:xfrm>
              <a:off x="10217265" y="333102"/>
              <a:ext cx="33020" cy="141605"/>
            </a:xfrm>
            <a:custGeom>
              <a:avLst/>
              <a:gdLst/>
              <a:ahLst/>
              <a:cxnLst/>
              <a:rect l="l" t="t" r="r" b="b"/>
              <a:pathLst>
                <a:path w="33020" h="141604">
                  <a:moveTo>
                    <a:pt x="32690" y="0"/>
                  </a:moveTo>
                  <a:lnTo>
                    <a:pt x="0" y="0"/>
                  </a:lnTo>
                  <a:lnTo>
                    <a:pt x="0" y="141267"/>
                  </a:lnTo>
                  <a:lnTo>
                    <a:pt x="32690" y="141267"/>
                  </a:lnTo>
                  <a:lnTo>
                    <a:pt x="32690"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8" name="object 8"/>
            <p:cNvPicPr/>
            <p:nvPr/>
          </p:nvPicPr>
          <p:blipFill>
            <a:blip r:embed="rId3" cstate="screen">
              <a:extLst>
                <a:ext uri="{28A0092B-C50C-407E-A947-70E740481C1C}">
                  <a14:useLocalDpi xmlns:a14="http://schemas.microsoft.com/office/drawing/2010/main"/>
                </a:ext>
              </a:extLst>
            </a:blip>
            <a:stretch>
              <a:fillRect/>
            </a:stretch>
          </p:blipFill>
          <p:spPr>
            <a:xfrm>
              <a:off x="10281211" y="333102"/>
              <a:ext cx="137493" cy="141267"/>
            </a:xfrm>
            <a:prstGeom prst="rect">
              <a:avLst/>
            </a:prstGeom>
          </p:spPr>
        </p:pic>
        <p:sp>
          <p:nvSpPr>
            <p:cNvPr id="9" name="object 9"/>
            <p:cNvSpPr/>
            <p:nvPr/>
          </p:nvSpPr>
          <p:spPr>
            <a:xfrm>
              <a:off x="10449471" y="329729"/>
              <a:ext cx="837565" cy="148590"/>
            </a:xfrm>
            <a:custGeom>
              <a:avLst/>
              <a:gdLst/>
              <a:ahLst/>
              <a:cxnLst/>
              <a:rect l="l" t="t" r="r" b="b"/>
              <a:pathLst>
                <a:path w="837565" h="148590">
                  <a:moveTo>
                    <a:pt x="78384" y="2781"/>
                  </a:moveTo>
                  <a:lnTo>
                    <a:pt x="0" y="2781"/>
                  </a:lnTo>
                  <a:lnTo>
                    <a:pt x="0" y="30759"/>
                  </a:lnTo>
                  <a:lnTo>
                    <a:pt x="0" y="58737"/>
                  </a:lnTo>
                  <a:lnTo>
                    <a:pt x="0" y="85445"/>
                  </a:lnTo>
                  <a:lnTo>
                    <a:pt x="0" y="145211"/>
                  </a:lnTo>
                  <a:lnTo>
                    <a:pt x="32753" y="145211"/>
                  </a:lnTo>
                  <a:lnTo>
                    <a:pt x="32753" y="85445"/>
                  </a:lnTo>
                  <a:lnTo>
                    <a:pt x="75057" y="85445"/>
                  </a:lnTo>
                  <a:lnTo>
                    <a:pt x="75057" y="58737"/>
                  </a:lnTo>
                  <a:lnTo>
                    <a:pt x="32753" y="58737"/>
                  </a:lnTo>
                  <a:lnTo>
                    <a:pt x="32753" y="30759"/>
                  </a:lnTo>
                  <a:lnTo>
                    <a:pt x="78384" y="30759"/>
                  </a:lnTo>
                  <a:lnTo>
                    <a:pt x="78384" y="2781"/>
                  </a:lnTo>
                  <a:close/>
                </a:path>
                <a:path w="837565" h="148590">
                  <a:moveTo>
                    <a:pt x="212547" y="144653"/>
                  </a:moveTo>
                  <a:lnTo>
                    <a:pt x="170726" y="88722"/>
                  </a:lnTo>
                  <a:lnTo>
                    <a:pt x="169278" y="86791"/>
                  </a:lnTo>
                  <a:lnTo>
                    <a:pt x="176974" y="84861"/>
                  </a:lnTo>
                  <a:lnTo>
                    <a:pt x="184150" y="80518"/>
                  </a:lnTo>
                  <a:lnTo>
                    <a:pt x="188963" y="75704"/>
                  </a:lnTo>
                  <a:lnTo>
                    <a:pt x="194564" y="68821"/>
                  </a:lnTo>
                  <a:lnTo>
                    <a:pt x="195160" y="67500"/>
                  </a:lnTo>
                  <a:lnTo>
                    <a:pt x="197942" y="61480"/>
                  </a:lnTo>
                  <a:lnTo>
                    <a:pt x="199605" y="54140"/>
                  </a:lnTo>
                  <a:lnTo>
                    <a:pt x="200050" y="47256"/>
                  </a:lnTo>
                  <a:lnTo>
                    <a:pt x="198907" y="36385"/>
                  </a:lnTo>
                  <a:lnTo>
                    <a:pt x="173837" y="7061"/>
                  </a:lnTo>
                  <a:lnTo>
                    <a:pt x="166839" y="5194"/>
                  </a:lnTo>
                  <a:lnTo>
                    <a:pt x="166839" y="39547"/>
                  </a:lnTo>
                  <a:lnTo>
                    <a:pt x="166839" y="54483"/>
                  </a:lnTo>
                  <a:lnTo>
                    <a:pt x="163957" y="58826"/>
                  </a:lnTo>
                  <a:lnTo>
                    <a:pt x="161594" y="61239"/>
                  </a:lnTo>
                  <a:lnTo>
                    <a:pt x="156273" y="67017"/>
                  </a:lnTo>
                  <a:lnTo>
                    <a:pt x="148132" y="67500"/>
                  </a:lnTo>
                  <a:lnTo>
                    <a:pt x="134670" y="67500"/>
                  </a:lnTo>
                  <a:lnTo>
                    <a:pt x="134670" y="28448"/>
                  </a:lnTo>
                  <a:lnTo>
                    <a:pt x="146659" y="28448"/>
                  </a:lnTo>
                  <a:lnTo>
                    <a:pt x="154863" y="28930"/>
                  </a:lnTo>
                  <a:lnTo>
                    <a:pt x="160108" y="33274"/>
                  </a:lnTo>
                  <a:lnTo>
                    <a:pt x="163004" y="35204"/>
                  </a:lnTo>
                  <a:lnTo>
                    <a:pt x="166839" y="39547"/>
                  </a:lnTo>
                  <a:lnTo>
                    <a:pt x="166839" y="5194"/>
                  </a:lnTo>
                  <a:lnTo>
                    <a:pt x="163855" y="4381"/>
                  </a:lnTo>
                  <a:lnTo>
                    <a:pt x="151460" y="3378"/>
                  </a:lnTo>
                  <a:lnTo>
                    <a:pt x="102425" y="3378"/>
                  </a:lnTo>
                  <a:lnTo>
                    <a:pt x="102425" y="144653"/>
                  </a:lnTo>
                  <a:lnTo>
                    <a:pt x="134670" y="144653"/>
                  </a:lnTo>
                  <a:lnTo>
                    <a:pt x="134670" y="88722"/>
                  </a:lnTo>
                  <a:lnTo>
                    <a:pt x="172618" y="144653"/>
                  </a:lnTo>
                  <a:lnTo>
                    <a:pt x="212547" y="144653"/>
                  </a:lnTo>
                  <a:close/>
                </a:path>
                <a:path w="837565" h="148590">
                  <a:moveTo>
                    <a:pt x="360172" y="144653"/>
                  </a:moveTo>
                  <a:lnTo>
                    <a:pt x="349707" y="118135"/>
                  </a:lnTo>
                  <a:lnTo>
                    <a:pt x="339801" y="93052"/>
                  </a:lnTo>
                  <a:lnTo>
                    <a:pt x="320967" y="45326"/>
                  </a:lnTo>
                  <a:lnTo>
                    <a:pt x="306768" y="9372"/>
                  </a:lnTo>
                  <a:lnTo>
                    <a:pt x="306768" y="93052"/>
                  </a:lnTo>
                  <a:lnTo>
                    <a:pt x="272161" y="93052"/>
                  </a:lnTo>
                  <a:lnTo>
                    <a:pt x="289471" y="45326"/>
                  </a:lnTo>
                  <a:lnTo>
                    <a:pt x="306768" y="93052"/>
                  </a:lnTo>
                  <a:lnTo>
                    <a:pt x="306768" y="9372"/>
                  </a:lnTo>
                  <a:lnTo>
                    <a:pt x="304406" y="3378"/>
                  </a:lnTo>
                  <a:lnTo>
                    <a:pt x="274599" y="3378"/>
                  </a:lnTo>
                  <a:lnTo>
                    <a:pt x="217805" y="144653"/>
                  </a:lnTo>
                  <a:lnTo>
                    <a:pt x="251523" y="144653"/>
                  </a:lnTo>
                  <a:lnTo>
                    <a:pt x="262547" y="118135"/>
                  </a:lnTo>
                  <a:lnTo>
                    <a:pt x="315937" y="118135"/>
                  </a:lnTo>
                  <a:lnTo>
                    <a:pt x="326517" y="144653"/>
                  </a:lnTo>
                  <a:lnTo>
                    <a:pt x="360172" y="144653"/>
                  </a:lnTo>
                  <a:close/>
                </a:path>
                <a:path w="837565" h="148590">
                  <a:moveTo>
                    <a:pt x="468820" y="98361"/>
                  </a:moveTo>
                  <a:lnTo>
                    <a:pt x="445287" y="63652"/>
                  </a:lnTo>
                  <a:lnTo>
                    <a:pt x="428434" y="57378"/>
                  </a:lnTo>
                  <a:lnTo>
                    <a:pt x="419265" y="53517"/>
                  </a:lnTo>
                  <a:lnTo>
                    <a:pt x="414007" y="52552"/>
                  </a:lnTo>
                  <a:lnTo>
                    <a:pt x="408686" y="47256"/>
                  </a:lnTo>
                  <a:lnTo>
                    <a:pt x="407733" y="44843"/>
                  </a:lnTo>
                  <a:lnTo>
                    <a:pt x="407733" y="37617"/>
                  </a:lnTo>
                  <a:lnTo>
                    <a:pt x="409206" y="34721"/>
                  </a:lnTo>
                  <a:lnTo>
                    <a:pt x="411124" y="32308"/>
                  </a:lnTo>
                  <a:lnTo>
                    <a:pt x="414972" y="28448"/>
                  </a:lnTo>
                  <a:lnTo>
                    <a:pt x="420738" y="27482"/>
                  </a:lnTo>
                  <a:lnTo>
                    <a:pt x="425043" y="27482"/>
                  </a:lnTo>
                  <a:lnTo>
                    <a:pt x="428853" y="27774"/>
                  </a:lnTo>
                  <a:lnTo>
                    <a:pt x="434301" y="29108"/>
                  </a:lnTo>
                  <a:lnTo>
                    <a:pt x="441020" y="32169"/>
                  </a:lnTo>
                  <a:lnTo>
                    <a:pt x="448627" y="37617"/>
                  </a:lnTo>
                  <a:lnTo>
                    <a:pt x="463054" y="13995"/>
                  </a:lnTo>
                  <a:lnTo>
                    <a:pt x="451040" y="6718"/>
                  </a:lnTo>
                  <a:lnTo>
                    <a:pt x="439788" y="2476"/>
                  </a:lnTo>
                  <a:lnTo>
                    <a:pt x="429704" y="495"/>
                  </a:lnTo>
                  <a:lnTo>
                    <a:pt x="421195" y="0"/>
                  </a:lnTo>
                  <a:lnTo>
                    <a:pt x="411746" y="609"/>
                  </a:lnTo>
                  <a:lnTo>
                    <a:pt x="377088" y="27482"/>
                  </a:lnTo>
                  <a:lnTo>
                    <a:pt x="374078" y="44843"/>
                  </a:lnTo>
                  <a:lnTo>
                    <a:pt x="374421" y="50444"/>
                  </a:lnTo>
                  <a:lnTo>
                    <a:pt x="402475" y="80518"/>
                  </a:lnTo>
                  <a:lnTo>
                    <a:pt x="417855" y="86309"/>
                  </a:lnTo>
                  <a:lnTo>
                    <a:pt x="426516" y="89204"/>
                  </a:lnTo>
                  <a:lnTo>
                    <a:pt x="433247" y="94983"/>
                  </a:lnTo>
                  <a:lnTo>
                    <a:pt x="435165" y="97878"/>
                  </a:lnTo>
                  <a:lnTo>
                    <a:pt x="435165" y="108000"/>
                  </a:lnTo>
                  <a:lnTo>
                    <a:pt x="433247" y="111861"/>
                  </a:lnTo>
                  <a:lnTo>
                    <a:pt x="425551" y="118135"/>
                  </a:lnTo>
                  <a:lnTo>
                    <a:pt x="419785" y="119087"/>
                  </a:lnTo>
                  <a:lnTo>
                    <a:pt x="409206" y="119087"/>
                  </a:lnTo>
                  <a:lnTo>
                    <a:pt x="384657" y="103174"/>
                  </a:lnTo>
                  <a:lnTo>
                    <a:pt x="367855" y="126326"/>
                  </a:lnTo>
                  <a:lnTo>
                    <a:pt x="401916" y="146519"/>
                  </a:lnTo>
                  <a:lnTo>
                    <a:pt x="416382" y="148018"/>
                  </a:lnTo>
                  <a:lnTo>
                    <a:pt x="424738" y="147586"/>
                  </a:lnTo>
                  <a:lnTo>
                    <a:pt x="461327" y="126834"/>
                  </a:lnTo>
                  <a:lnTo>
                    <a:pt x="467880" y="108877"/>
                  </a:lnTo>
                  <a:lnTo>
                    <a:pt x="468820" y="98361"/>
                  </a:lnTo>
                  <a:close/>
                </a:path>
                <a:path w="837565" h="148590">
                  <a:moveTo>
                    <a:pt x="572211" y="2781"/>
                  </a:moveTo>
                  <a:lnTo>
                    <a:pt x="478434" y="2781"/>
                  </a:lnTo>
                  <a:lnTo>
                    <a:pt x="478434" y="30759"/>
                  </a:lnTo>
                  <a:lnTo>
                    <a:pt x="509193" y="30759"/>
                  </a:lnTo>
                  <a:lnTo>
                    <a:pt x="509193" y="145211"/>
                  </a:lnTo>
                  <a:lnTo>
                    <a:pt x="541896" y="145211"/>
                  </a:lnTo>
                  <a:lnTo>
                    <a:pt x="541896" y="30759"/>
                  </a:lnTo>
                  <a:lnTo>
                    <a:pt x="572211" y="30759"/>
                  </a:lnTo>
                  <a:lnTo>
                    <a:pt x="572211" y="2781"/>
                  </a:lnTo>
                  <a:close/>
                </a:path>
                <a:path w="837565" h="148590">
                  <a:moveTo>
                    <a:pt x="699643" y="144653"/>
                  </a:moveTo>
                  <a:lnTo>
                    <a:pt x="657809" y="88722"/>
                  </a:lnTo>
                  <a:lnTo>
                    <a:pt x="656374" y="86791"/>
                  </a:lnTo>
                  <a:lnTo>
                    <a:pt x="664514" y="84861"/>
                  </a:lnTo>
                  <a:lnTo>
                    <a:pt x="671245" y="80518"/>
                  </a:lnTo>
                  <a:lnTo>
                    <a:pt x="676046" y="75704"/>
                  </a:lnTo>
                  <a:lnTo>
                    <a:pt x="681647" y="68821"/>
                  </a:lnTo>
                  <a:lnTo>
                    <a:pt x="682256" y="67500"/>
                  </a:lnTo>
                  <a:lnTo>
                    <a:pt x="685038" y="61480"/>
                  </a:lnTo>
                  <a:lnTo>
                    <a:pt x="686701" y="54140"/>
                  </a:lnTo>
                  <a:lnTo>
                    <a:pt x="687146" y="47256"/>
                  </a:lnTo>
                  <a:lnTo>
                    <a:pt x="686066" y="36385"/>
                  </a:lnTo>
                  <a:lnTo>
                    <a:pt x="661200" y="7061"/>
                  </a:lnTo>
                  <a:lnTo>
                    <a:pt x="654443" y="5257"/>
                  </a:lnTo>
                  <a:lnTo>
                    <a:pt x="654443" y="39547"/>
                  </a:lnTo>
                  <a:lnTo>
                    <a:pt x="654443" y="54483"/>
                  </a:lnTo>
                  <a:lnTo>
                    <a:pt x="651052" y="58826"/>
                  </a:lnTo>
                  <a:lnTo>
                    <a:pt x="649135" y="61239"/>
                  </a:lnTo>
                  <a:lnTo>
                    <a:pt x="643356" y="67017"/>
                  </a:lnTo>
                  <a:lnTo>
                    <a:pt x="635152" y="67500"/>
                  </a:lnTo>
                  <a:lnTo>
                    <a:pt x="622211" y="67500"/>
                  </a:lnTo>
                  <a:lnTo>
                    <a:pt x="622211" y="28448"/>
                  </a:lnTo>
                  <a:lnTo>
                    <a:pt x="633742" y="28448"/>
                  </a:lnTo>
                  <a:lnTo>
                    <a:pt x="642404" y="28930"/>
                  </a:lnTo>
                  <a:lnTo>
                    <a:pt x="647712" y="33274"/>
                  </a:lnTo>
                  <a:lnTo>
                    <a:pt x="650608" y="35204"/>
                  </a:lnTo>
                  <a:lnTo>
                    <a:pt x="654443" y="39547"/>
                  </a:lnTo>
                  <a:lnTo>
                    <a:pt x="654443" y="5257"/>
                  </a:lnTo>
                  <a:lnTo>
                    <a:pt x="651205" y="4381"/>
                  </a:lnTo>
                  <a:lnTo>
                    <a:pt x="639000" y="3378"/>
                  </a:lnTo>
                  <a:lnTo>
                    <a:pt x="589521" y="3378"/>
                  </a:lnTo>
                  <a:lnTo>
                    <a:pt x="589521" y="144653"/>
                  </a:lnTo>
                  <a:lnTo>
                    <a:pt x="622211" y="144653"/>
                  </a:lnTo>
                  <a:lnTo>
                    <a:pt x="622211" y="88722"/>
                  </a:lnTo>
                  <a:lnTo>
                    <a:pt x="660222" y="144653"/>
                  </a:lnTo>
                  <a:lnTo>
                    <a:pt x="699643" y="144653"/>
                  </a:lnTo>
                  <a:close/>
                </a:path>
                <a:path w="837565" h="148590">
                  <a:moveTo>
                    <a:pt x="837133" y="3378"/>
                  </a:moveTo>
                  <a:lnTo>
                    <a:pt x="804443" y="3378"/>
                  </a:lnTo>
                  <a:lnTo>
                    <a:pt x="804443" y="92100"/>
                  </a:lnTo>
                  <a:lnTo>
                    <a:pt x="803922" y="102704"/>
                  </a:lnTo>
                  <a:lnTo>
                    <a:pt x="791425" y="116205"/>
                  </a:lnTo>
                  <a:lnTo>
                    <a:pt x="783742" y="117170"/>
                  </a:lnTo>
                  <a:lnTo>
                    <a:pt x="771232" y="117170"/>
                  </a:lnTo>
                  <a:lnTo>
                    <a:pt x="763549" y="116205"/>
                  </a:lnTo>
                  <a:lnTo>
                    <a:pt x="757783" y="109931"/>
                  </a:lnTo>
                  <a:lnTo>
                    <a:pt x="750595" y="102704"/>
                  </a:lnTo>
                  <a:lnTo>
                    <a:pt x="750595" y="3378"/>
                  </a:lnTo>
                  <a:lnTo>
                    <a:pt x="717905" y="3378"/>
                  </a:lnTo>
                  <a:lnTo>
                    <a:pt x="717905" y="86791"/>
                  </a:lnTo>
                  <a:lnTo>
                    <a:pt x="718350" y="97459"/>
                  </a:lnTo>
                  <a:lnTo>
                    <a:pt x="743966" y="140093"/>
                  </a:lnTo>
                  <a:lnTo>
                    <a:pt x="777519" y="148018"/>
                  </a:lnTo>
                  <a:lnTo>
                    <a:pt x="788733" y="147421"/>
                  </a:lnTo>
                  <a:lnTo>
                    <a:pt x="829614" y="120421"/>
                  </a:lnTo>
                  <a:lnTo>
                    <a:pt x="837133" y="86791"/>
                  </a:lnTo>
                  <a:lnTo>
                    <a:pt x="837133" y="3378"/>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0" name="object 10"/>
            <p:cNvPicPr/>
            <p:nvPr/>
          </p:nvPicPr>
          <p:blipFill>
            <a:blip r:embed="rId4" cstate="screen">
              <a:extLst>
                <a:ext uri="{28A0092B-C50C-407E-A947-70E740481C1C}">
                  <a14:useLocalDpi xmlns:a14="http://schemas.microsoft.com/office/drawing/2010/main"/>
                </a:ext>
              </a:extLst>
            </a:blip>
            <a:stretch>
              <a:fillRect/>
            </a:stretch>
          </p:blipFill>
          <p:spPr>
            <a:xfrm>
              <a:off x="11310647" y="329728"/>
              <a:ext cx="351008" cy="148016"/>
            </a:xfrm>
            <a:prstGeom prst="rect">
              <a:avLst/>
            </a:prstGeom>
          </p:spPr>
        </p:pic>
        <p:pic>
          <p:nvPicPr>
            <p:cNvPr id="11" name="object 11"/>
            <p:cNvPicPr/>
            <p:nvPr/>
          </p:nvPicPr>
          <p:blipFill>
            <a:blip r:embed="rId5" cstate="screen">
              <a:extLst>
                <a:ext uri="{28A0092B-C50C-407E-A947-70E740481C1C}">
                  <a14:useLocalDpi xmlns:a14="http://schemas.microsoft.com/office/drawing/2010/main"/>
                </a:ext>
              </a:extLst>
            </a:blip>
            <a:stretch>
              <a:fillRect/>
            </a:stretch>
          </p:blipFill>
          <p:spPr>
            <a:xfrm>
              <a:off x="11692423" y="332510"/>
              <a:ext cx="208194" cy="142427"/>
            </a:xfrm>
            <a:prstGeom prst="rect">
              <a:avLst/>
            </a:prstGeom>
          </p:spPr>
        </p:pic>
      </p:grpSp>
      <p:grpSp>
        <p:nvGrpSpPr>
          <p:cNvPr id="12" name="object 12"/>
          <p:cNvGrpSpPr/>
          <p:nvPr/>
        </p:nvGrpSpPr>
        <p:grpSpPr>
          <a:xfrm>
            <a:off x="10216784" y="531742"/>
            <a:ext cx="561975" cy="141605"/>
            <a:chOff x="10216784" y="531742"/>
            <a:chExt cx="561975" cy="141605"/>
          </a:xfrm>
        </p:grpSpPr>
        <p:pic>
          <p:nvPicPr>
            <p:cNvPr id="13" name="object 13"/>
            <p:cNvPicPr/>
            <p:nvPr/>
          </p:nvPicPr>
          <p:blipFill>
            <a:blip r:embed="rId6" cstate="screen">
              <a:extLst>
                <a:ext uri="{28A0092B-C50C-407E-A947-70E740481C1C}">
                  <a14:useLocalDpi xmlns:a14="http://schemas.microsoft.com/office/drawing/2010/main"/>
                </a:ext>
              </a:extLst>
            </a:blip>
            <a:stretch>
              <a:fillRect/>
            </a:stretch>
          </p:blipFill>
          <p:spPr>
            <a:xfrm>
              <a:off x="10216784" y="531742"/>
              <a:ext cx="405819" cy="141261"/>
            </a:xfrm>
            <a:prstGeom prst="rect">
              <a:avLst/>
            </a:prstGeom>
          </p:spPr>
        </p:pic>
        <p:pic>
          <p:nvPicPr>
            <p:cNvPr id="14" name="object 14"/>
            <p:cNvPicPr/>
            <p:nvPr/>
          </p:nvPicPr>
          <p:blipFill>
            <a:blip r:embed="rId7" cstate="screen">
              <a:extLst>
                <a:ext uri="{28A0092B-C50C-407E-A947-70E740481C1C}">
                  <a14:useLocalDpi xmlns:a14="http://schemas.microsoft.com/office/drawing/2010/main"/>
                </a:ext>
              </a:extLst>
            </a:blip>
            <a:stretch>
              <a:fillRect/>
            </a:stretch>
          </p:blipFill>
          <p:spPr>
            <a:xfrm>
              <a:off x="10653372" y="531742"/>
              <a:ext cx="124993" cy="141261"/>
            </a:xfrm>
            <a:prstGeom prst="rect">
              <a:avLst/>
            </a:prstGeom>
          </p:spPr>
        </p:pic>
      </p:grpSp>
      <p:grpSp>
        <p:nvGrpSpPr>
          <p:cNvPr id="15" name="object 15"/>
          <p:cNvGrpSpPr/>
          <p:nvPr/>
        </p:nvGrpSpPr>
        <p:grpSpPr>
          <a:xfrm>
            <a:off x="9878282" y="333102"/>
            <a:ext cx="283210" cy="340360"/>
            <a:chOff x="9878282" y="333102"/>
            <a:chExt cx="283210" cy="340360"/>
          </a:xfrm>
        </p:grpSpPr>
        <p:sp>
          <p:nvSpPr>
            <p:cNvPr id="16" name="object 16"/>
            <p:cNvSpPr/>
            <p:nvPr/>
          </p:nvSpPr>
          <p:spPr>
            <a:xfrm>
              <a:off x="10019647" y="333102"/>
              <a:ext cx="141605" cy="340360"/>
            </a:xfrm>
            <a:custGeom>
              <a:avLst/>
              <a:gdLst/>
              <a:ahLst/>
              <a:cxnLst/>
              <a:rect l="l" t="t" r="r" b="b"/>
              <a:pathLst>
                <a:path w="141604" h="340359">
                  <a:moveTo>
                    <a:pt x="141358" y="0"/>
                  </a:moveTo>
                  <a:lnTo>
                    <a:pt x="0" y="0"/>
                  </a:lnTo>
                  <a:lnTo>
                    <a:pt x="10922" y="2200"/>
                  </a:lnTo>
                  <a:lnTo>
                    <a:pt x="19954" y="8197"/>
                  </a:lnTo>
                  <a:lnTo>
                    <a:pt x="26100" y="17086"/>
                  </a:lnTo>
                  <a:lnTo>
                    <a:pt x="28370" y="27963"/>
                  </a:lnTo>
                  <a:lnTo>
                    <a:pt x="28370" y="339901"/>
                  </a:lnTo>
                  <a:lnTo>
                    <a:pt x="141358" y="339901"/>
                  </a:lnTo>
                  <a:lnTo>
                    <a:pt x="141358" y="283493"/>
                  </a:lnTo>
                  <a:lnTo>
                    <a:pt x="56253" y="169713"/>
                  </a:lnTo>
                  <a:lnTo>
                    <a:pt x="141358" y="56408"/>
                  </a:lnTo>
                  <a:lnTo>
                    <a:pt x="141358"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17" name="object 17"/>
            <p:cNvSpPr/>
            <p:nvPr/>
          </p:nvSpPr>
          <p:spPr>
            <a:xfrm>
              <a:off x="9878282" y="333102"/>
              <a:ext cx="141605" cy="340360"/>
            </a:xfrm>
            <a:custGeom>
              <a:avLst/>
              <a:gdLst/>
              <a:ahLst/>
              <a:cxnLst/>
              <a:rect l="l" t="t" r="r" b="b"/>
              <a:pathLst>
                <a:path w="141604" h="340359">
                  <a:moveTo>
                    <a:pt x="141364" y="0"/>
                  </a:moveTo>
                  <a:lnTo>
                    <a:pt x="0" y="0"/>
                  </a:lnTo>
                  <a:lnTo>
                    <a:pt x="0" y="283493"/>
                  </a:lnTo>
                  <a:lnTo>
                    <a:pt x="4395" y="305527"/>
                  </a:lnTo>
                  <a:lnTo>
                    <a:pt x="16409" y="323449"/>
                  </a:lnTo>
                  <a:lnTo>
                    <a:pt x="34283" y="335494"/>
                  </a:lnTo>
                  <a:lnTo>
                    <a:pt x="56260" y="339901"/>
                  </a:lnTo>
                  <a:lnTo>
                    <a:pt x="78310" y="335494"/>
                  </a:lnTo>
                  <a:lnTo>
                    <a:pt x="96347" y="323449"/>
                  </a:lnTo>
                  <a:lnTo>
                    <a:pt x="108524" y="305527"/>
                  </a:lnTo>
                  <a:lnTo>
                    <a:pt x="112994" y="283493"/>
                  </a:lnTo>
                  <a:lnTo>
                    <a:pt x="112994" y="24107"/>
                  </a:lnTo>
                  <a:lnTo>
                    <a:pt x="113955" y="20250"/>
                  </a:lnTo>
                  <a:lnTo>
                    <a:pt x="115398" y="16876"/>
                  </a:lnTo>
                  <a:lnTo>
                    <a:pt x="115398" y="16394"/>
                  </a:lnTo>
                  <a:lnTo>
                    <a:pt x="116359" y="14466"/>
                  </a:lnTo>
                  <a:lnTo>
                    <a:pt x="120739" y="8546"/>
                  </a:lnTo>
                  <a:lnTo>
                    <a:pt x="126518" y="3979"/>
                  </a:lnTo>
                  <a:lnTo>
                    <a:pt x="133469" y="1040"/>
                  </a:lnTo>
                  <a:lnTo>
                    <a:pt x="141364"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sp>
        <p:nvSpPr>
          <p:cNvPr id="18" name="object 18"/>
          <p:cNvSpPr txBox="1"/>
          <p:nvPr/>
        </p:nvSpPr>
        <p:spPr>
          <a:xfrm>
            <a:off x="513080" y="1174369"/>
            <a:ext cx="165100" cy="5117465"/>
          </a:xfrm>
          <a:prstGeom prst="rect">
            <a:avLst/>
          </a:prstGeom>
        </p:spPr>
        <p:txBody>
          <a:bodyPr vert="horz" wrap="square" lIns="0" tIns="165100" rIns="0" bIns="0" rtlCol="0">
            <a:spAutoFit/>
          </a:bodyPr>
          <a:lstStyle/>
          <a:p>
            <a:pPr marL="12700" marR="0" lvl="0" indent="0" defTabSz="914400" eaLnBrk="1" fontAlgn="auto" latinLnBrk="0" hangingPunct="1">
              <a:lnSpc>
                <a:spcPct val="100000"/>
              </a:lnSpc>
              <a:spcBef>
                <a:spcPts val="1300"/>
              </a:spcBef>
              <a:spcAft>
                <a:spcPts val="0"/>
              </a:spcAft>
              <a:buClrTx/>
              <a:buSzTx/>
              <a:buFontTx/>
              <a:buNone/>
              <a:tabLst/>
              <a:defRPr/>
            </a:pPr>
            <a:r>
              <a:rPr kumimoji="0" sz="2400" b="0" i="0" u="none" strike="noStrike" kern="0" cap="none" spc="-50" normalizeH="0" baseline="0" noProof="0" dirty="0">
                <a:ln>
                  <a:noFill/>
                </a:ln>
                <a:solidFill>
                  <a:srgbClr val="012B1F"/>
                </a:solidFill>
                <a:effectLst/>
                <a:uLnTx/>
                <a:uFillTx/>
                <a:latin typeface="Wingdings"/>
                <a:ea typeface="+mn-ea"/>
                <a:cs typeface="Wingdings"/>
              </a:rPr>
              <a:t></a:t>
            </a:r>
            <a:endParaRPr kumimoji="0" sz="24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1205"/>
              </a:spcBef>
              <a:spcAft>
                <a:spcPts val="0"/>
              </a:spcAft>
              <a:buClrTx/>
              <a:buSzTx/>
              <a:buFontTx/>
              <a:buNone/>
              <a:tabLst/>
              <a:defRPr/>
            </a:pPr>
            <a:r>
              <a:rPr kumimoji="0" sz="2400" b="0" i="0" u="none" strike="noStrike" kern="0" cap="none" spc="-50" normalizeH="0" baseline="0" noProof="0" dirty="0">
                <a:ln>
                  <a:noFill/>
                </a:ln>
                <a:solidFill>
                  <a:srgbClr val="012B1F"/>
                </a:solidFill>
                <a:effectLst/>
                <a:uLnTx/>
                <a:uFillTx/>
                <a:latin typeface="Wingdings"/>
                <a:ea typeface="+mn-ea"/>
                <a:cs typeface="Wingdings"/>
              </a:rPr>
              <a:t></a:t>
            </a:r>
            <a:endParaRPr kumimoji="0" sz="2400" b="0" i="0" u="none" strike="noStrike" kern="0" cap="none" spc="0" normalizeH="0" baseline="0" noProof="0" dirty="0">
              <a:ln>
                <a:noFill/>
              </a:ln>
              <a:solidFill>
                <a:sysClr val="windowText" lastClr="000000"/>
              </a:solidFill>
              <a:effectLst/>
              <a:uLnTx/>
              <a:uFillTx/>
              <a:latin typeface="Wingdings"/>
              <a:ea typeface="+mn-ea"/>
              <a:cs typeface="Wingdings"/>
            </a:endParaRPr>
          </a:p>
          <a:p>
            <a:pPr marL="0" marR="0" lvl="0" indent="0" defTabSz="914400" eaLnBrk="1" fontAlgn="auto" latinLnBrk="0" hangingPunct="1">
              <a:lnSpc>
                <a:spcPct val="100000"/>
              </a:lnSpc>
              <a:spcBef>
                <a:spcPts val="1415"/>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400" b="0" i="0" u="none" strike="noStrike" kern="0" cap="none" spc="-50" normalizeH="0" baseline="0" noProof="0" dirty="0">
                <a:ln>
                  <a:noFill/>
                </a:ln>
                <a:solidFill>
                  <a:srgbClr val="012B1F"/>
                </a:solidFill>
                <a:effectLst/>
                <a:uLnTx/>
                <a:uFillTx/>
                <a:latin typeface="Wingdings"/>
                <a:ea typeface="+mn-ea"/>
                <a:cs typeface="Wingdings"/>
              </a:rPr>
              <a:t></a:t>
            </a:r>
            <a:endParaRPr kumimoji="0" sz="2400" b="0" i="0" u="none" strike="noStrike" kern="0" cap="none" spc="0" normalizeH="0" baseline="0" noProof="0" dirty="0">
              <a:ln>
                <a:noFill/>
              </a:ln>
              <a:solidFill>
                <a:sysClr val="windowText" lastClr="000000"/>
              </a:solidFill>
              <a:effectLst/>
              <a:uLnTx/>
              <a:uFillTx/>
              <a:latin typeface="Wingdings"/>
              <a:ea typeface="+mn-ea"/>
              <a:cs typeface="Wingdings"/>
            </a:endParaRPr>
          </a:p>
          <a:p>
            <a:pPr marL="0" marR="0" lvl="0" indent="0" defTabSz="914400" eaLnBrk="1" fontAlgn="auto" latinLnBrk="0" hangingPunct="1">
              <a:lnSpc>
                <a:spcPct val="100000"/>
              </a:lnSpc>
              <a:spcBef>
                <a:spcPts val="142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400" b="0" i="0" u="none" strike="noStrike" kern="0" cap="none" spc="-50" normalizeH="0" baseline="0" noProof="0" dirty="0">
                <a:ln>
                  <a:noFill/>
                </a:ln>
                <a:solidFill>
                  <a:srgbClr val="012B1F"/>
                </a:solidFill>
                <a:effectLst/>
                <a:uLnTx/>
                <a:uFillTx/>
                <a:latin typeface="Wingdings"/>
                <a:ea typeface="+mn-ea"/>
                <a:cs typeface="Wingdings"/>
              </a:rPr>
              <a:t></a:t>
            </a:r>
            <a:endParaRPr kumimoji="0" sz="24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1200"/>
              </a:spcBef>
              <a:spcAft>
                <a:spcPts val="0"/>
              </a:spcAft>
              <a:buClrTx/>
              <a:buSzTx/>
              <a:buFontTx/>
              <a:buNone/>
              <a:tabLst/>
              <a:defRPr/>
            </a:pPr>
            <a:r>
              <a:rPr kumimoji="0" sz="2400" b="0" i="0" u="none" strike="noStrike" kern="0" cap="none" spc="-50" normalizeH="0" baseline="0" noProof="0" dirty="0">
                <a:ln>
                  <a:noFill/>
                </a:ln>
                <a:solidFill>
                  <a:srgbClr val="09211C"/>
                </a:solidFill>
                <a:effectLst/>
                <a:uLnTx/>
                <a:uFillTx/>
                <a:latin typeface="Wingdings"/>
                <a:ea typeface="+mn-ea"/>
                <a:cs typeface="Wingdings"/>
              </a:rPr>
              <a:t></a:t>
            </a:r>
            <a:endParaRPr kumimoji="0" sz="2400" b="0" i="0" u="none" strike="noStrike" kern="0" cap="none" spc="0" normalizeH="0" baseline="0" noProof="0" dirty="0">
              <a:ln>
                <a:noFill/>
              </a:ln>
              <a:solidFill>
                <a:sysClr val="windowText" lastClr="000000"/>
              </a:solidFill>
              <a:effectLst/>
              <a:uLnTx/>
              <a:uFillTx/>
              <a:latin typeface="Wingdings"/>
              <a:ea typeface="+mn-ea"/>
              <a:cs typeface="Wingdings"/>
            </a:endParaRPr>
          </a:p>
          <a:p>
            <a:pPr marL="0" marR="0" lvl="0" indent="0" defTabSz="914400" eaLnBrk="1" fontAlgn="auto" latinLnBrk="0" hangingPunct="1">
              <a:lnSpc>
                <a:spcPct val="100000"/>
              </a:lnSpc>
              <a:spcBef>
                <a:spcPts val="1420"/>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400" b="0" i="0" u="none" strike="noStrike" kern="0" cap="none" spc="-50" normalizeH="0" baseline="0" noProof="0" dirty="0">
                <a:ln>
                  <a:noFill/>
                </a:ln>
                <a:solidFill>
                  <a:srgbClr val="012B1F"/>
                </a:solidFill>
                <a:effectLst/>
                <a:uLnTx/>
                <a:uFillTx/>
                <a:latin typeface="Wingdings"/>
                <a:ea typeface="+mn-ea"/>
                <a:cs typeface="Wingdings"/>
              </a:rPr>
              <a:t></a:t>
            </a:r>
            <a:endParaRPr kumimoji="0" sz="2400" b="0" i="0" u="none" strike="noStrike" kern="0" cap="none" spc="0" normalizeH="0" baseline="0" noProof="0" dirty="0">
              <a:ln>
                <a:noFill/>
              </a:ln>
              <a:solidFill>
                <a:sysClr val="windowText" lastClr="000000"/>
              </a:solidFill>
              <a:effectLst/>
              <a:uLnTx/>
              <a:uFillTx/>
              <a:latin typeface="Wingdings"/>
              <a:ea typeface="+mn-ea"/>
              <a:cs typeface="Wingdings"/>
            </a:endParaRPr>
          </a:p>
          <a:p>
            <a:pPr marL="0" marR="0" lvl="0" indent="0" defTabSz="914400" eaLnBrk="1" fontAlgn="auto" latinLnBrk="0" hangingPunct="1">
              <a:lnSpc>
                <a:spcPct val="100000"/>
              </a:lnSpc>
              <a:spcBef>
                <a:spcPts val="1415"/>
              </a:spcBef>
              <a:spcAft>
                <a:spcPts val="0"/>
              </a:spcAft>
              <a:buClrTx/>
              <a:buSzTx/>
              <a:buFontTx/>
              <a:buNone/>
              <a:tabLst/>
              <a:defRPr/>
            </a:pPr>
            <a:endParaRPr kumimoji="0" sz="2400" b="0" i="0" u="none" strike="noStrike" kern="0" cap="none" spc="0" normalizeH="0" baseline="0" noProof="0" dirty="0">
              <a:ln>
                <a:noFill/>
              </a:ln>
              <a:solidFill>
                <a:sysClr val="windowText" lastClr="000000"/>
              </a:solidFill>
              <a:effectLst/>
              <a:uLnTx/>
              <a:uFillTx/>
              <a:latin typeface="Wingdings"/>
              <a:ea typeface="+mn-ea"/>
              <a:cs typeface="Wingdings"/>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400" b="0" i="0" u="none" strike="noStrike" kern="0" cap="none" spc="-50" normalizeH="0" baseline="0" noProof="0" dirty="0">
                <a:ln>
                  <a:noFill/>
                </a:ln>
                <a:solidFill>
                  <a:srgbClr val="012B1F"/>
                </a:solidFill>
                <a:effectLst/>
                <a:uLnTx/>
                <a:uFillTx/>
                <a:latin typeface="Wingdings"/>
                <a:ea typeface="+mn-ea"/>
                <a:cs typeface="Wingdings"/>
              </a:rPr>
              <a:t></a:t>
            </a:r>
            <a:endParaRPr kumimoji="0" sz="2400" b="0" i="0" u="none" strike="noStrike" kern="0" cap="none" spc="0" normalizeH="0" baseline="0" noProof="0" dirty="0">
              <a:ln>
                <a:noFill/>
              </a:ln>
              <a:solidFill>
                <a:sysClr val="windowText" lastClr="000000"/>
              </a:solidFill>
              <a:effectLst/>
              <a:uLnTx/>
              <a:uFillTx/>
              <a:latin typeface="Wingdings"/>
              <a:ea typeface="+mn-ea"/>
              <a:cs typeface="Wingdings"/>
            </a:endParaRPr>
          </a:p>
        </p:txBody>
      </p:sp>
      <p:grpSp>
        <p:nvGrpSpPr>
          <p:cNvPr id="19" name="object 19"/>
          <p:cNvGrpSpPr/>
          <p:nvPr/>
        </p:nvGrpSpPr>
        <p:grpSpPr>
          <a:xfrm>
            <a:off x="868680" y="1346022"/>
            <a:ext cx="6466840" cy="390525"/>
            <a:chOff x="868680" y="1346022"/>
            <a:chExt cx="6466840" cy="390525"/>
          </a:xfrm>
        </p:grpSpPr>
        <p:pic>
          <p:nvPicPr>
            <p:cNvPr id="20" name="object 20"/>
            <p:cNvPicPr/>
            <p:nvPr/>
          </p:nvPicPr>
          <p:blipFill>
            <a:blip r:embed="rId8" cstate="screen">
              <a:extLst>
                <a:ext uri="{28A0092B-C50C-407E-A947-70E740481C1C}">
                  <a14:useLocalDpi xmlns:a14="http://schemas.microsoft.com/office/drawing/2010/main"/>
                </a:ext>
              </a:extLst>
            </a:blip>
            <a:stretch>
              <a:fillRect/>
            </a:stretch>
          </p:blipFill>
          <p:spPr>
            <a:xfrm>
              <a:off x="868680" y="1346022"/>
              <a:ext cx="3069336" cy="390448"/>
            </a:xfrm>
            <a:prstGeom prst="rect">
              <a:avLst/>
            </a:prstGeom>
          </p:spPr>
        </p:pic>
        <p:pic>
          <p:nvPicPr>
            <p:cNvPr id="21" name="object 21"/>
            <p:cNvPicPr/>
            <p:nvPr/>
          </p:nvPicPr>
          <p:blipFill>
            <a:blip r:embed="rId9" cstate="screen">
              <a:extLst>
                <a:ext uri="{28A0092B-C50C-407E-A947-70E740481C1C}">
                  <a14:useLocalDpi xmlns:a14="http://schemas.microsoft.com/office/drawing/2010/main"/>
                </a:ext>
              </a:extLst>
            </a:blip>
            <a:stretch>
              <a:fillRect/>
            </a:stretch>
          </p:blipFill>
          <p:spPr>
            <a:xfrm>
              <a:off x="3804538" y="1346022"/>
              <a:ext cx="729614" cy="390448"/>
            </a:xfrm>
            <a:prstGeom prst="rect">
              <a:avLst/>
            </a:prstGeom>
          </p:spPr>
        </p:pic>
        <p:pic>
          <p:nvPicPr>
            <p:cNvPr id="22" name="object 22"/>
            <p:cNvPicPr/>
            <p:nvPr/>
          </p:nvPicPr>
          <p:blipFill>
            <a:blip r:embed="rId10" cstate="screen">
              <a:extLst>
                <a:ext uri="{28A0092B-C50C-407E-A947-70E740481C1C}">
                  <a14:useLocalDpi xmlns:a14="http://schemas.microsoft.com/office/drawing/2010/main"/>
                </a:ext>
              </a:extLst>
            </a:blip>
            <a:stretch>
              <a:fillRect/>
            </a:stretch>
          </p:blipFill>
          <p:spPr>
            <a:xfrm>
              <a:off x="4388231" y="1346022"/>
              <a:ext cx="2947161" cy="390448"/>
            </a:xfrm>
            <a:prstGeom prst="rect">
              <a:avLst/>
            </a:prstGeom>
          </p:spPr>
        </p:pic>
      </p:grpSp>
      <p:grpSp>
        <p:nvGrpSpPr>
          <p:cNvPr id="23" name="object 23"/>
          <p:cNvGrpSpPr/>
          <p:nvPr/>
        </p:nvGrpSpPr>
        <p:grpSpPr>
          <a:xfrm>
            <a:off x="868680" y="1864486"/>
            <a:ext cx="9408795" cy="756285"/>
            <a:chOff x="868680" y="1864486"/>
            <a:chExt cx="9408795" cy="756285"/>
          </a:xfrm>
        </p:grpSpPr>
        <p:pic>
          <p:nvPicPr>
            <p:cNvPr id="24" name="object 24"/>
            <p:cNvPicPr/>
            <p:nvPr/>
          </p:nvPicPr>
          <p:blipFill>
            <a:blip r:embed="rId11" cstate="screen">
              <a:extLst>
                <a:ext uri="{28A0092B-C50C-407E-A947-70E740481C1C}">
                  <a14:useLocalDpi xmlns:a14="http://schemas.microsoft.com/office/drawing/2010/main"/>
                </a:ext>
              </a:extLst>
            </a:blip>
            <a:stretch>
              <a:fillRect/>
            </a:stretch>
          </p:blipFill>
          <p:spPr>
            <a:xfrm>
              <a:off x="868680" y="1864486"/>
              <a:ext cx="1512443" cy="390144"/>
            </a:xfrm>
            <a:prstGeom prst="rect">
              <a:avLst/>
            </a:prstGeom>
          </p:spPr>
        </p:pic>
        <p:pic>
          <p:nvPicPr>
            <p:cNvPr id="25" name="object 25"/>
            <p:cNvPicPr/>
            <p:nvPr/>
          </p:nvPicPr>
          <p:blipFill>
            <a:blip r:embed="rId12" cstate="screen">
              <a:extLst>
                <a:ext uri="{28A0092B-C50C-407E-A947-70E740481C1C}">
                  <a14:useLocalDpi xmlns:a14="http://schemas.microsoft.com/office/drawing/2010/main"/>
                </a:ext>
              </a:extLst>
            </a:blip>
            <a:stretch>
              <a:fillRect/>
            </a:stretch>
          </p:blipFill>
          <p:spPr>
            <a:xfrm>
              <a:off x="2243582" y="1864486"/>
              <a:ext cx="714375" cy="390144"/>
            </a:xfrm>
            <a:prstGeom prst="rect">
              <a:avLst/>
            </a:prstGeom>
          </p:spPr>
        </p:pic>
        <p:pic>
          <p:nvPicPr>
            <p:cNvPr id="26" name="object 26"/>
            <p:cNvPicPr/>
            <p:nvPr/>
          </p:nvPicPr>
          <p:blipFill>
            <a:blip r:embed="rId13" cstate="screen">
              <a:extLst>
                <a:ext uri="{28A0092B-C50C-407E-A947-70E740481C1C}">
                  <a14:useLocalDpi xmlns:a14="http://schemas.microsoft.com/office/drawing/2010/main"/>
                </a:ext>
              </a:extLst>
            </a:blip>
            <a:stretch>
              <a:fillRect/>
            </a:stretch>
          </p:blipFill>
          <p:spPr>
            <a:xfrm>
              <a:off x="2815081" y="1864486"/>
              <a:ext cx="3939921" cy="390144"/>
            </a:xfrm>
            <a:prstGeom prst="rect">
              <a:avLst/>
            </a:prstGeom>
          </p:spPr>
        </p:pic>
        <p:pic>
          <p:nvPicPr>
            <p:cNvPr id="27" name="object 27"/>
            <p:cNvPicPr/>
            <p:nvPr/>
          </p:nvPicPr>
          <p:blipFill>
            <a:blip r:embed="rId14" cstate="screen">
              <a:extLst>
                <a:ext uri="{28A0092B-C50C-407E-A947-70E740481C1C}">
                  <a14:useLocalDpi xmlns:a14="http://schemas.microsoft.com/office/drawing/2010/main"/>
                </a:ext>
              </a:extLst>
            </a:blip>
            <a:stretch>
              <a:fillRect/>
            </a:stretch>
          </p:blipFill>
          <p:spPr>
            <a:xfrm>
              <a:off x="6642481" y="1864486"/>
              <a:ext cx="520192" cy="390144"/>
            </a:xfrm>
            <a:prstGeom prst="rect">
              <a:avLst/>
            </a:prstGeom>
          </p:spPr>
        </p:pic>
        <p:pic>
          <p:nvPicPr>
            <p:cNvPr id="28" name="object 28"/>
            <p:cNvPicPr/>
            <p:nvPr/>
          </p:nvPicPr>
          <p:blipFill>
            <a:blip r:embed="rId15" cstate="screen">
              <a:extLst>
                <a:ext uri="{28A0092B-C50C-407E-A947-70E740481C1C}">
                  <a14:useLocalDpi xmlns:a14="http://schemas.microsoft.com/office/drawing/2010/main"/>
                </a:ext>
              </a:extLst>
            </a:blip>
            <a:stretch>
              <a:fillRect/>
            </a:stretch>
          </p:blipFill>
          <p:spPr>
            <a:xfrm>
              <a:off x="7032625" y="1864486"/>
              <a:ext cx="3244723" cy="390144"/>
            </a:xfrm>
            <a:prstGeom prst="rect">
              <a:avLst/>
            </a:prstGeom>
          </p:spPr>
        </p:pic>
        <p:pic>
          <p:nvPicPr>
            <p:cNvPr id="29" name="object 29"/>
            <p:cNvPicPr/>
            <p:nvPr/>
          </p:nvPicPr>
          <p:blipFill>
            <a:blip r:embed="rId16" cstate="screen">
              <a:extLst>
                <a:ext uri="{28A0092B-C50C-407E-A947-70E740481C1C}">
                  <a14:useLocalDpi xmlns:a14="http://schemas.microsoft.com/office/drawing/2010/main"/>
                </a:ext>
              </a:extLst>
            </a:blip>
            <a:stretch>
              <a:fillRect/>
            </a:stretch>
          </p:blipFill>
          <p:spPr>
            <a:xfrm>
              <a:off x="868680" y="2230246"/>
              <a:ext cx="1473834" cy="390143"/>
            </a:xfrm>
            <a:prstGeom prst="rect">
              <a:avLst/>
            </a:prstGeom>
          </p:spPr>
        </p:pic>
      </p:grpSp>
      <p:grpSp>
        <p:nvGrpSpPr>
          <p:cNvPr id="30" name="object 30"/>
          <p:cNvGrpSpPr/>
          <p:nvPr/>
        </p:nvGrpSpPr>
        <p:grpSpPr>
          <a:xfrm>
            <a:off x="868680" y="2748102"/>
            <a:ext cx="10666730" cy="756920"/>
            <a:chOff x="868680" y="2748102"/>
            <a:chExt cx="10666730" cy="756920"/>
          </a:xfrm>
        </p:grpSpPr>
        <p:pic>
          <p:nvPicPr>
            <p:cNvPr id="31" name="object 31"/>
            <p:cNvPicPr/>
            <p:nvPr/>
          </p:nvPicPr>
          <p:blipFill>
            <a:blip r:embed="rId17" cstate="screen">
              <a:extLst>
                <a:ext uri="{28A0092B-C50C-407E-A947-70E740481C1C}">
                  <a14:useLocalDpi xmlns:a14="http://schemas.microsoft.com/office/drawing/2010/main"/>
                </a:ext>
              </a:extLst>
            </a:blip>
            <a:stretch>
              <a:fillRect/>
            </a:stretch>
          </p:blipFill>
          <p:spPr>
            <a:xfrm>
              <a:off x="868680" y="2748102"/>
              <a:ext cx="10666349" cy="390448"/>
            </a:xfrm>
            <a:prstGeom prst="rect">
              <a:avLst/>
            </a:prstGeom>
          </p:spPr>
        </p:pic>
        <p:pic>
          <p:nvPicPr>
            <p:cNvPr id="32" name="object 32"/>
            <p:cNvPicPr/>
            <p:nvPr/>
          </p:nvPicPr>
          <p:blipFill>
            <a:blip r:embed="rId18" cstate="screen">
              <a:extLst>
                <a:ext uri="{28A0092B-C50C-407E-A947-70E740481C1C}">
                  <a14:useLocalDpi xmlns:a14="http://schemas.microsoft.com/office/drawing/2010/main"/>
                </a:ext>
              </a:extLst>
            </a:blip>
            <a:stretch>
              <a:fillRect/>
            </a:stretch>
          </p:blipFill>
          <p:spPr>
            <a:xfrm>
              <a:off x="868680" y="3114421"/>
              <a:ext cx="4242435" cy="390143"/>
            </a:xfrm>
            <a:prstGeom prst="rect">
              <a:avLst/>
            </a:prstGeom>
          </p:spPr>
        </p:pic>
      </p:grpSp>
      <p:pic>
        <p:nvPicPr>
          <p:cNvPr id="33" name="object 33"/>
          <p:cNvPicPr/>
          <p:nvPr/>
        </p:nvPicPr>
        <p:blipFill>
          <a:blip r:embed="rId19" cstate="screen">
            <a:extLst>
              <a:ext uri="{28A0092B-C50C-407E-A947-70E740481C1C}">
                <a14:useLocalDpi xmlns:a14="http://schemas.microsoft.com/office/drawing/2010/main"/>
              </a:ext>
            </a:extLst>
          </a:blip>
          <a:stretch>
            <a:fillRect/>
          </a:stretch>
        </p:blipFill>
        <p:spPr>
          <a:xfrm>
            <a:off x="868680" y="3632580"/>
            <a:ext cx="10151491" cy="390144"/>
          </a:xfrm>
          <a:prstGeom prst="rect">
            <a:avLst/>
          </a:prstGeom>
        </p:spPr>
      </p:pic>
      <p:grpSp>
        <p:nvGrpSpPr>
          <p:cNvPr id="34" name="object 34"/>
          <p:cNvGrpSpPr/>
          <p:nvPr/>
        </p:nvGrpSpPr>
        <p:grpSpPr>
          <a:xfrm>
            <a:off x="868680" y="4150436"/>
            <a:ext cx="10530205" cy="756920"/>
            <a:chOff x="868680" y="4150436"/>
            <a:chExt cx="10530205" cy="756920"/>
          </a:xfrm>
        </p:grpSpPr>
        <p:pic>
          <p:nvPicPr>
            <p:cNvPr id="35" name="object 35"/>
            <p:cNvPicPr/>
            <p:nvPr/>
          </p:nvPicPr>
          <p:blipFill>
            <a:blip r:embed="rId20" cstate="screen">
              <a:extLst>
                <a:ext uri="{28A0092B-C50C-407E-A947-70E740481C1C}">
                  <a14:useLocalDpi xmlns:a14="http://schemas.microsoft.com/office/drawing/2010/main"/>
                </a:ext>
              </a:extLst>
            </a:blip>
            <a:stretch>
              <a:fillRect/>
            </a:stretch>
          </p:blipFill>
          <p:spPr>
            <a:xfrm>
              <a:off x="868680" y="4150436"/>
              <a:ext cx="10529824" cy="390448"/>
            </a:xfrm>
            <a:prstGeom prst="rect">
              <a:avLst/>
            </a:prstGeom>
          </p:spPr>
        </p:pic>
        <p:pic>
          <p:nvPicPr>
            <p:cNvPr id="36" name="object 36"/>
            <p:cNvPicPr/>
            <p:nvPr/>
          </p:nvPicPr>
          <p:blipFill>
            <a:blip r:embed="rId21" cstate="screen">
              <a:extLst>
                <a:ext uri="{28A0092B-C50C-407E-A947-70E740481C1C}">
                  <a14:useLocalDpi xmlns:a14="http://schemas.microsoft.com/office/drawing/2010/main"/>
                </a:ext>
              </a:extLst>
            </a:blip>
            <a:stretch>
              <a:fillRect/>
            </a:stretch>
          </p:blipFill>
          <p:spPr>
            <a:xfrm>
              <a:off x="868680" y="4516881"/>
              <a:ext cx="2471800" cy="390144"/>
            </a:xfrm>
            <a:prstGeom prst="rect">
              <a:avLst/>
            </a:prstGeom>
          </p:spPr>
        </p:pic>
        <p:pic>
          <p:nvPicPr>
            <p:cNvPr id="37" name="object 37"/>
            <p:cNvPicPr/>
            <p:nvPr/>
          </p:nvPicPr>
          <p:blipFill>
            <a:blip r:embed="rId22" cstate="screen">
              <a:extLst>
                <a:ext uri="{28A0092B-C50C-407E-A947-70E740481C1C}">
                  <a14:useLocalDpi xmlns:a14="http://schemas.microsoft.com/office/drawing/2010/main"/>
                </a:ext>
              </a:extLst>
            </a:blip>
            <a:stretch>
              <a:fillRect/>
            </a:stretch>
          </p:blipFill>
          <p:spPr>
            <a:xfrm>
              <a:off x="3228086" y="4516881"/>
              <a:ext cx="140208" cy="390144"/>
            </a:xfrm>
            <a:prstGeom prst="rect">
              <a:avLst/>
            </a:prstGeom>
          </p:spPr>
        </p:pic>
      </p:grpSp>
      <p:grpSp>
        <p:nvGrpSpPr>
          <p:cNvPr id="38" name="object 38"/>
          <p:cNvGrpSpPr/>
          <p:nvPr/>
        </p:nvGrpSpPr>
        <p:grpSpPr>
          <a:xfrm>
            <a:off x="868680" y="5035041"/>
            <a:ext cx="9684385" cy="756285"/>
            <a:chOff x="868680" y="5035041"/>
            <a:chExt cx="9684385" cy="756285"/>
          </a:xfrm>
        </p:grpSpPr>
        <p:pic>
          <p:nvPicPr>
            <p:cNvPr id="39" name="object 39"/>
            <p:cNvPicPr/>
            <p:nvPr/>
          </p:nvPicPr>
          <p:blipFill>
            <a:blip r:embed="rId23" cstate="screen">
              <a:extLst>
                <a:ext uri="{28A0092B-C50C-407E-A947-70E740481C1C}">
                  <a14:useLocalDpi xmlns:a14="http://schemas.microsoft.com/office/drawing/2010/main"/>
                </a:ext>
              </a:extLst>
            </a:blip>
            <a:stretch>
              <a:fillRect/>
            </a:stretch>
          </p:blipFill>
          <p:spPr>
            <a:xfrm>
              <a:off x="868680" y="5035041"/>
              <a:ext cx="9683877" cy="390144"/>
            </a:xfrm>
            <a:prstGeom prst="rect">
              <a:avLst/>
            </a:prstGeom>
          </p:spPr>
        </p:pic>
        <p:pic>
          <p:nvPicPr>
            <p:cNvPr id="40" name="object 40"/>
            <p:cNvPicPr/>
            <p:nvPr/>
          </p:nvPicPr>
          <p:blipFill>
            <a:blip r:embed="rId24" cstate="screen">
              <a:extLst>
                <a:ext uri="{28A0092B-C50C-407E-A947-70E740481C1C}">
                  <a14:useLocalDpi xmlns:a14="http://schemas.microsoft.com/office/drawing/2010/main"/>
                </a:ext>
              </a:extLst>
            </a:blip>
            <a:stretch>
              <a:fillRect/>
            </a:stretch>
          </p:blipFill>
          <p:spPr>
            <a:xfrm>
              <a:off x="868680" y="5400751"/>
              <a:ext cx="6540373" cy="390448"/>
            </a:xfrm>
            <a:prstGeom prst="rect">
              <a:avLst/>
            </a:prstGeom>
          </p:spPr>
        </p:pic>
      </p:grpSp>
      <p:pic>
        <p:nvPicPr>
          <p:cNvPr id="41" name="object 41"/>
          <p:cNvPicPr/>
          <p:nvPr/>
        </p:nvPicPr>
        <p:blipFill>
          <a:blip r:embed="rId25" cstate="screen">
            <a:extLst>
              <a:ext uri="{28A0092B-C50C-407E-A947-70E740481C1C}">
                <a14:useLocalDpi xmlns:a14="http://schemas.microsoft.com/office/drawing/2010/main"/>
              </a:ext>
            </a:extLst>
          </a:blip>
          <a:stretch>
            <a:fillRect/>
          </a:stretch>
        </p:blipFill>
        <p:spPr>
          <a:xfrm>
            <a:off x="868680" y="5919215"/>
            <a:ext cx="8644763" cy="390144"/>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12B1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3" name="object 3"/>
          <p:cNvPicPr/>
          <p:nvPr/>
        </p:nvPicPr>
        <p:blipFill>
          <a:blip r:embed="rId2" cstate="screen">
            <a:extLst>
              <a:ext uri="{28A0092B-C50C-407E-A947-70E740481C1C}">
                <a14:useLocalDpi xmlns:a14="http://schemas.microsoft.com/office/drawing/2010/main"/>
              </a:ext>
            </a:extLst>
          </a:blip>
          <a:stretch>
            <a:fillRect/>
          </a:stretch>
        </p:blipFill>
        <p:spPr>
          <a:xfrm>
            <a:off x="9329928" y="0"/>
            <a:ext cx="2861945" cy="6857997"/>
          </a:xfrm>
          <a:prstGeom prst="rect">
            <a:avLst/>
          </a:prstGeom>
        </p:spPr>
      </p:pic>
      <p:pic>
        <p:nvPicPr>
          <p:cNvPr id="4" name="object 4"/>
          <p:cNvPicPr/>
          <p:nvPr/>
        </p:nvPicPr>
        <p:blipFill>
          <a:blip r:embed="rId3" cstate="screen">
            <a:extLst>
              <a:ext uri="{28A0092B-C50C-407E-A947-70E740481C1C}">
                <a14:useLocalDpi xmlns:a14="http://schemas.microsoft.com/office/drawing/2010/main"/>
              </a:ext>
            </a:extLst>
          </a:blip>
          <a:stretch>
            <a:fillRect/>
          </a:stretch>
        </p:blipFill>
        <p:spPr>
          <a:xfrm>
            <a:off x="972616" y="2047316"/>
            <a:ext cx="3177032" cy="879652"/>
          </a:xfrm>
          <a:prstGeom prst="rect">
            <a:avLst/>
          </a:prstGeom>
        </p:spPr>
      </p:pic>
      <p:grpSp>
        <p:nvGrpSpPr>
          <p:cNvPr id="5" name="object 5"/>
          <p:cNvGrpSpPr/>
          <p:nvPr/>
        </p:nvGrpSpPr>
        <p:grpSpPr>
          <a:xfrm>
            <a:off x="972591" y="4332732"/>
            <a:ext cx="4278630" cy="1092835"/>
            <a:chOff x="972591" y="4332732"/>
            <a:chExt cx="4278630" cy="1092835"/>
          </a:xfrm>
        </p:grpSpPr>
        <p:pic>
          <p:nvPicPr>
            <p:cNvPr id="6" name="object 6"/>
            <p:cNvPicPr/>
            <p:nvPr/>
          </p:nvPicPr>
          <p:blipFill>
            <a:blip r:embed="rId4" cstate="screen">
              <a:extLst>
                <a:ext uri="{28A0092B-C50C-407E-A947-70E740481C1C}">
                  <a14:useLocalDpi xmlns:a14="http://schemas.microsoft.com/office/drawing/2010/main"/>
                </a:ext>
              </a:extLst>
            </a:blip>
            <a:stretch>
              <a:fillRect/>
            </a:stretch>
          </p:blipFill>
          <p:spPr>
            <a:xfrm>
              <a:off x="972616" y="4332732"/>
              <a:ext cx="1986280" cy="406907"/>
            </a:xfrm>
            <a:prstGeom prst="rect">
              <a:avLst/>
            </a:prstGeom>
          </p:spPr>
        </p:pic>
        <p:pic>
          <p:nvPicPr>
            <p:cNvPr id="7" name="object 7"/>
            <p:cNvPicPr/>
            <p:nvPr/>
          </p:nvPicPr>
          <p:blipFill>
            <a:blip r:embed="rId5" cstate="screen">
              <a:extLst>
                <a:ext uri="{28A0092B-C50C-407E-A947-70E740481C1C}">
                  <a14:useLocalDpi xmlns:a14="http://schemas.microsoft.com/office/drawing/2010/main"/>
                </a:ext>
              </a:extLst>
            </a:blip>
            <a:stretch>
              <a:fillRect/>
            </a:stretch>
          </p:blipFill>
          <p:spPr>
            <a:xfrm>
              <a:off x="972616" y="4675632"/>
              <a:ext cx="4277995" cy="406907"/>
            </a:xfrm>
            <a:prstGeom prst="rect">
              <a:avLst/>
            </a:prstGeom>
          </p:spPr>
        </p:pic>
        <p:pic>
          <p:nvPicPr>
            <p:cNvPr id="8" name="object 8"/>
            <p:cNvPicPr/>
            <p:nvPr/>
          </p:nvPicPr>
          <p:blipFill>
            <a:blip r:embed="rId6" cstate="screen">
              <a:extLst>
                <a:ext uri="{28A0092B-C50C-407E-A947-70E740481C1C}">
                  <a14:useLocalDpi xmlns:a14="http://schemas.microsoft.com/office/drawing/2010/main"/>
                </a:ext>
              </a:extLst>
            </a:blip>
            <a:stretch>
              <a:fillRect/>
            </a:stretch>
          </p:blipFill>
          <p:spPr>
            <a:xfrm>
              <a:off x="972616" y="5018532"/>
              <a:ext cx="3634994" cy="406908"/>
            </a:xfrm>
            <a:prstGeom prst="rect">
              <a:avLst/>
            </a:prstGeom>
          </p:spPr>
        </p:pic>
        <p:sp>
          <p:nvSpPr>
            <p:cNvPr id="9" name="object 9"/>
            <p:cNvSpPr/>
            <p:nvPr/>
          </p:nvSpPr>
          <p:spPr>
            <a:xfrm>
              <a:off x="972591" y="5354193"/>
              <a:ext cx="3495040" cy="15240"/>
            </a:xfrm>
            <a:custGeom>
              <a:avLst/>
              <a:gdLst/>
              <a:ahLst/>
              <a:cxnLst/>
              <a:rect l="l" t="t" r="r" b="b"/>
              <a:pathLst>
                <a:path w="3495040" h="15239">
                  <a:moveTo>
                    <a:pt x="3494506" y="0"/>
                  </a:moveTo>
                  <a:lnTo>
                    <a:pt x="0" y="0"/>
                  </a:lnTo>
                  <a:lnTo>
                    <a:pt x="0" y="15239"/>
                  </a:lnTo>
                  <a:lnTo>
                    <a:pt x="3494506" y="15239"/>
                  </a:lnTo>
                  <a:lnTo>
                    <a:pt x="3494506" y="0"/>
                  </a:lnTo>
                  <a:close/>
                </a:path>
              </a:pathLst>
            </a:custGeom>
            <a:solidFill>
              <a:srgbClr val="0462C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grpSp>
        <p:nvGrpSpPr>
          <p:cNvPr id="10" name="object 10"/>
          <p:cNvGrpSpPr/>
          <p:nvPr/>
        </p:nvGrpSpPr>
        <p:grpSpPr>
          <a:xfrm>
            <a:off x="851932" y="464261"/>
            <a:ext cx="1682750" cy="148590"/>
            <a:chOff x="851932" y="464261"/>
            <a:chExt cx="1682750" cy="148590"/>
          </a:xfrm>
        </p:grpSpPr>
        <p:sp>
          <p:nvSpPr>
            <p:cNvPr id="11" name="object 11"/>
            <p:cNvSpPr/>
            <p:nvPr/>
          </p:nvSpPr>
          <p:spPr>
            <a:xfrm>
              <a:off x="851932" y="467641"/>
              <a:ext cx="33020" cy="141605"/>
            </a:xfrm>
            <a:custGeom>
              <a:avLst/>
              <a:gdLst/>
              <a:ahLst/>
              <a:cxnLst/>
              <a:rect l="l" t="t" r="r" b="b"/>
              <a:pathLst>
                <a:path w="33019" h="141604">
                  <a:moveTo>
                    <a:pt x="32670" y="0"/>
                  </a:moveTo>
                  <a:lnTo>
                    <a:pt x="0" y="0"/>
                  </a:lnTo>
                  <a:lnTo>
                    <a:pt x="0" y="141543"/>
                  </a:lnTo>
                  <a:lnTo>
                    <a:pt x="32670" y="141543"/>
                  </a:lnTo>
                  <a:lnTo>
                    <a:pt x="32670"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2" name="object 12"/>
            <p:cNvPicPr/>
            <p:nvPr/>
          </p:nvPicPr>
          <p:blipFill>
            <a:blip r:embed="rId7" cstate="screen">
              <a:extLst>
                <a:ext uri="{28A0092B-C50C-407E-A947-70E740481C1C}">
                  <a14:useLocalDpi xmlns:a14="http://schemas.microsoft.com/office/drawing/2010/main"/>
                </a:ext>
              </a:extLst>
            </a:blip>
            <a:stretch>
              <a:fillRect/>
            </a:stretch>
          </p:blipFill>
          <p:spPr>
            <a:xfrm>
              <a:off x="915837" y="467641"/>
              <a:ext cx="137406" cy="141543"/>
            </a:xfrm>
            <a:prstGeom prst="rect">
              <a:avLst/>
            </a:prstGeom>
          </p:spPr>
        </p:pic>
        <p:sp>
          <p:nvSpPr>
            <p:cNvPr id="13" name="object 13"/>
            <p:cNvSpPr/>
            <p:nvPr/>
          </p:nvSpPr>
          <p:spPr>
            <a:xfrm>
              <a:off x="1083983" y="464273"/>
              <a:ext cx="836930" cy="148590"/>
            </a:xfrm>
            <a:custGeom>
              <a:avLst/>
              <a:gdLst/>
              <a:ahLst/>
              <a:cxnLst/>
              <a:rect l="l" t="t" r="r" b="b"/>
              <a:pathLst>
                <a:path w="836930" h="148590">
                  <a:moveTo>
                    <a:pt x="78346" y="3149"/>
                  </a:moveTo>
                  <a:lnTo>
                    <a:pt x="0" y="3149"/>
                  </a:lnTo>
                  <a:lnTo>
                    <a:pt x="0" y="31165"/>
                  </a:lnTo>
                  <a:lnTo>
                    <a:pt x="0" y="57912"/>
                  </a:lnTo>
                  <a:lnTo>
                    <a:pt x="0" y="85915"/>
                  </a:lnTo>
                  <a:lnTo>
                    <a:pt x="0" y="144487"/>
                  </a:lnTo>
                  <a:lnTo>
                    <a:pt x="32740" y="144487"/>
                  </a:lnTo>
                  <a:lnTo>
                    <a:pt x="32740" y="85915"/>
                  </a:lnTo>
                  <a:lnTo>
                    <a:pt x="75018" y="85915"/>
                  </a:lnTo>
                  <a:lnTo>
                    <a:pt x="75018" y="57912"/>
                  </a:lnTo>
                  <a:lnTo>
                    <a:pt x="32740" y="57912"/>
                  </a:lnTo>
                  <a:lnTo>
                    <a:pt x="32740" y="31165"/>
                  </a:lnTo>
                  <a:lnTo>
                    <a:pt x="78346" y="31165"/>
                  </a:lnTo>
                  <a:lnTo>
                    <a:pt x="78346" y="3149"/>
                  </a:lnTo>
                  <a:close/>
                </a:path>
                <a:path w="836930" h="148590">
                  <a:moveTo>
                    <a:pt x="212420" y="144919"/>
                  </a:moveTo>
                  <a:lnTo>
                    <a:pt x="170624" y="88887"/>
                  </a:lnTo>
                  <a:lnTo>
                    <a:pt x="169176" y="86956"/>
                  </a:lnTo>
                  <a:lnTo>
                    <a:pt x="176872" y="85013"/>
                  </a:lnTo>
                  <a:lnTo>
                    <a:pt x="184048" y="80670"/>
                  </a:lnTo>
                  <a:lnTo>
                    <a:pt x="188849" y="75831"/>
                  </a:lnTo>
                  <a:lnTo>
                    <a:pt x="194449" y="68935"/>
                  </a:lnTo>
                  <a:lnTo>
                    <a:pt x="195046" y="67627"/>
                  </a:lnTo>
                  <a:lnTo>
                    <a:pt x="197827" y="61582"/>
                  </a:lnTo>
                  <a:lnTo>
                    <a:pt x="199491" y="54229"/>
                  </a:lnTo>
                  <a:lnTo>
                    <a:pt x="199936" y="47332"/>
                  </a:lnTo>
                  <a:lnTo>
                    <a:pt x="198793" y="36449"/>
                  </a:lnTo>
                  <a:lnTo>
                    <a:pt x="173736" y="7061"/>
                  </a:lnTo>
                  <a:lnTo>
                    <a:pt x="166751" y="5194"/>
                  </a:lnTo>
                  <a:lnTo>
                    <a:pt x="166751" y="39611"/>
                  </a:lnTo>
                  <a:lnTo>
                    <a:pt x="166751" y="54584"/>
                  </a:lnTo>
                  <a:lnTo>
                    <a:pt x="163868" y="58928"/>
                  </a:lnTo>
                  <a:lnTo>
                    <a:pt x="161493" y="61353"/>
                  </a:lnTo>
                  <a:lnTo>
                    <a:pt x="156184" y="67144"/>
                  </a:lnTo>
                  <a:lnTo>
                    <a:pt x="148043" y="67627"/>
                  </a:lnTo>
                  <a:lnTo>
                    <a:pt x="134594" y="67627"/>
                  </a:lnTo>
                  <a:lnTo>
                    <a:pt x="134594" y="28498"/>
                  </a:lnTo>
                  <a:lnTo>
                    <a:pt x="146570" y="28498"/>
                  </a:lnTo>
                  <a:lnTo>
                    <a:pt x="154774" y="28981"/>
                  </a:lnTo>
                  <a:lnTo>
                    <a:pt x="160020" y="33324"/>
                  </a:lnTo>
                  <a:lnTo>
                    <a:pt x="162902" y="35267"/>
                  </a:lnTo>
                  <a:lnTo>
                    <a:pt x="166751" y="39611"/>
                  </a:lnTo>
                  <a:lnTo>
                    <a:pt x="166751" y="5194"/>
                  </a:lnTo>
                  <a:lnTo>
                    <a:pt x="163766" y="4381"/>
                  </a:lnTo>
                  <a:lnTo>
                    <a:pt x="151371" y="3378"/>
                  </a:lnTo>
                  <a:lnTo>
                    <a:pt x="102374" y="3378"/>
                  </a:lnTo>
                  <a:lnTo>
                    <a:pt x="102374" y="144919"/>
                  </a:lnTo>
                  <a:lnTo>
                    <a:pt x="134594" y="144919"/>
                  </a:lnTo>
                  <a:lnTo>
                    <a:pt x="134594" y="88887"/>
                  </a:lnTo>
                  <a:lnTo>
                    <a:pt x="172516" y="144919"/>
                  </a:lnTo>
                  <a:lnTo>
                    <a:pt x="212420" y="144919"/>
                  </a:lnTo>
                  <a:close/>
                </a:path>
                <a:path w="836930" h="148590">
                  <a:moveTo>
                    <a:pt x="359956" y="144919"/>
                  </a:moveTo>
                  <a:lnTo>
                    <a:pt x="349491" y="118351"/>
                  </a:lnTo>
                  <a:lnTo>
                    <a:pt x="339598" y="93230"/>
                  </a:lnTo>
                  <a:lnTo>
                    <a:pt x="320763" y="45402"/>
                  </a:lnTo>
                  <a:lnTo>
                    <a:pt x="306590" y="9410"/>
                  </a:lnTo>
                  <a:lnTo>
                    <a:pt x="306590" y="93230"/>
                  </a:lnTo>
                  <a:lnTo>
                    <a:pt x="271995" y="93230"/>
                  </a:lnTo>
                  <a:lnTo>
                    <a:pt x="289293" y="45402"/>
                  </a:lnTo>
                  <a:lnTo>
                    <a:pt x="306590" y="93230"/>
                  </a:lnTo>
                  <a:lnTo>
                    <a:pt x="306590" y="9410"/>
                  </a:lnTo>
                  <a:lnTo>
                    <a:pt x="304215" y="3378"/>
                  </a:lnTo>
                  <a:lnTo>
                    <a:pt x="274434" y="3378"/>
                  </a:lnTo>
                  <a:lnTo>
                    <a:pt x="217678" y="144919"/>
                  </a:lnTo>
                  <a:lnTo>
                    <a:pt x="251371" y="144919"/>
                  </a:lnTo>
                  <a:lnTo>
                    <a:pt x="262394" y="118351"/>
                  </a:lnTo>
                  <a:lnTo>
                    <a:pt x="315747" y="118351"/>
                  </a:lnTo>
                  <a:lnTo>
                    <a:pt x="326313" y="144919"/>
                  </a:lnTo>
                  <a:lnTo>
                    <a:pt x="359956" y="144919"/>
                  </a:lnTo>
                  <a:close/>
                </a:path>
                <a:path w="836930" h="148590">
                  <a:moveTo>
                    <a:pt x="468528" y="98539"/>
                  </a:moveTo>
                  <a:lnTo>
                    <a:pt x="445020" y="63766"/>
                  </a:lnTo>
                  <a:lnTo>
                    <a:pt x="428167" y="57480"/>
                  </a:lnTo>
                  <a:lnTo>
                    <a:pt x="419011" y="53619"/>
                  </a:lnTo>
                  <a:lnTo>
                    <a:pt x="414210" y="52654"/>
                  </a:lnTo>
                  <a:lnTo>
                    <a:pt x="410362" y="49263"/>
                  </a:lnTo>
                  <a:lnTo>
                    <a:pt x="408444" y="47332"/>
                  </a:lnTo>
                  <a:lnTo>
                    <a:pt x="407479" y="44919"/>
                  </a:lnTo>
                  <a:lnTo>
                    <a:pt x="407479" y="37680"/>
                  </a:lnTo>
                  <a:lnTo>
                    <a:pt x="408952" y="34785"/>
                  </a:lnTo>
                  <a:lnTo>
                    <a:pt x="410883" y="32359"/>
                  </a:lnTo>
                  <a:lnTo>
                    <a:pt x="414718" y="28498"/>
                  </a:lnTo>
                  <a:lnTo>
                    <a:pt x="420484" y="27533"/>
                  </a:lnTo>
                  <a:lnTo>
                    <a:pt x="424776" y="27533"/>
                  </a:lnTo>
                  <a:lnTo>
                    <a:pt x="428599" y="27825"/>
                  </a:lnTo>
                  <a:lnTo>
                    <a:pt x="434047" y="29159"/>
                  </a:lnTo>
                  <a:lnTo>
                    <a:pt x="440753" y="32219"/>
                  </a:lnTo>
                  <a:lnTo>
                    <a:pt x="448348" y="37680"/>
                  </a:lnTo>
                  <a:lnTo>
                    <a:pt x="462762" y="14008"/>
                  </a:lnTo>
                  <a:lnTo>
                    <a:pt x="450761" y="6718"/>
                  </a:lnTo>
                  <a:lnTo>
                    <a:pt x="439521" y="2463"/>
                  </a:lnTo>
                  <a:lnTo>
                    <a:pt x="429437" y="482"/>
                  </a:lnTo>
                  <a:lnTo>
                    <a:pt x="420928" y="0"/>
                  </a:lnTo>
                  <a:lnTo>
                    <a:pt x="411492" y="609"/>
                  </a:lnTo>
                  <a:lnTo>
                    <a:pt x="376859" y="27533"/>
                  </a:lnTo>
                  <a:lnTo>
                    <a:pt x="373849" y="44919"/>
                  </a:lnTo>
                  <a:lnTo>
                    <a:pt x="374192" y="50533"/>
                  </a:lnTo>
                  <a:lnTo>
                    <a:pt x="402234" y="80670"/>
                  </a:lnTo>
                  <a:lnTo>
                    <a:pt x="417601" y="86474"/>
                  </a:lnTo>
                  <a:lnTo>
                    <a:pt x="426250" y="89369"/>
                  </a:lnTo>
                  <a:lnTo>
                    <a:pt x="430098" y="92748"/>
                  </a:lnTo>
                  <a:lnTo>
                    <a:pt x="433425" y="95161"/>
                  </a:lnTo>
                  <a:lnTo>
                    <a:pt x="434898" y="98056"/>
                  </a:lnTo>
                  <a:lnTo>
                    <a:pt x="434898" y="108204"/>
                  </a:lnTo>
                  <a:lnTo>
                    <a:pt x="432981" y="112064"/>
                  </a:lnTo>
                  <a:lnTo>
                    <a:pt x="425284" y="118351"/>
                  </a:lnTo>
                  <a:lnTo>
                    <a:pt x="419519" y="119316"/>
                  </a:lnTo>
                  <a:lnTo>
                    <a:pt x="408952" y="119316"/>
                  </a:lnTo>
                  <a:lnTo>
                    <a:pt x="384416" y="103365"/>
                  </a:lnTo>
                  <a:lnTo>
                    <a:pt x="367639" y="126555"/>
                  </a:lnTo>
                  <a:lnTo>
                    <a:pt x="401662" y="146786"/>
                  </a:lnTo>
                  <a:lnTo>
                    <a:pt x="416128" y="148297"/>
                  </a:lnTo>
                  <a:lnTo>
                    <a:pt x="424472" y="147866"/>
                  </a:lnTo>
                  <a:lnTo>
                    <a:pt x="461048" y="127076"/>
                  </a:lnTo>
                  <a:lnTo>
                    <a:pt x="467601" y="109080"/>
                  </a:lnTo>
                  <a:lnTo>
                    <a:pt x="468528" y="98539"/>
                  </a:lnTo>
                  <a:close/>
                </a:path>
                <a:path w="836930" h="148590">
                  <a:moveTo>
                    <a:pt x="571855" y="3149"/>
                  </a:moveTo>
                  <a:lnTo>
                    <a:pt x="478142" y="3149"/>
                  </a:lnTo>
                  <a:lnTo>
                    <a:pt x="478142" y="31165"/>
                  </a:lnTo>
                  <a:lnTo>
                    <a:pt x="508889" y="31165"/>
                  </a:lnTo>
                  <a:lnTo>
                    <a:pt x="508889" y="144487"/>
                  </a:lnTo>
                  <a:lnTo>
                    <a:pt x="541553" y="144487"/>
                  </a:lnTo>
                  <a:lnTo>
                    <a:pt x="541553" y="31165"/>
                  </a:lnTo>
                  <a:lnTo>
                    <a:pt x="571855" y="31165"/>
                  </a:lnTo>
                  <a:lnTo>
                    <a:pt x="571855" y="3149"/>
                  </a:lnTo>
                  <a:close/>
                </a:path>
                <a:path w="836930" h="148590">
                  <a:moveTo>
                    <a:pt x="699211" y="144919"/>
                  </a:moveTo>
                  <a:lnTo>
                    <a:pt x="657402" y="88887"/>
                  </a:lnTo>
                  <a:lnTo>
                    <a:pt x="655967" y="86956"/>
                  </a:lnTo>
                  <a:lnTo>
                    <a:pt x="664108" y="85013"/>
                  </a:lnTo>
                  <a:lnTo>
                    <a:pt x="670826" y="80670"/>
                  </a:lnTo>
                  <a:lnTo>
                    <a:pt x="686714" y="47332"/>
                  </a:lnTo>
                  <a:lnTo>
                    <a:pt x="685647" y="36449"/>
                  </a:lnTo>
                  <a:lnTo>
                    <a:pt x="660793" y="7061"/>
                  </a:lnTo>
                  <a:lnTo>
                    <a:pt x="654050" y="5257"/>
                  </a:lnTo>
                  <a:lnTo>
                    <a:pt x="654050" y="39611"/>
                  </a:lnTo>
                  <a:lnTo>
                    <a:pt x="654050" y="54584"/>
                  </a:lnTo>
                  <a:lnTo>
                    <a:pt x="650646" y="58928"/>
                  </a:lnTo>
                  <a:lnTo>
                    <a:pt x="648728" y="61353"/>
                  </a:lnTo>
                  <a:lnTo>
                    <a:pt x="642962" y="67144"/>
                  </a:lnTo>
                  <a:lnTo>
                    <a:pt x="634758" y="67627"/>
                  </a:lnTo>
                  <a:lnTo>
                    <a:pt x="621817" y="67627"/>
                  </a:lnTo>
                  <a:lnTo>
                    <a:pt x="621817" y="28498"/>
                  </a:lnTo>
                  <a:lnTo>
                    <a:pt x="633349" y="28498"/>
                  </a:lnTo>
                  <a:lnTo>
                    <a:pt x="641997" y="28981"/>
                  </a:lnTo>
                  <a:lnTo>
                    <a:pt x="647319" y="33324"/>
                  </a:lnTo>
                  <a:lnTo>
                    <a:pt x="650201" y="35267"/>
                  </a:lnTo>
                  <a:lnTo>
                    <a:pt x="654050" y="39611"/>
                  </a:lnTo>
                  <a:lnTo>
                    <a:pt x="654050" y="5257"/>
                  </a:lnTo>
                  <a:lnTo>
                    <a:pt x="650811" y="4381"/>
                  </a:lnTo>
                  <a:lnTo>
                    <a:pt x="638606" y="3378"/>
                  </a:lnTo>
                  <a:lnTo>
                    <a:pt x="589153" y="3378"/>
                  </a:lnTo>
                  <a:lnTo>
                    <a:pt x="589153" y="144919"/>
                  </a:lnTo>
                  <a:lnTo>
                    <a:pt x="621817" y="144919"/>
                  </a:lnTo>
                  <a:lnTo>
                    <a:pt x="621817" y="88887"/>
                  </a:lnTo>
                  <a:lnTo>
                    <a:pt x="659815" y="144919"/>
                  </a:lnTo>
                  <a:lnTo>
                    <a:pt x="699211" y="144919"/>
                  </a:lnTo>
                  <a:close/>
                </a:path>
                <a:path w="836930" h="148590">
                  <a:moveTo>
                    <a:pt x="836612" y="3378"/>
                  </a:moveTo>
                  <a:lnTo>
                    <a:pt x="803948" y="3378"/>
                  </a:lnTo>
                  <a:lnTo>
                    <a:pt x="803948" y="92265"/>
                  </a:lnTo>
                  <a:lnTo>
                    <a:pt x="803427" y="102882"/>
                  </a:lnTo>
                  <a:lnTo>
                    <a:pt x="790943" y="116420"/>
                  </a:lnTo>
                  <a:lnTo>
                    <a:pt x="783247" y="117386"/>
                  </a:lnTo>
                  <a:lnTo>
                    <a:pt x="770763" y="117386"/>
                  </a:lnTo>
                  <a:lnTo>
                    <a:pt x="763066" y="116420"/>
                  </a:lnTo>
                  <a:lnTo>
                    <a:pt x="757313" y="110134"/>
                  </a:lnTo>
                  <a:lnTo>
                    <a:pt x="750138" y="102882"/>
                  </a:lnTo>
                  <a:lnTo>
                    <a:pt x="750138" y="3378"/>
                  </a:lnTo>
                  <a:lnTo>
                    <a:pt x="717461" y="3378"/>
                  </a:lnTo>
                  <a:lnTo>
                    <a:pt x="717461" y="86956"/>
                  </a:lnTo>
                  <a:lnTo>
                    <a:pt x="717905" y="97637"/>
                  </a:lnTo>
                  <a:lnTo>
                    <a:pt x="743508" y="140347"/>
                  </a:lnTo>
                  <a:lnTo>
                    <a:pt x="777036" y="148297"/>
                  </a:lnTo>
                  <a:lnTo>
                    <a:pt x="788238" y="147701"/>
                  </a:lnTo>
                  <a:lnTo>
                    <a:pt x="829094" y="120637"/>
                  </a:lnTo>
                  <a:lnTo>
                    <a:pt x="836612" y="86956"/>
                  </a:lnTo>
                  <a:lnTo>
                    <a:pt x="836612" y="3378"/>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pic>
          <p:nvPicPr>
            <p:cNvPr id="14" name="object 14"/>
            <p:cNvPicPr/>
            <p:nvPr/>
          </p:nvPicPr>
          <p:blipFill>
            <a:blip r:embed="rId8" cstate="screen">
              <a:extLst>
                <a:ext uri="{28A0092B-C50C-407E-A947-70E740481C1C}">
                  <a14:useLocalDpi xmlns:a14="http://schemas.microsoft.com/office/drawing/2010/main"/>
                </a:ext>
              </a:extLst>
            </a:blip>
            <a:stretch>
              <a:fillRect/>
            </a:stretch>
          </p:blipFill>
          <p:spPr>
            <a:xfrm>
              <a:off x="1944624" y="464261"/>
              <a:ext cx="350786" cy="148305"/>
            </a:xfrm>
            <a:prstGeom prst="rect">
              <a:avLst/>
            </a:prstGeom>
          </p:spPr>
        </p:pic>
        <p:pic>
          <p:nvPicPr>
            <p:cNvPr id="15" name="object 15"/>
            <p:cNvPicPr/>
            <p:nvPr/>
          </p:nvPicPr>
          <p:blipFill>
            <a:blip r:embed="rId9" cstate="screen">
              <a:extLst>
                <a:ext uri="{28A0092B-C50C-407E-A947-70E740481C1C}">
                  <a14:useLocalDpi xmlns:a14="http://schemas.microsoft.com/office/drawing/2010/main"/>
                </a:ext>
              </a:extLst>
            </a:blip>
            <a:stretch>
              <a:fillRect/>
            </a:stretch>
          </p:blipFill>
          <p:spPr>
            <a:xfrm>
              <a:off x="2326159" y="467421"/>
              <a:ext cx="208063" cy="141764"/>
            </a:xfrm>
            <a:prstGeom prst="rect">
              <a:avLst/>
            </a:prstGeom>
          </p:spPr>
        </p:pic>
      </p:grpSp>
      <p:grpSp>
        <p:nvGrpSpPr>
          <p:cNvPr id="16" name="object 16"/>
          <p:cNvGrpSpPr/>
          <p:nvPr/>
        </p:nvGrpSpPr>
        <p:grpSpPr>
          <a:xfrm>
            <a:off x="851451" y="666670"/>
            <a:ext cx="561340" cy="141605"/>
            <a:chOff x="851451" y="666670"/>
            <a:chExt cx="561340" cy="141605"/>
          </a:xfrm>
        </p:grpSpPr>
        <p:pic>
          <p:nvPicPr>
            <p:cNvPr id="17" name="object 17"/>
            <p:cNvPicPr/>
            <p:nvPr/>
          </p:nvPicPr>
          <p:blipFill>
            <a:blip r:embed="rId10" cstate="screen">
              <a:extLst>
                <a:ext uri="{28A0092B-C50C-407E-A947-70E740481C1C}">
                  <a14:useLocalDpi xmlns:a14="http://schemas.microsoft.com/office/drawing/2010/main"/>
                </a:ext>
              </a:extLst>
            </a:blip>
            <a:stretch>
              <a:fillRect/>
            </a:stretch>
          </p:blipFill>
          <p:spPr>
            <a:xfrm>
              <a:off x="851451" y="666670"/>
              <a:ext cx="405563" cy="141537"/>
            </a:xfrm>
            <a:prstGeom prst="rect">
              <a:avLst/>
            </a:prstGeom>
          </p:spPr>
        </p:pic>
        <p:pic>
          <p:nvPicPr>
            <p:cNvPr id="18" name="object 18"/>
            <p:cNvPicPr/>
            <p:nvPr/>
          </p:nvPicPr>
          <p:blipFill>
            <a:blip r:embed="rId11" cstate="screen">
              <a:extLst>
                <a:ext uri="{28A0092B-C50C-407E-A947-70E740481C1C}">
                  <a14:useLocalDpi xmlns:a14="http://schemas.microsoft.com/office/drawing/2010/main"/>
                </a:ext>
              </a:extLst>
            </a:blip>
            <a:stretch>
              <a:fillRect/>
            </a:stretch>
          </p:blipFill>
          <p:spPr>
            <a:xfrm>
              <a:off x="1287763" y="666670"/>
              <a:ext cx="124914" cy="141537"/>
            </a:xfrm>
            <a:prstGeom prst="rect">
              <a:avLst/>
            </a:prstGeom>
          </p:spPr>
        </p:pic>
      </p:grpSp>
      <p:grpSp>
        <p:nvGrpSpPr>
          <p:cNvPr id="19" name="object 19"/>
          <p:cNvGrpSpPr/>
          <p:nvPr/>
        </p:nvGrpSpPr>
        <p:grpSpPr>
          <a:xfrm>
            <a:off x="513162" y="467641"/>
            <a:ext cx="282575" cy="340995"/>
            <a:chOff x="513162" y="467641"/>
            <a:chExt cx="282575" cy="340995"/>
          </a:xfrm>
        </p:grpSpPr>
        <p:sp>
          <p:nvSpPr>
            <p:cNvPr id="20" name="object 20"/>
            <p:cNvSpPr/>
            <p:nvPr/>
          </p:nvSpPr>
          <p:spPr>
            <a:xfrm>
              <a:off x="654438" y="467641"/>
              <a:ext cx="141605" cy="340995"/>
            </a:xfrm>
            <a:custGeom>
              <a:avLst/>
              <a:gdLst/>
              <a:ahLst/>
              <a:cxnLst/>
              <a:rect l="l" t="t" r="r" b="b"/>
              <a:pathLst>
                <a:path w="141604" h="340995">
                  <a:moveTo>
                    <a:pt x="141269" y="0"/>
                  </a:moveTo>
                  <a:lnTo>
                    <a:pt x="0" y="0"/>
                  </a:lnTo>
                  <a:lnTo>
                    <a:pt x="10916" y="2204"/>
                  </a:lnTo>
                  <a:lnTo>
                    <a:pt x="19941" y="8213"/>
                  </a:lnTo>
                  <a:lnTo>
                    <a:pt x="26084" y="17120"/>
                  </a:lnTo>
                  <a:lnTo>
                    <a:pt x="28352" y="28017"/>
                  </a:lnTo>
                  <a:lnTo>
                    <a:pt x="28352" y="340565"/>
                  </a:lnTo>
                  <a:lnTo>
                    <a:pt x="141269" y="340565"/>
                  </a:lnTo>
                  <a:lnTo>
                    <a:pt x="141269" y="284047"/>
                  </a:lnTo>
                  <a:lnTo>
                    <a:pt x="56218" y="170044"/>
                  </a:lnTo>
                  <a:lnTo>
                    <a:pt x="141269" y="56518"/>
                  </a:lnTo>
                  <a:lnTo>
                    <a:pt x="141269" y="0"/>
                  </a:lnTo>
                  <a:close/>
                </a:path>
              </a:pathLst>
            </a:custGeom>
            <a:solidFill>
              <a:srgbClr val="00C49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sp>
          <p:nvSpPr>
            <p:cNvPr id="21" name="object 21"/>
            <p:cNvSpPr/>
            <p:nvPr/>
          </p:nvSpPr>
          <p:spPr>
            <a:xfrm>
              <a:off x="513162" y="467641"/>
              <a:ext cx="141605" cy="340995"/>
            </a:xfrm>
            <a:custGeom>
              <a:avLst/>
              <a:gdLst/>
              <a:ahLst/>
              <a:cxnLst/>
              <a:rect l="l" t="t" r="r" b="b"/>
              <a:pathLst>
                <a:path w="141604" h="340995">
                  <a:moveTo>
                    <a:pt x="141275" y="0"/>
                  </a:moveTo>
                  <a:lnTo>
                    <a:pt x="0" y="0"/>
                  </a:lnTo>
                  <a:lnTo>
                    <a:pt x="0" y="284047"/>
                  </a:lnTo>
                  <a:lnTo>
                    <a:pt x="4392" y="306124"/>
                  </a:lnTo>
                  <a:lnTo>
                    <a:pt x="16399" y="324080"/>
                  </a:lnTo>
                  <a:lnTo>
                    <a:pt x="34262" y="336149"/>
                  </a:lnTo>
                  <a:lnTo>
                    <a:pt x="56224" y="340565"/>
                  </a:lnTo>
                  <a:lnTo>
                    <a:pt x="78261" y="336150"/>
                  </a:lnTo>
                  <a:lnTo>
                    <a:pt x="96287" y="324080"/>
                  </a:lnTo>
                  <a:lnTo>
                    <a:pt x="108456" y="306124"/>
                  </a:lnTo>
                  <a:lnTo>
                    <a:pt x="112923" y="284047"/>
                  </a:lnTo>
                  <a:lnTo>
                    <a:pt x="112923" y="24154"/>
                  </a:lnTo>
                  <a:lnTo>
                    <a:pt x="113884" y="20290"/>
                  </a:lnTo>
                  <a:lnTo>
                    <a:pt x="115325" y="16909"/>
                  </a:lnTo>
                  <a:lnTo>
                    <a:pt x="115325" y="16426"/>
                  </a:lnTo>
                  <a:lnTo>
                    <a:pt x="116286" y="14495"/>
                  </a:lnTo>
                  <a:lnTo>
                    <a:pt x="120663" y="8562"/>
                  </a:lnTo>
                  <a:lnTo>
                    <a:pt x="126438" y="3987"/>
                  </a:lnTo>
                  <a:lnTo>
                    <a:pt x="133384" y="1042"/>
                  </a:lnTo>
                  <a:lnTo>
                    <a:pt x="141275"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latin typeface="Calibre Light" panose="020B0303030202060203" pitchFamily="34" charset="0"/>
                <a:ea typeface="+mn-ea"/>
                <a:cs typeface="+mn-cs"/>
              </a:endParaRP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92695-7796-E07F-E2B7-B4DEB22F7A86}"/>
              </a:ext>
            </a:extLst>
          </p:cNvPr>
          <p:cNvSpPr>
            <a:spLocks noGrp="1"/>
          </p:cNvSpPr>
          <p:nvPr>
            <p:ph type="title"/>
          </p:nvPr>
        </p:nvSpPr>
        <p:spPr>
          <a:xfrm>
            <a:off x="511174" y="1601788"/>
            <a:ext cx="5584825" cy="2398712"/>
          </a:xfrm>
        </p:spPr>
        <p:txBody>
          <a:bodyPr/>
          <a:lstStyle/>
          <a:p>
            <a:r>
              <a:rPr lang="en-US" sz="2800" dirty="0"/>
              <a:t>Securing private investment for infrastructure assets</a:t>
            </a:r>
          </a:p>
        </p:txBody>
      </p:sp>
      <p:sp>
        <p:nvSpPr>
          <p:cNvPr id="3" name="Text Placeholder 2">
            <a:extLst>
              <a:ext uri="{FF2B5EF4-FFF2-40B4-BE49-F238E27FC236}">
                <a16:creationId xmlns:a16="http://schemas.microsoft.com/office/drawing/2014/main" id="{E01B5F8D-DE66-FA82-18A8-A0D59EAA2DAD}"/>
              </a:ext>
            </a:extLst>
          </p:cNvPr>
          <p:cNvSpPr>
            <a:spLocks noGrp="1"/>
          </p:cNvSpPr>
          <p:nvPr>
            <p:ph type="body" sz="quarter" idx="10"/>
          </p:nvPr>
        </p:nvSpPr>
        <p:spPr/>
        <p:txBody>
          <a:bodyPr/>
          <a:lstStyle/>
          <a:p>
            <a:r>
              <a:rPr lang="en-US" dirty="0"/>
              <a:t>4</a:t>
            </a:r>
          </a:p>
        </p:txBody>
      </p:sp>
      <p:pic>
        <p:nvPicPr>
          <p:cNvPr id="9" name="Picture Placeholder 7">
            <a:extLst>
              <a:ext uri="{FF2B5EF4-FFF2-40B4-BE49-F238E27FC236}">
                <a16:creationId xmlns:a16="http://schemas.microsoft.com/office/drawing/2014/main" id="{56EE7544-A0B9-FFD5-2EE8-A58637C0673B}"/>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p:blipFill>
        <p:spPr>
          <a:xfrm>
            <a:off x="7683500" y="476250"/>
            <a:ext cx="3995738" cy="5905500"/>
          </a:xfrm>
        </p:spPr>
      </p:pic>
      <p:sp>
        <p:nvSpPr>
          <p:cNvPr id="6" name="Title 1">
            <a:extLst>
              <a:ext uri="{FF2B5EF4-FFF2-40B4-BE49-F238E27FC236}">
                <a16:creationId xmlns:a16="http://schemas.microsoft.com/office/drawing/2014/main" id="{4501155E-8744-D163-3344-ADAA717BB0D6}"/>
              </a:ext>
            </a:extLst>
          </p:cNvPr>
          <p:cNvSpPr txBox="1">
            <a:spLocks/>
          </p:cNvSpPr>
          <p:nvPr/>
        </p:nvSpPr>
        <p:spPr>
          <a:xfrm>
            <a:off x="523454" y="5719271"/>
            <a:ext cx="2971800" cy="470898"/>
          </a:xfrm>
          <a:prstGeom prst="rect">
            <a:avLst/>
          </a:prstGeom>
        </p:spPr>
        <p:txBody>
          <a:bodyPr vert="horz" lIns="0" tIns="0" rIns="0" bIns="0" rtlCol="0" anchor="t">
            <a:spAutoFit/>
          </a:bodyPr>
          <a:lstStyle>
            <a:lvl1pPr eaLnBrk="1" hangingPunct="1">
              <a:lnSpc>
                <a:spcPct val="90000"/>
              </a:lnSpc>
              <a:defRPr sz="3600" b="0" kern="1200" baseline="0">
                <a:solidFill>
                  <a:schemeClr val="bg1">
                    <a:alpha val="80000"/>
                  </a:schemeClr>
                </a:solidFill>
                <a:latin typeface="+mj-lt"/>
                <a:ea typeface="+mj-ea"/>
                <a:cs typeface="+mj-cs"/>
              </a:defRPr>
            </a:lvl1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80BBAD"/>
                </a:solidFill>
                <a:effectLst/>
                <a:uLnTx/>
                <a:uFillTx/>
                <a:latin typeface="Calibre Semibold" panose="020B0703030202060203" pitchFamily="34" charset="0"/>
                <a:ea typeface="+mj-ea"/>
                <a:cs typeface="+mj-cs"/>
              </a:rPr>
              <a:t>Simon Tanner</a:t>
            </a:r>
          </a:p>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D1D3"/>
                </a:solidFill>
                <a:effectLst/>
                <a:uLnTx/>
                <a:uFillTx/>
                <a:latin typeface="Calibre"/>
                <a:ea typeface="+mj-ea"/>
                <a:cs typeface="+mj-cs"/>
              </a:rPr>
              <a:t>Head of Asset Transformation, CBRE</a:t>
            </a:r>
          </a:p>
        </p:txBody>
      </p:sp>
      <p:pic>
        <p:nvPicPr>
          <p:cNvPr id="10" name="Picture 9">
            <a:extLst>
              <a:ext uri="{FF2B5EF4-FFF2-40B4-BE49-F238E27FC236}">
                <a16:creationId xmlns:a16="http://schemas.microsoft.com/office/drawing/2014/main" id="{9C7559FF-E4E1-648E-8E5C-58238F6F972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3454" y="4365104"/>
            <a:ext cx="1016126" cy="1256338"/>
          </a:xfrm>
          <a:prstGeom prst="rect">
            <a:avLst/>
          </a:prstGeom>
        </p:spPr>
      </p:pic>
    </p:spTree>
    <p:extLst>
      <p:ext uri="{BB962C8B-B14F-4D97-AF65-F5344CB8AC3E}">
        <p14:creationId xmlns:p14="http://schemas.microsoft.com/office/powerpoint/2010/main" val="30656696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Partner sought for Cornwall Airport Newquay development | EG News">
            <a:extLst>
              <a:ext uri="{FF2B5EF4-FFF2-40B4-BE49-F238E27FC236}">
                <a16:creationId xmlns:a16="http://schemas.microsoft.com/office/drawing/2014/main" id="{8A2CB1D1-B703-62A1-E31D-58EABF83B5FB}"/>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6335" t="1818" b="1820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Partner sought for Cornwall Airport Newquay development | EG News">
            <a:extLst>
              <a:ext uri="{FF2B5EF4-FFF2-40B4-BE49-F238E27FC236}">
                <a16:creationId xmlns:a16="http://schemas.microsoft.com/office/drawing/2014/main" id="{F70708B9-DDA7-9C85-28DF-D2DC7FFA2F20}"/>
              </a:ext>
            </a:extLst>
          </p:cNvPr>
          <p:cNvPicPr>
            <a:picLocks noChangeAspect="1" noChangeArrowheads="1"/>
          </p:cNvPicPr>
          <p:nvPr/>
        </p:nvPicPr>
        <p:blipFill rotWithShape="1">
          <a:blip r:embed="rId4" cstate="screen">
            <a:extLst>
              <a:ext uri="{BEBA8EAE-BF5A-486C-A8C5-ECC9F3942E4B}">
                <a14:imgProps xmlns:a14="http://schemas.microsoft.com/office/drawing/2010/main">
                  <a14:imgLayer r:embed="rId5">
                    <a14:imgEffect>
                      <a14:artisticBlur radius="20"/>
                    </a14:imgEffect>
                  </a14:imgLayer>
                </a14:imgProps>
              </a:ext>
              <a:ext uri="{28A0092B-C50C-407E-A947-70E740481C1C}">
                <a14:useLocalDpi xmlns:a14="http://schemas.microsoft.com/office/drawing/2010/main"/>
              </a:ext>
            </a:extLst>
          </a:blip>
          <a:srcRect/>
          <a:stretch/>
        </p:blipFill>
        <p:spPr bwMode="auto">
          <a:xfrm>
            <a:off x="0" y="0"/>
            <a:ext cx="50196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6">
            <a:extLst>
              <a:ext uri="{FF2B5EF4-FFF2-40B4-BE49-F238E27FC236}">
                <a16:creationId xmlns:a16="http://schemas.microsoft.com/office/drawing/2014/main" id="{C6A1CC88-6B93-B979-8E5B-1169FC8BED64}"/>
              </a:ext>
            </a:extLst>
          </p:cNvPr>
          <p:cNvSpPr txBox="1">
            <a:spLocks/>
          </p:cNvSpPr>
          <p:nvPr/>
        </p:nvSpPr>
        <p:spPr>
          <a:xfrm>
            <a:off x="511175" y="476250"/>
            <a:ext cx="2971800" cy="1325562"/>
          </a:xfrm>
          <a:prstGeom prst="rect">
            <a:avLst/>
          </a:prstGeom>
        </p:spPr>
        <p:txBody>
          <a:bodyPr vert="horz" lIns="0" tIns="0" rIns="0" bIns="0" rtlCol="0" anchor="t">
            <a:noAutofit/>
          </a:bodyPr>
          <a:lstStyle>
            <a:lvl1pPr eaLnBrk="1" hangingPunct="1">
              <a:lnSpc>
                <a:spcPct val="90000"/>
              </a:lnSpc>
              <a:defRPr sz="2800">
                <a:solidFill>
                  <a:schemeClr val="tx1"/>
                </a:solidFill>
                <a:latin typeface="+mj-lt"/>
                <a:ea typeface="+mj-ea"/>
                <a:cs typeface="+mj-cs"/>
              </a:defRPr>
            </a:lvl1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6000" b="0" i="0" u="none" strike="noStrike" kern="0" cap="none" spc="0" normalizeH="0" baseline="0" noProof="0" dirty="0">
                <a:ln>
                  <a:noFill/>
                </a:ln>
                <a:solidFill>
                  <a:srgbClr val="FFFFFF"/>
                </a:solidFill>
                <a:effectLst/>
                <a:uLnTx/>
                <a:uFillTx/>
                <a:latin typeface="Financier Display"/>
                <a:ea typeface="+mj-ea"/>
                <a:cs typeface="+mj-cs"/>
              </a:rPr>
              <a:t>Purpose</a:t>
            </a:r>
          </a:p>
        </p:txBody>
      </p:sp>
      <p:cxnSp>
        <p:nvCxnSpPr>
          <p:cNvPr id="20" name="Straight Connector 19">
            <a:extLst>
              <a:ext uri="{FF2B5EF4-FFF2-40B4-BE49-F238E27FC236}">
                <a16:creationId xmlns:a16="http://schemas.microsoft.com/office/drawing/2014/main" id="{C460CF7B-198F-BB49-E445-ED1AAE1CCB91}"/>
              </a:ext>
            </a:extLst>
          </p:cNvPr>
          <p:cNvCxnSpPr>
            <a:cxnSpLocks/>
          </p:cNvCxnSpPr>
          <p:nvPr/>
        </p:nvCxnSpPr>
        <p:spPr>
          <a:xfrm>
            <a:off x="511175" y="1385118"/>
            <a:ext cx="0" cy="4602480"/>
          </a:xfrm>
          <a:prstGeom prst="line">
            <a:avLst/>
          </a:prstGeom>
          <a:ln w="44450">
            <a:solidFill>
              <a:srgbClr val="17E88F"/>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C60AD5AF-D2C0-B16C-15D6-88CC089D2257}"/>
              </a:ext>
            </a:extLst>
          </p:cNvPr>
          <p:cNvGrpSpPr/>
          <p:nvPr/>
        </p:nvGrpSpPr>
        <p:grpSpPr>
          <a:xfrm>
            <a:off x="851218" y="2874669"/>
            <a:ext cx="3584575" cy="3112929"/>
            <a:chOff x="12824648" y="2247150"/>
            <a:chExt cx="3584575" cy="3112929"/>
          </a:xfrm>
        </p:grpSpPr>
        <p:sp>
          <p:nvSpPr>
            <p:cNvPr id="13" name="Content Placeholder 3">
              <a:extLst>
                <a:ext uri="{FF2B5EF4-FFF2-40B4-BE49-F238E27FC236}">
                  <a16:creationId xmlns:a16="http://schemas.microsoft.com/office/drawing/2014/main" id="{F4ECB95D-28C1-7972-7726-9EDF2E277DF6}"/>
                </a:ext>
              </a:extLst>
            </p:cNvPr>
            <p:cNvSpPr txBox="1">
              <a:spLocks/>
            </p:cNvSpPr>
            <p:nvPr/>
          </p:nvSpPr>
          <p:spPr>
            <a:xfrm>
              <a:off x="12824648" y="2578362"/>
              <a:ext cx="3223729" cy="1107996"/>
            </a:xfrm>
            <a:prstGeom prst="rect">
              <a:avLst/>
            </a:prstGeom>
          </p:spPr>
          <p:txBody>
            <a:bodyPr vert="horz" wrap="square" lIns="0" tIns="0" rIns="0" bIns="0" rtlCol="0">
              <a:spAutoFit/>
            </a:bodyPr>
            <a:lstStyle>
              <a:lvl1pPr marL="0" indent="0" eaLnBrk="1" hangingPunct="1">
                <a:spcBef>
                  <a:spcPts val="0"/>
                </a:spcBef>
                <a:spcAft>
                  <a:spcPts val="600"/>
                </a:spcAft>
                <a:defRPr sz="2200">
                  <a:solidFill>
                    <a:schemeClr val="tx1"/>
                  </a:solidFill>
                  <a:latin typeface="Calibre Light" panose="020B0303030202060203" pitchFamily="34" charset="0"/>
                  <a:ea typeface="+mn-ea"/>
                  <a:cs typeface="+mn-cs"/>
                </a:defRPr>
              </a:lvl1pPr>
              <a:lvl2pPr marL="0" indent="0" eaLnBrk="1" hangingPunct="1">
                <a:spcAft>
                  <a:spcPts val="600"/>
                </a:spcAft>
                <a:defRPr sz="1600" b="0">
                  <a:solidFill>
                    <a:schemeClr val="tx1"/>
                  </a:solidFill>
                  <a:latin typeface="Calibre Semibold" panose="020B0703030202060203" pitchFamily="34" charset="0"/>
                  <a:ea typeface="+mn-ea"/>
                  <a:cs typeface="+mn-cs"/>
                </a:defRPr>
              </a:lvl2pPr>
              <a:lvl3pPr marL="0" indent="0" eaLnBrk="1" hangingPunct="1">
                <a:spcBef>
                  <a:spcPts val="300"/>
                </a:spcBef>
                <a:spcAft>
                  <a:spcPts val="300"/>
                </a:spcAft>
                <a:defRPr sz="1200">
                  <a:solidFill>
                    <a:schemeClr val="tx1"/>
                  </a:solidFill>
                  <a:latin typeface="+mn-lt"/>
                  <a:ea typeface="+mn-ea"/>
                  <a:cs typeface="+mn-cs"/>
                </a:defRPr>
              </a:lvl3pPr>
              <a:lvl4pPr marL="171450" indent="-171450" eaLnBrk="1" hangingPunct="1">
                <a:spcBef>
                  <a:spcPts val="300"/>
                </a:spcBef>
                <a:spcAft>
                  <a:spcPts val="300"/>
                </a:spcAft>
                <a:buClr>
                  <a:schemeClr val="tx1"/>
                </a:buClr>
                <a:buFont typeface="SwissReSansOTLight" panose="04000400000000000000" pitchFamily="82" charset="0"/>
                <a:buChar char="–"/>
                <a:defRPr sz="1200">
                  <a:solidFill>
                    <a:schemeClr val="tx1"/>
                  </a:solidFill>
                  <a:latin typeface="+mn-lt"/>
                  <a:ea typeface="+mn-ea"/>
                  <a:cs typeface="+mn-cs"/>
                </a:defRPr>
              </a:lvl4pPr>
              <a:lvl5pPr marL="360363" indent="-184150" eaLnBrk="1" hangingPunct="1">
                <a:spcBef>
                  <a:spcPts val="300"/>
                </a:spcBef>
                <a:spcAft>
                  <a:spcPts val="300"/>
                </a:spcAft>
                <a:buFont typeface="SwissReSansOTLight" panose="04000400000000000000" pitchFamily="82" charset="0"/>
                <a:buChar char="–"/>
                <a:defRPr sz="1200" b="0">
                  <a:solidFill>
                    <a:schemeClr val="tx1"/>
                  </a:solidFill>
                  <a:latin typeface="+mn-lt"/>
                  <a:ea typeface="+mn-ea"/>
                  <a:cs typeface="+mn-cs"/>
                </a:defRPr>
              </a:lvl5pPr>
              <a:lvl6pPr marL="0" indent="0" eaLnBrk="1" hangingPunct="1">
                <a:spcBef>
                  <a:spcPts val="600"/>
                </a:spcBef>
                <a:spcAft>
                  <a:spcPts val="0"/>
                </a:spcAft>
                <a:buClr>
                  <a:schemeClr val="tx1"/>
                </a:buClr>
                <a:buFontTx/>
                <a:buNone/>
                <a:defRPr sz="1200">
                  <a:solidFill>
                    <a:schemeClr val="tx1"/>
                  </a:solidFill>
                  <a:latin typeface="Calibre Semibold" panose="020B0703030202060203" pitchFamily="34" charset="0"/>
                  <a:ea typeface="+mn-ea"/>
                  <a:cs typeface="+mn-cs"/>
                </a:defRPr>
              </a:lvl6pPr>
              <a:lvl7pPr marL="0" indent="0" eaLnBrk="1" hangingPunct="1">
                <a:spcBef>
                  <a:spcPts val="600"/>
                </a:spcBef>
                <a:defRPr sz="1050">
                  <a:solidFill>
                    <a:schemeClr val="tx1"/>
                  </a:solidFill>
                  <a:latin typeface="Calibre Semibold" panose="020B0703030202060203" pitchFamily="34" charset="0"/>
                  <a:ea typeface="+mn-ea"/>
                  <a:cs typeface="+mn-cs"/>
                </a:defRPr>
              </a:lvl7pPr>
              <a:lvl8pPr marL="0" indent="0" eaLnBrk="1" hangingPunct="1">
                <a:spcBef>
                  <a:spcPts val="300"/>
                </a:spcBef>
                <a:spcAft>
                  <a:spcPts val="300"/>
                </a:spcAft>
                <a:defRPr sz="1050" b="0">
                  <a:solidFill>
                    <a:schemeClr val="tx1"/>
                  </a:solidFill>
                  <a:latin typeface="+mn-lt"/>
                  <a:ea typeface="+mn-ea"/>
                  <a:cs typeface="+mn-cs"/>
                </a:defRPr>
              </a:lvl8pPr>
              <a:lvl9pPr marL="171450" indent="-171450" eaLnBrk="1" hangingPunct="1">
                <a:spcBef>
                  <a:spcPts val="200"/>
                </a:spcBef>
                <a:spcAft>
                  <a:spcPts val="200"/>
                </a:spcAft>
                <a:buFont typeface="SwissReSansOTLight" panose="04000400000000000000" pitchFamily="82" charset="0"/>
                <a:buChar char="–"/>
                <a:defRPr sz="105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Calibre Light" panose="020B0303030202060203" pitchFamily="34" charset="0"/>
                  <a:ea typeface="+mn-ea"/>
                  <a:cs typeface="+mn-cs"/>
                </a:rPr>
                <a:t>To describe the work that CBRE have conducted over the past 2 years alongside Cornwall Council, titled Project Corduroy</a:t>
              </a:r>
            </a:p>
          </p:txBody>
        </p:sp>
        <p:sp>
          <p:nvSpPr>
            <p:cNvPr id="14" name="Content Placeholder 3">
              <a:extLst>
                <a:ext uri="{FF2B5EF4-FFF2-40B4-BE49-F238E27FC236}">
                  <a16:creationId xmlns:a16="http://schemas.microsoft.com/office/drawing/2014/main" id="{2BF53552-E5C8-A715-4810-74E5AA381329}"/>
                </a:ext>
              </a:extLst>
            </p:cNvPr>
            <p:cNvSpPr txBox="1">
              <a:spLocks/>
            </p:cNvSpPr>
            <p:nvPr/>
          </p:nvSpPr>
          <p:spPr>
            <a:xfrm>
              <a:off x="12824648" y="4529082"/>
              <a:ext cx="3584575" cy="830997"/>
            </a:xfrm>
            <a:prstGeom prst="rect">
              <a:avLst/>
            </a:prstGeom>
          </p:spPr>
          <p:txBody>
            <a:bodyPr vert="horz" wrap="square" lIns="0" tIns="0" rIns="0" bIns="0" rtlCol="0">
              <a:spAutoFit/>
            </a:bodyPr>
            <a:lstStyle>
              <a:lvl1pPr marL="0" indent="0" eaLnBrk="1" hangingPunct="1">
                <a:spcBef>
                  <a:spcPts val="0"/>
                </a:spcBef>
                <a:spcAft>
                  <a:spcPts val="600"/>
                </a:spcAft>
                <a:defRPr sz="2200">
                  <a:solidFill>
                    <a:schemeClr val="tx1"/>
                  </a:solidFill>
                  <a:latin typeface="Calibre Light" panose="020B0303030202060203" pitchFamily="34" charset="0"/>
                  <a:ea typeface="+mn-ea"/>
                  <a:cs typeface="+mn-cs"/>
                </a:defRPr>
              </a:lvl1pPr>
              <a:lvl2pPr marL="0" indent="0" eaLnBrk="1" hangingPunct="1">
                <a:spcAft>
                  <a:spcPts val="600"/>
                </a:spcAft>
                <a:defRPr sz="1600" b="0">
                  <a:solidFill>
                    <a:schemeClr val="tx1"/>
                  </a:solidFill>
                  <a:latin typeface="Calibre Semibold" panose="020B0703030202060203" pitchFamily="34" charset="0"/>
                  <a:ea typeface="+mn-ea"/>
                  <a:cs typeface="+mn-cs"/>
                </a:defRPr>
              </a:lvl2pPr>
              <a:lvl3pPr marL="0" indent="0" eaLnBrk="1" hangingPunct="1">
                <a:spcBef>
                  <a:spcPts val="300"/>
                </a:spcBef>
                <a:spcAft>
                  <a:spcPts val="300"/>
                </a:spcAft>
                <a:defRPr sz="1200">
                  <a:solidFill>
                    <a:schemeClr val="tx1"/>
                  </a:solidFill>
                  <a:latin typeface="+mn-lt"/>
                  <a:ea typeface="+mn-ea"/>
                  <a:cs typeface="+mn-cs"/>
                </a:defRPr>
              </a:lvl3pPr>
              <a:lvl4pPr marL="171450" indent="-171450" eaLnBrk="1" hangingPunct="1">
                <a:spcBef>
                  <a:spcPts val="300"/>
                </a:spcBef>
                <a:spcAft>
                  <a:spcPts val="300"/>
                </a:spcAft>
                <a:buClr>
                  <a:schemeClr val="tx1"/>
                </a:buClr>
                <a:buFont typeface="SwissReSansOTLight" panose="04000400000000000000" pitchFamily="82" charset="0"/>
                <a:buChar char="–"/>
                <a:defRPr sz="1200">
                  <a:solidFill>
                    <a:schemeClr val="tx1"/>
                  </a:solidFill>
                  <a:latin typeface="+mn-lt"/>
                  <a:ea typeface="+mn-ea"/>
                  <a:cs typeface="+mn-cs"/>
                </a:defRPr>
              </a:lvl4pPr>
              <a:lvl5pPr marL="360363" indent="-184150" eaLnBrk="1" hangingPunct="1">
                <a:spcBef>
                  <a:spcPts val="300"/>
                </a:spcBef>
                <a:spcAft>
                  <a:spcPts val="300"/>
                </a:spcAft>
                <a:buFont typeface="SwissReSansOTLight" panose="04000400000000000000" pitchFamily="82" charset="0"/>
                <a:buChar char="–"/>
                <a:defRPr sz="1200" b="0">
                  <a:solidFill>
                    <a:schemeClr val="tx1"/>
                  </a:solidFill>
                  <a:latin typeface="+mn-lt"/>
                  <a:ea typeface="+mn-ea"/>
                  <a:cs typeface="+mn-cs"/>
                </a:defRPr>
              </a:lvl5pPr>
              <a:lvl6pPr marL="0" indent="0" eaLnBrk="1" hangingPunct="1">
                <a:spcBef>
                  <a:spcPts val="600"/>
                </a:spcBef>
                <a:spcAft>
                  <a:spcPts val="0"/>
                </a:spcAft>
                <a:buClr>
                  <a:schemeClr val="tx1"/>
                </a:buClr>
                <a:buFontTx/>
                <a:buNone/>
                <a:defRPr sz="1200">
                  <a:solidFill>
                    <a:schemeClr val="tx1"/>
                  </a:solidFill>
                  <a:latin typeface="Calibre Semibold" panose="020B0703030202060203" pitchFamily="34" charset="0"/>
                  <a:ea typeface="+mn-ea"/>
                  <a:cs typeface="+mn-cs"/>
                </a:defRPr>
              </a:lvl6pPr>
              <a:lvl7pPr marL="0" indent="0" eaLnBrk="1" hangingPunct="1">
                <a:spcBef>
                  <a:spcPts val="600"/>
                </a:spcBef>
                <a:defRPr sz="1050">
                  <a:solidFill>
                    <a:schemeClr val="tx1"/>
                  </a:solidFill>
                  <a:latin typeface="Calibre Semibold" panose="020B0703030202060203" pitchFamily="34" charset="0"/>
                  <a:ea typeface="+mn-ea"/>
                  <a:cs typeface="+mn-cs"/>
                </a:defRPr>
              </a:lvl7pPr>
              <a:lvl8pPr marL="0" indent="0" eaLnBrk="1" hangingPunct="1">
                <a:spcBef>
                  <a:spcPts val="300"/>
                </a:spcBef>
                <a:spcAft>
                  <a:spcPts val="300"/>
                </a:spcAft>
                <a:defRPr sz="1050" b="0">
                  <a:solidFill>
                    <a:schemeClr val="tx1"/>
                  </a:solidFill>
                  <a:latin typeface="+mn-lt"/>
                  <a:ea typeface="+mn-ea"/>
                  <a:cs typeface="+mn-cs"/>
                </a:defRPr>
              </a:lvl8pPr>
              <a:lvl9pPr marL="171450" indent="-171450" eaLnBrk="1" hangingPunct="1">
                <a:spcBef>
                  <a:spcPts val="200"/>
                </a:spcBef>
                <a:spcAft>
                  <a:spcPts val="200"/>
                </a:spcAft>
                <a:buFont typeface="SwissReSansOTLight" panose="04000400000000000000" pitchFamily="82" charset="0"/>
                <a:buChar char="–"/>
                <a:defRPr sz="105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Calibre Light" panose="020B0303030202060203" pitchFamily="34" charset="0"/>
                  <a:ea typeface="+mn-ea"/>
                  <a:cs typeface="+mn-cs"/>
                </a:rPr>
                <a:t>The aim of Project Corduroy was </a:t>
              </a:r>
              <a:br>
                <a:rPr kumimoji="0" lang="en-GB" sz="1800" b="0" i="0" u="none" strike="noStrike" kern="0" cap="none" spc="0" normalizeH="0" baseline="0" noProof="0" dirty="0">
                  <a:ln>
                    <a:noFill/>
                  </a:ln>
                  <a:solidFill>
                    <a:srgbClr val="FFFFFF"/>
                  </a:solidFill>
                  <a:effectLst/>
                  <a:uLnTx/>
                  <a:uFillTx/>
                  <a:latin typeface="Calibre Light" panose="020B0303030202060203" pitchFamily="34" charset="0"/>
                  <a:ea typeface="+mn-ea"/>
                  <a:cs typeface="+mn-cs"/>
                </a:rPr>
              </a:br>
              <a:r>
                <a:rPr kumimoji="0" lang="en-GB" sz="1800" b="0" i="0" u="none" strike="noStrike" kern="0" cap="none" spc="0" normalizeH="0" baseline="0" noProof="0" dirty="0">
                  <a:ln>
                    <a:noFill/>
                  </a:ln>
                  <a:solidFill>
                    <a:srgbClr val="FFFFFF"/>
                  </a:solidFill>
                  <a:effectLst/>
                  <a:uLnTx/>
                  <a:uFillTx/>
                  <a:latin typeface="Calibre Light" panose="020B0303030202060203" pitchFamily="34" charset="0"/>
                  <a:ea typeface="+mn-ea"/>
                  <a:cs typeface="+mn-cs"/>
                </a:rPr>
                <a:t>to attract private sector investment </a:t>
              </a:r>
              <a:br>
                <a:rPr kumimoji="0" lang="en-GB" sz="1800" b="0" i="0" u="none" strike="noStrike" kern="0" cap="none" spc="0" normalizeH="0" baseline="0" noProof="0" dirty="0">
                  <a:ln>
                    <a:noFill/>
                  </a:ln>
                  <a:solidFill>
                    <a:srgbClr val="FFFFFF"/>
                  </a:solidFill>
                  <a:effectLst/>
                  <a:uLnTx/>
                  <a:uFillTx/>
                  <a:latin typeface="Calibre Light" panose="020B0303030202060203" pitchFamily="34" charset="0"/>
                  <a:ea typeface="+mn-ea"/>
                  <a:cs typeface="+mn-cs"/>
                </a:rPr>
              </a:br>
              <a:r>
                <a:rPr kumimoji="0" lang="en-GB" sz="1800" b="0" i="0" u="none" strike="noStrike" kern="0" cap="none" spc="0" normalizeH="0" baseline="0" noProof="0" dirty="0">
                  <a:ln>
                    <a:noFill/>
                  </a:ln>
                  <a:solidFill>
                    <a:srgbClr val="FFFFFF"/>
                  </a:solidFill>
                  <a:effectLst/>
                  <a:uLnTx/>
                  <a:uFillTx/>
                  <a:latin typeface="Calibre Light" panose="020B0303030202060203" pitchFamily="34" charset="0"/>
                  <a:ea typeface="+mn-ea"/>
                  <a:cs typeface="+mn-cs"/>
                </a:rPr>
                <a:t>to Cornwall Airport Newquay</a:t>
              </a:r>
            </a:p>
          </p:txBody>
        </p:sp>
        <p:pic>
          <p:nvPicPr>
            <p:cNvPr id="15" name="Graphic 14">
              <a:extLst>
                <a:ext uri="{FF2B5EF4-FFF2-40B4-BE49-F238E27FC236}">
                  <a16:creationId xmlns:a16="http://schemas.microsoft.com/office/drawing/2014/main" id="{0634F41E-8B2F-3551-B469-9617693037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824648" y="2247150"/>
              <a:ext cx="492275" cy="278956"/>
            </a:xfrm>
            <a:prstGeom prst="rect">
              <a:avLst/>
            </a:prstGeom>
          </p:spPr>
        </p:pic>
        <p:pic>
          <p:nvPicPr>
            <p:cNvPr id="16" name="Graphic 15">
              <a:extLst>
                <a:ext uri="{FF2B5EF4-FFF2-40B4-BE49-F238E27FC236}">
                  <a16:creationId xmlns:a16="http://schemas.microsoft.com/office/drawing/2014/main" id="{684C2008-EE9B-9777-FEF6-BC4646F4F8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824648" y="4050392"/>
              <a:ext cx="436373" cy="436373"/>
            </a:xfrm>
            <a:prstGeom prst="rect">
              <a:avLst/>
            </a:prstGeom>
          </p:spPr>
        </p:pic>
      </p:grpSp>
    </p:spTree>
    <p:extLst>
      <p:ext uri="{BB962C8B-B14F-4D97-AF65-F5344CB8AC3E}">
        <p14:creationId xmlns:p14="http://schemas.microsoft.com/office/powerpoint/2010/main" val="1887337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5A3A71B-648F-30A3-D388-F1A006B19DE6}"/>
              </a:ext>
            </a:extLst>
          </p:cNvPr>
          <p:cNvSpPr/>
          <p:nvPr/>
        </p:nvSpPr>
        <p:spPr>
          <a:xfrm>
            <a:off x="6950894" y="4483891"/>
            <a:ext cx="2731654" cy="775597"/>
          </a:xfrm>
          <a:prstGeom prst="rect">
            <a:avLst/>
          </a:prstGeom>
          <a:noFill/>
          <a:ln>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0" marR="0" lvl="0" indent="0" algn="l" defTabSz="1244600" eaLnBrk="1" fontAlgn="auto" latinLnBrk="0" hangingPunct="1">
              <a:lnSpc>
                <a:spcPct val="90000"/>
              </a:lnSpc>
              <a:spcBef>
                <a:spcPct val="0"/>
              </a:spcBef>
              <a:spcAft>
                <a:spcPct val="3500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Need for a strategic solution</a:t>
            </a:r>
          </a:p>
        </p:txBody>
      </p:sp>
      <p:sp>
        <p:nvSpPr>
          <p:cNvPr id="12" name="Rectangle 11">
            <a:extLst>
              <a:ext uri="{FF2B5EF4-FFF2-40B4-BE49-F238E27FC236}">
                <a16:creationId xmlns:a16="http://schemas.microsoft.com/office/drawing/2014/main" id="{48E91599-03C3-215A-2F49-01EC9688B41D}"/>
              </a:ext>
            </a:extLst>
          </p:cNvPr>
          <p:cNvSpPr/>
          <p:nvPr/>
        </p:nvSpPr>
        <p:spPr>
          <a:xfrm>
            <a:off x="4669173" y="4483891"/>
            <a:ext cx="1545646" cy="1163395"/>
          </a:xfrm>
          <a:prstGeom prst="rect">
            <a:avLst/>
          </a:prstGeom>
          <a:noFill/>
          <a:ln>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0" marR="0" lvl="0" indent="0" algn="l" defTabSz="1244600" eaLnBrk="1" fontAlgn="auto" latinLnBrk="0" hangingPunct="1">
              <a:lnSpc>
                <a:spcPct val="90000"/>
              </a:lnSpc>
              <a:spcBef>
                <a:spcPct val="0"/>
              </a:spcBef>
              <a:spcAft>
                <a:spcPct val="3500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Financial backdrop</a:t>
            </a:r>
            <a:br>
              <a:rPr kumimoji="0" lang="en-GB" sz="2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br>
            <a:endParaRPr kumimoji="0" lang="en-GB" sz="2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endParaRPr>
          </a:p>
        </p:txBody>
      </p:sp>
      <p:sp>
        <p:nvSpPr>
          <p:cNvPr id="14" name="Rectangle 13">
            <a:extLst>
              <a:ext uri="{FF2B5EF4-FFF2-40B4-BE49-F238E27FC236}">
                <a16:creationId xmlns:a16="http://schemas.microsoft.com/office/drawing/2014/main" id="{6DA61D07-FAF7-8203-83E3-587A9B700CC1}"/>
              </a:ext>
            </a:extLst>
          </p:cNvPr>
          <p:cNvSpPr/>
          <p:nvPr/>
        </p:nvSpPr>
        <p:spPr>
          <a:xfrm>
            <a:off x="1342663" y="4483891"/>
            <a:ext cx="2707125" cy="775597"/>
          </a:xfrm>
          <a:prstGeom prst="rect">
            <a:avLst/>
          </a:prstGeom>
          <a:noFill/>
          <a:ln>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marL="0" marR="0" lvl="0" indent="0" algn="l" defTabSz="1244600" eaLnBrk="1" fontAlgn="auto" latinLnBrk="0" hangingPunct="1">
              <a:lnSpc>
                <a:spcPct val="90000"/>
              </a:lnSpc>
              <a:spcBef>
                <a:spcPct val="0"/>
              </a:spcBef>
              <a:spcAft>
                <a:spcPct val="3500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History of Project Corduroy</a:t>
            </a:r>
          </a:p>
        </p:txBody>
      </p:sp>
      <p:pic>
        <p:nvPicPr>
          <p:cNvPr id="6" name="Graphic 5">
            <a:extLst>
              <a:ext uri="{FF2B5EF4-FFF2-40B4-BE49-F238E27FC236}">
                <a16:creationId xmlns:a16="http://schemas.microsoft.com/office/drawing/2014/main" id="{05FE0B52-6FFE-0D94-9D38-0E93966186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11033" y="4708481"/>
            <a:ext cx="471491" cy="326417"/>
          </a:xfrm>
          <a:prstGeom prst="rect">
            <a:avLst/>
          </a:prstGeom>
        </p:spPr>
      </p:pic>
      <p:pic>
        <p:nvPicPr>
          <p:cNvPr id="8" name="Graphic 7">
            <a:extLst>
              <a:ext uri="{FF2B5EF4-FFF2-40B4-BE49-F238E27FC236}">
                <a16:creationId xmlns:a16="http://schemas.microsoft.com/office/drawing/2014/main" id="{CF0C40F6-D06D-801C-0433-7BA39A3E79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03138" y="4708481"/>
            <a:ext cx="471491" cy="326417"/>
          </a:xfrm>
          <a:prstGeom prst="rect">
            <a:avLst/>
          </a:prstGeom>
        </p:spPr>
      </p:pic>
      <p:sp>
        <p:nvSpPr>
          <p:cNvPr id="15" name="Text Placeholder 16">
            <a:extLst>
              <a:ext uri="{FF2B5EF4-FFF2-40B4-BE49-F238E27FC236}">
                <a16:creationId xmlns:a16="http://schemas.microsoft.com/office/drawing/2014/main" id="{ED518248-90DE-EFF6-BB24-D2466C3BF747}"/>
              </a:ext>
            </a:extLst>
          </p:cNvPr>
          <p:cNvSpPr txBox="1">
            <a:spLocks/>
          </p:cNvSpPr>
          <p:nvPr/>
        </p:nvSpPr>
        <p:spPr>
          <a:xfrm>
            <a:off x="1260142" y="1598512"/>
            <a:ext cx="5178742" cy="1149350"/>
          </a:xfrm>
          <a:prstGeom prst="rect">
            <a:avLst/>
          </a:prstGeom>
        </p:spPr>
        <p:txBody>
          <a:bodyPr vert="horz" lIns="0" tIns="0" rIns="72000" bIns="0" rtlCol="0">
            <a:noAutofit/>
          </a:bodyPr>
          <a:lstStyle>
            <a:lvl1pPr marL="0" eaLnBrk="1" hangingPunct="1">
              <a:spcBef>
                <a:spcPts val="1200"/>
              </a:spcBef>
              <a:spcAft>
                <a:spcPts val="1200"/>
              </a:spcAft>
              <a:defRPr sz="2200">
                <a:solidFill>
                  <a:srgbClr val="CAD1D2"/>
                </a:solidFill>
                <a:latin typeface="Calibre Light" panose="020B0303030202060203" pitchFamily="34" charset="0"/>
                <a:ea typeface="+mn-ea"/>
                <a:cs typeface="+mn-cs"/>
              </a:defRPr>
            </a:lvl1pPr>
            <a:lvl2pPr marL="0" indent="0" eaLnBrk="1" hangingPunct="1">
              <a:spcAft>
                <a:spcPts val="600"/>
              </a:spcAft>
              <a:defRPr sz="1600" b="0">
                <a:solidFill>
                  <a:srgbClr val="CAD1D2"/>
                </a:solidFill>
                <a:latin typeface="Calibre Semibold" panose="020B0703030202060203" pitchFamily="34" charset="0"/>
                <a:ea typeface="+mn-ea"/>
                <a:cs typeface="+mn-cs"/>
              </a:defRPr>
            </a:lvl2pPr>
            <a:lvl3pPr marL="0" indent="0" eaLnBrk="1" hangingPunct="1">
              <a:spcBef>
                <a:spcPts val="300"/>
              </a:spcBef>
              <a:spcAft>
                <a:spcPts val="300"/>
              </a:spcAft>
              <a:defRPr sz="1200">
                <a:solidFill>
                  <a:srgbClr val="CAD1D2"/>
                </a:solidFill>
                <a:latin typeface="+mn-lt"/>
                <a:ea typeface="+mn-ea"/>
                <a:cs typeface="+mn-cs"/>
              </a:defRPr>
            </a:lvl3pPr>
            <a:lvl4pPr marL="171450" indent="-171450" eaLnBrk="1" hangingPunct="1">
              <a:spcBef>
                <a:spcPts val="300"/>
              </a:spcBef>
              <a:spcAft>
                <a:spcPts val="300"/>
              </a:spcAft>
              <a:buClr>
                <a:schemeClr val="bg1"/>
              </a:buClr>
              <a:buFont typeface="SwissReSansOTLight" panose="04000400000000000000" pitchFamily="82" charset="0"/>
              <a:buChar char="–"/>
              <a:defRPr sz="1200">
                <a:solidFill>
                  <a:srgbClr val="CAD1D2"/>
                </a:solidFill>
                <a:latin typeface="+mn-lt"/>
                <a:ea typeface="+mn-ea"/>
                <a:cs typeface="+mn-cs"/>
              </a:defRPr>
            </a:lvl4pPr>
            <a:lvl5pPr marL="360363" indent="-184150" eaLnBrk="1" hangingPunct="1">
              <a:spcBef>
                <a:spcPts val="300"/>
              </a:spcBef>
              <a:spcAft>
                <a:spcPts val="300"/>
              </a:spcAft>
              <a:buFont typeface="SwissReSansOTLight" panose="04000400000000000000" pitchFamily="82" charset="0"/>
              <a:buChar char="–"/>
              <a:defRPr sz="1200" b="0">
                <a:solidFill>
                  <a:srgbClr val="CAD1D2"/>
                </a:solidFill>
                <a:latin typeface="+mn-lt"/>
                <a:ea typeface="+mn-ea"/>
                <a:cs typeface="+mn-cs"/>
              </a:defRPr>
            </a:lvl5pPr>
            <a:lvl6pPr marL="0" indent="0" eaLnBrk="1" hangingPunct="1">
              <a:spcBef>
                <a:spcPts val="600"/>
              </a:spcBef>
              <a:spcAft>
                <a:spcPts val="0"/>
              </a:spcAft>
              <a:buClr>
                <a:schemeClr val="tx1"/>
              </a:buClr>
              <a:buFontTx/>
              <a:buNone/>
              <a:defRPr sz="1200">
                <a:solidFill>
                  <a:schemeClr val="tx1"/>
                </a:solidFill>
                <a:latin typeface="Calibre Semibold" panose="020B0703030202060203" pitchFamily="34" charset="0"/>
                <a:ea typeface="+mn-ea"/>
                <a:cs typeface="+mn-cs"/>
              </a:defRPr>
            </a:lvl6pPr>
            <a:lvl7pPr marL="0" indent="0" eaLnBrk="1" hangingPunct="1">
              <a:spcBef>
                <a:spcPts val="600"/>
              </a:spcBef>
              <a:defRPr sz="1050">
                <a:solidFill>
                  <a:schemeClr val="tx1"/>
                </a:solidFill>
                <a:latin typeface="Calibre Semibold" panose="020B0703030202060203" pitchFamily="34" charset="0"/>
                <a:ea typeface="+mn-ea"/>
                <a:cs typeface="+mn-cs"/>
              </a:defRPr>
            </a:lvl7pPr>
            <a:lvl8pPr marL="0" indent="0" eaLnBrk="1" hangingPunct="1">
              <a:spcBef>
                <a:spcPts val="300"/>
              </a:spcBef>
              <a:spcAft>
                <a:spcPts val="300"/>
              </a:spcAft>
              <a:defRPr sz="1050" b="0">
                <a:solidFill>
                  <a:schemeClr val="tx1"/>
                </a:solidFill>
                <a:latin typeface="+mn-lt"/>
                <a:ea typeface="+mn-ea"/>
                <a:cs typeface="+mn-cs"/>
              </a:defRPr>
            </a:lvl8pPr>
            <a:lvl9pPr marL="171450" indent="-171450" eaLnBrk="1" hangingPunct="1">
              <a:spcBef>
                <a:spcPts val="200"/>
              </a:spcBef>
              <a:spcAft>
                <a:spcPts val="200"/>
              </a:spcAft>
              <a:buFont typeface="SwissReSansOTLight" panose="04000400000000000000" pitchFamily="82" charset="0"/>
              <a:buChar char="–"/>
              <a:defRPr sz="1050">
                <a:solidFill>
                  <a:schemeClr val="tx1"/>
                </a:solidFill>
                <a:latin typeface="+mn-lt"/>
                <a:ea typeface="+mn-ea"/>
                <a:cs typeface="+mn-cs"/>
              </a:defRPr>
            </a:lvl9pPr>
          </a:lstStyle>
          <a:p>
            <a:pPr marL="0" marR="0" lvl="0" indent="0" defTabSz="914400" eaLnBrk="1" fontAlgn="auto" latinLnBrk="0" hangingPunct="1">
              <a:lnSpc>
                <a:spcPct val="100000"/>
              </a:lnSpc>
              <a:spcBef>
                <a:spcPts val="1200"/>
              </a:spcBef>
              <a:spcAft>
                <a:spcPts val="1200"/>
              </a:spcAft>
              <a:buClrTx/>
              <a:buSzTx/>
              <a:buFontTx/>
              <a:buNone/>
              <a:tabLst/>
              <a:defRPr/>
            </a:pPr>
            <a:r>
              <a:rPr kumimoji="0" lang="en-GB" sz="8000" b="0" i="0" u="none" strike="noStrike" kern="0" cap="none" spc="0" normalizeH="0" baseline="0" noProof="0" dirty="0">
                <a:ln>
                  <a:noFill/>
                </a:ln>
                <a:solidFill>
                  <a:srgbClr val="FFFFFF"/>
                </a:solidFill>
                <a:effectLst/>
                <a:uLnTx/>
                <a:uFillTx/>
                <a:latin typeface="Financier Display"/>
                <a:ea typeface="+mn-ea"/>
                <a:cs typeface="+mn-cs"/>
              </a:rPr>
              <a:t>Background</a:t>
            </a:r>
          </a:p>
        </p:txBody>
      </p:sp>
    </p:spTree>
    <p:extLst>
      <p:ext uri="{BB962C8B-B14F-4D97-AF65-F5344CB8AC3E}">
        <p14:creationId xmlns:p14="http://schemas.microsoft.com/office/powerpoint/2010/main" val="42651663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806D341F-267A-CE0B-4E39-7D183502EA5C}"/>
              </a:ext>
            </a:extLst>
          </p:cNvPr>
          <p:cNvSpPr>
            <a:spLocks noGrp="1"/>
          </p:cNvSpPr>
          <p:nvPr>
            <p:ph type="body" sz="quarter" idx="34"/>
          </p:nvPr>
        </p:nvSpPr>
        <p:spPr>
          <a:xfrm>
            <a:off x="1023938" y="1598512"/>
            <a:ext cx="6123424" cy="1149350"/>
          </a:xfrm>
        </p:spPr>
        <p:txBody>
          <a:bodyPr/>
          <a:lstStyle/>
          <a:p>
            <a:r>
              <a:rPr lang="en-GB" sz="8000" dirty="0">
                <a:solidFill>
                  <a:schemeClr val="bg1"/>
                </a:solidFill>
                <a:latin typeface="+mj-lt"/>
              </a:rPr>
              <a:t>What did we do</a:t>
            </a:r>
          </a:p>
        </p:txBody>
      </p:sp>
      <p:grpSp>
        <p:nvGrpSpPr>
          <p:cNvPr id="27" name="Group 26">
            <a:extLst>
              <a:ext uri="{FF2B5EF4-FFF2-40B4-BE49-F238E27FC236}">
                <a16:creationId xmlns:a16="http://schemas.microsoft.com/office/drawing/2014/main" id="{F7E2BB03-82F0-1F64-F259-17726B01EBF7}"/>
              </a:ext>
            </a:extLst>
          </p:cNvPr>
          <p:cNvGrpSpPr/>
          <p:nvPr/>
        </p:nvGrpSpPr>
        <p:grpSpPr>
          <a:xfrm>
            <a:off x="5870125" y="3301678"/>
            <a:ext cx="2552700" cy="1208326"/>
            <a:chOff x="2282058" y="4738926"/>
            <a:chExt cx="2552700" cy="1208326"/>
          </a:xfrm>
        </p:grpSpPr>
        <p:sp>
          <p:nvSpPr>
            <p:cNvPr id="19" name="Rectangle 18">
              <a:extLst>
                <a:ext uri="{FF2B5EF4-FFF2-40B4-BE49-F238E27FC236}">
                  <a16:creationId xmlns:a16="http://schemas.microsoft.com/office/drawing/2014/main" id="{2DD11EEA-8567-84CF-B3EE-2A04EB7B7E83}"/>
                </a:ext>
              </a:extLst>
            </p:cNvPr>
            <p:cNvSpPr/>
            <p:nvPr/>
          </p:nvSpPr>
          <p:spPr>
            <a:xfrm>
              <a:off x="2282058" y="4738926"/>
              <a:ext cx="2552700" cy="12083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08000" tIns="540000" rIns="108000" bIns="108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Develop a holistic approach</a:t>
              </a:r>
              <a:endParaRPr kumimoji="0" lang="en-GB" sz="1800" b="0" i="1"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endParaRPr>
            </a:p>
          </p:txBody>
        </p:sp>
        <p:pic>
          <p:nvPicPr>
            <p:cNvPr id="21" name="Graphic 20">
              <a:extLst>
                <a:ext uri="{FF2B5EF4-FFF2-40B4-BE49-F238E27FC236}">
                  <a16:creationId xmlns:a16="http://schemas.microsoft.com/office/drawing/2014/main" id="{288AEE24-7764-67F0-73EE-F6F0B24F91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04281" y="4861888"/>
              <a:ext cx="369696" cy="398134"/>
            </a:xfrm>
            <a:prstGeom prst="rect">
              <a:avLst/>
            </a:prstGeom>
          </p:spPr>
        </p:pic>
      </p:grpSp>
      <p:grpSp>
        <p:nvGrpSpPr>
          <p:cNvPr id="29" name="Group 28">
            <a:extLst>
              <a:ext uri="{FF2B5EF4-FFF2-40B4-BE49-F238E27FC236}">
                <a16:creationId xmlns:a16="http://schemas.microsoft.com/office/drawing/2014/main" id="{BCAE4858-4E18-63DD-F266-427776C964ED}"/>
              </a:ext>
            </a:extLst>
          </p:cNvPr>
          <p:cNvGrpSpPr/>
          <p:nvPr/>
        </p:nvGrpSpPr>
        <p:grpSpPr>
          <a:xfrm>
            <a:off x="8296653" y="3301678"/>
            <a:ext cx="2552700" cy="1208326"/>
            <a:chOff x="4928420" y="4738926"/>
            <a:chExt cx="2552700" cy="1208326"/>
          </a:xfrm>
        </p:grpSpPr>
        <p:sp>
          <p:nvSpPr>
            <p:cNvPr id="20" name="Rectangle 19">
              <a:extLst>
                <a:ext uri="{FF2B5EF4-FFF2-40B4-BE49-F238E27FC236}">
                  <a16:creationId xmlns:a16="http://schemas.microsoft.com/office/drawing/2014/main" id="{5B9F5F8A-AC0C-FF9C-A76D-939D670A9E73}"/>
                </a:ext>
              </a:extLst>
            </p:cNvPr>
            <p:cNvSpPr/>
            <p:nvPr/>
          </p:nvSpPr>
          <p:spPr>
            <a:xfrm>
              <a:off x="4928420" y="4738926"/>
              <a:ext cx="2552700" cy="12083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08000" tIns="540000" rIns="108000" bIns="108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Take stakeholders on the journey with you</a:t>
              </a:r>
              <a:endParaRPr kumimoji="0" lang="en-GB" sz="1800" b="0" i="1"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endParaRPr>
            </a:p>
          </p:txBody>
        </p:sp>
        <p:pic>
          <p:nvPicPr>
            <p:cNvPr id="22" name="Graphic 21">
              <a:extLst>
                <a:ext uri="{FF2B5EF4-FFF2-40B4-BE49-F238E27FC236}">
                  <a16:creationId xmlns:a16="http://schemas.microsoft.com/office/drawing/2014/main" id="{CB1AAFC4-9746-EEB0-FC00-96E33AB9DE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55710" y="4833450"/>
              <a:ext cx="398134" cy="426572"/>
            </a:xfrm>
            <a:prstGeom prst="rect">
              <a:avLst/>
            </a:prstGeom>
          </p:spPr>
        </p:pic>
      </p:grpSp>
      <p:grpSp>
        <p:nvGrpSpPr>
          <p:cNvPr id="28" name="Group 27">
            <a:extLst>
              <a:ext uri="{FF2B5EF4-FFF2-40B4-BE49-F238E27FC236}">
                <a16:creationId xmlns:a16="http://schemas.microsoft.com/office/drawing/2014/main" id="{6A0477D1-2D58-44E2-8C5F-ED9CF9A7BFA7}"/>
              </a:ext>
            </a:extLst>
          </p:cNvPr>
          <p:cNvGrpSpPr/>
          <p:nvPr/>
        </p:nvGrpSpPr>
        <p:grpSpPr>
          <a:xfrm>
            <a:off x="3307057" y="3301678"/>
            <a:ext cx="2552700" cy="1208326"/>
            <a:chOff x="4928420" y="3429000"/>
            <a:chExt cx="2552700" cy="1208326"/>
          </a:xfrm>
        </p:grpSpPr>
        <p:sp>
          <p:nvSpPr>
            <p:cNvPr id="18" name="Rectangle 17">
              <a:extLst>
                <a:ext uri="{FF2B5EF4-FFF2-40B4-BE49-F238E27FC236}">
                  <a16:creationId xmlns:a16="http://schemas.microsoft.com/office/drawing/2014/main" id="{9D9BEBE1-C763-77E0-CF25-A7AC7080709A}"/>
                </a:ext>
              </a:extLst>
            </p:cNvPr>
            <p:cNvSpPr/>
            <p:nvPr/>
          </p:nvSpPr>
          <p:spPr>
            <a:xfrm>
              <a:off x="4928420" y="3429000"/>
              <a:ext cx="2552700" cy="12083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08000" tIns="540000" rIns="108000" bIns="108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Red Lines &amp; Commercial Principles</a:t>
              </a:r>
              <a:endParaRPr kumimoji="0" lang="en-GB" sz="1800" b="0" i="1"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endParaRPr>
            </a:p>
          </p:txBody>
        </p:sp>
        <p:pic>
          <p:nvPicPr>
            <p:cNvPr id="23" name="Graphic 22">
              <a:extLst>
                <a:ext uri="{FF2B5EF4-FFF2-40B4-BE49-F238E27FC236}">
                  <a16:creationId xmlns:a16="http://schemas.microsoft.com/office/drawing/2014/main" id="{C7F3E136-7C13-50CA-8889-DA6425BD2A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55710" y="3608531"/>
              <a:ext cx="440792" cy="369697"/>
            </a:xfrm>
            <a:prstGeom prst="rect">
              <a:avLst/>
            </a:prstGeom>
          </p:spPr>
        </p:pic>
      </p:grpSp>
      <p:grpSp>
        <p:nvGrpSpPr>
          <p:cNvPr id="25" name="Group 24">
            <a:extLst>
              <a:ext uri="{FF2B5EF4-FFF2-40B4-BE49-F238E27FC236}">
                <a16:creationId xmlns:a16="http://schemas.microsoft.com/office/drawing/2014/main" id="{AA784816-9A80-4477-D99E-866DF23C0D9B}"/>
              </a:ext>
            </a:extLst>
          </p:cNvPr>
          <p:cNvGrpSpPr/>
          <p:nvPr/>
        </p:nvGrpSpPr>
        <p:grpSpPr>
          <a:xfrm>
            <a:off x="1017069" y="3301678"/>
            <a:ext cx="2552700" cy="1208326"/>
            <a:chOff x="2282058" y="3429000"/>
            <a:chExt cx="2552700" cy="1208326"/>
          </a:xfrm>
        </p:grpSpPr>
        <p:sp>
          <p:nvSpPr>
            <p:cNvPr id="15" name="Rectangle 14">
              <a:extLst>
                <a:ext uri="{FF2B5EF4-FFF2-40B4-BE49-F238E27FC236}">
                  <a16:creationId xmlns:a16="http://schemas.microsoft.com/office/drawing/2014/main" id="{67892AA7-A502-F9F1-EAFC-D089276B44D1}"/>
                </a:ext>
              </a:extLst>
            </p:cNvPr>
            <p:cNvSpPr/>
            <p:nvPr/>
          </p:nvSpPr>
          <p:spPr>
            <a:xfrm>
              <a:off x="2282058" y="3429000"/>
              <a:ext cx="2552700" cy="120832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lIns="108000" tIns="540000" rIns="108000" bIns="108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Consider the </a:t>
              </a:r>
              <a:r>
                <a:rPr kumimoji="0" lang="en-GB" sz="1800" b="0" i="0" u="none" strike="noStrike" kern="1200" cap="none" spc="0" normalizeH="0" baseline="0" noProof="0" dirty="0">
                  <a:ln>
                    <a:noFill/>
                  </a:ln>
                  <a:solidFill>
                    <a:srgbClr val="FFFFFF"/>
                  </a:solidFill>
                  <a:effectLst/>
                  <a:uLnTx/>
                  <a:uFillTx/>
                  <a:latin typeface="Calibre Semibold" panose="020B0703030202060203" pitchFamily="34" charset="0"/>
                  <a:ea typeface="+mn-ea"/>
                  <a:cs typeface="+mn-cs"/>
                </a:rPr>
                <a:t>art of the possible</a:t>
              </a:r>
            </a:p>
          </p:txBody>
        </p:sp>
        <p:pic>
          <p:nvPicPr>
            <p:cNvPr id="24" name="Graphic 23">
              <a:extLst>
                <a:ext uri="{FF2B5EF4-FFF2-40B4-BE49-F238E27FC236}">
                  <a16:creationId xmlns:a16="http://schemas.microsoft.com/office/drawing/2014/main" id="{CD1EDECF-562F-EE8B-0324-B541822DA77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04281" y="3506043"/>
              <a:ext cx="319419" cy="472185"/>
            </a:xfrm>
            <a:prstGeom prst="rect">
              <a:avLst/>
            </a:prstGeom>
          </p:spPr>
        </p:pic>
      </p:grpSp>
    </p:spTree>
    <p:extLst>
      <p:ext uri="{BB962C8B-B14F-4D97-AF65-F5344CB8AC3E}">
        <p14:creationId xmlns:p14="http://schemas.microsoft.com/office/powerpoint/2010/main" val="2761037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E2C5D01-65DE-483F-A6D3-5F9629948B85}"/>
              </a:ext>
            </a:extLst>
          </p:cNvPr>
          <p:cNvSpPr>
            <a:spLocks noGrp="1"/>
          </p:cNvSpPr>
          <p:nvPr>
            <p:ph type="title"/>
          </p:nvPr>
        </p:nvSpPr>
        <p:spPr>
          <a:xfrm>
            <a:off x="511176" y="1601788"/>
            <a:ext cx="2971800" cy="1325563"/>
          </a:xfrm>
        </p:spPr>
        <p:txBody>
          <a:bodyPr/>
          <a:lstStyle/>
          <a:p>
            <a:r>
              <a:rPr lang="en-GB" dirty="0"/>
              <a:t>Finding a Partner</a:t>
            </a:r>
          </a:p>
        </p:txBody>
      </p:sp>
      <p:sp>
        <p:nvSpPr>
          <p:cNvPr id="12" name="Text Placeholder 11">
            <a:extLst>
              <a:ext uri="{FF2B5EF4-FFF2-40B4-BE49-F238E27FC236}">
                <a16:creationId xmlns:a16="http://schemas.microsoft.com/office/drawing/2014/main" id="{D9C02C88-4F4F-EC56-AE7F-E53DCA5FD92F}"/>
              </a:ext>
            </a:extLst>
          </p:cNvPr>
          <p:cNvSpPr>
            <a:spLocks noGrp="1"/>
          </p:cNvSpPr>
          <p:nvPr>
            <p:ph type="body" sz="quarter" idx="43"/>
          </p:nvPr>
        </p:nvSpPr>
        <p:spPr/>
        <p:txBody>
          <a:bodyPr/>
          <a:lstStyle/>
          <a:p>
            <a:r>
              <a:rPr lang="en-GB" dirty="0"/>
              <a:t>Securing private investment for infrastructure assets</a:t>
            </a:r>
          </a:p>
        </p:txBody>
      </p:sp>
      <p:sp>
        <p:nvSpPr>
          <p:cNvPr id="5" name="Rectangle 4">
            <a:extLst>
              <a:ext uri="{FF2B5EF4-FFF2-40B4-BE49-F238E27FC236}">
                <a16:creationId xmlns:a16="http://schemas.microsoft.com/office/drawing/2014/main" id="{EBE509F9-297E-1239-E306-DB315202E72B}"/>
              </a:ext>
            </a:extLst>
          </p:cNvPr>
          <p:cNvSpPr/>
          <p:nvPr/>
        </p:nvSpPr>
        <p:spPr>
          <a:xfrm>
            <a:off x="4120744" y="1601788"/>
            <a:ext cx="7560079" cy="4779962"/>
          </a:xfrm>
          <a:prstGeom prst="rect">
            <a:avLst/>
          </a:prstGeom>
          <a:solidFill>
            <a:srgbClr val="012A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endParaRPr kumimoji="0" lang="en-GB" sz="2200" b="0" i="0" u="none" strike="noStrike" kern="0" cap="none" spc="0" normalizeH="0" baseline="0" noProof="0" dirty="0">
              <a:ln>
                <a:noFill/>
              </a:ln>
              <a:solidFill>
                <a:srgbClr val="FFFFFF"/>
              </a:solidFill>
              <a:effectLst/>
              <a:uLnTx/>
              <a:uFillTx/>
              <a:latin typeface="Calibre"/>
              <a:ea typeface="+mn-ea"/>
              <a:cs typeface="+mn-cs"/>
            </a:endParaRPr>
          </a:p>
        </p:txBody>
      </p:sp>
      <p:pic>
        <p:nvPicPr>
          <p:cNvPr id="6" name="Graphic 5">
            <a:extLst>
              <a:ext uri="{FF2B5EF4-FFF2-40B4-BE49-F238E27FC236}">
                <a16:creationId xmlns:a16="http://schemas.microsoft.com/office/drawing/2014/main" id="{BE473DB5-CC0A-B39B-BE13-C494A436A3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23461" y="2192017"/>
            <a:ext cx="3956954" cy="2768604"/>
          </a:xfrm>
          <a:prstGeom prst="rect">
            <a:avLst/>
          </a:prstGeom>
        </p:spPr>
      </p:pic>
      <p:sp>
        <p:nvSpPr>
          <p:cNvPr id="8" name="Content Placeholder 2">
            <a:extLst>
              <a:ext uri="{FF2B5EF4-FFF2-40B4-BE49-F238E27FC236}">
                <a16:creationId xmlns:a16="http://schemas.microsoft.com/office/drawing/2014/main" id="{C89042C5-2183-B345-8113-768D1620A322}"/>
              </a:ext>
            </a:extLst>
          </p:cNvPr>
          <p:cNvSpPr>
            <a:spLocks noGrp="1"/>
          </p:cNvSpPr>
          <p:nvPr>
            <p:ph sz="quarter" idx="37"/>
          </p:nvPr>
        </p:nvSpPr>
        <p:spPr>
          <a:xfrm>
            <a:off x="4120744" y="607110"/>
            <a:ext cx="7560079" cy="884070"/>
          </a:xfrm>
          <a:solidFill>
            <a:schemeClr val="bg2"/>
          </a:solidFill>
        </p:spPr>
        <p:txBody>
          <a:bodyPr wrap="square" lIns="72000" tIns="72000" bIns="72000">
            <a:spAutoFit/>
          </a:bodyPr>
          <a:lstStyle/>
          <a:p>
            <a:pPr algn="ctr"/>
            <a:r>
              <a:rPr lang="en-GB" sz="2400" dirty="0">
                <a:solidFill>
                  <a:schemeClr val="bg1"/>
                </a:solidFill>
              </a:rPr>
              <a:t>How to secure an investment partner in a world that is under-supplied with funding?</a:t>
            </a:r>
          </a:p>
        </p:txBody>
      </p:sp>
      <p:sp>
        <p:nvSpPr>
          <p:cNvPr id="9" name="Freeform: Shape 8">
            <a:extLst>
              <a:ext uri="{FF2B5EF4-FFF2-40B4-BE49-F238E27FC236}">
                <a16:creationId xmlns:a16="http://schemas.microsoft.com/office/drawing/2014/main" id="{EC95851E-C20D-A6C7-2B2C-C808BA28207E}"/>
              </a:ext>
            </a:extLst>
          </p:cNvPr>
          <p:cNvSpPr/>
          <p:nvPr/>
        </p:nvSpPr>
        <p:spPr>
          <a:xfrm>
            <a:off x="7401031" y="5863092"/>
            <a:ext cx="999504" cy="387798"/>
          </a:xfrm>
          <a:custGeom>
            <a:avLst/>
            <a:gdLst>
              <a:gd name="connsiteX0" fmla="*/ 0 w 3540060"/>
              <a:gd name="connsiteY0" fmla="*/ 0 h 885015"/>
              <a:gd name="connsiteX1" fmla="*/ 3540060 w 3540060"/>
              <a:gd name="connsiteY1" fmla="*/ 0 h 885015"/>
              <a:gd name="connsiteX2" fmla="*/ 3540060 w 3540060"/>
              <a:gd name="connsiteY2" fmla="*/ 885015 h 885015"/>
              <a:gd name="connsiteX3" fmla="*/ 0 w 3540060"/>
              <a:gd name="connsiteY3" fmla="*/ 885015 h 885015"/>
              <a:gd name="connsiteX4" fmla="*/ 0 w 3540060"/>
              <a:gd name="connsiteY4" fmla="*/ 0 h 885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0060" h="885015">
                <a:moveTo>
                  <a:pt x="0" y="0"/>
                </a:moveTo>
                <a:lnTo>
                  <a:pt x="3540060" y="0"/>
                </a:lnTo>
                <a:lnTo>
                  <a:pt x="3540060" y="885015"/>
                </a:lnTo>
                <a:lnTo>
                  <a:pt x="0" y="88501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spAutoFit/>
          </a:bodyPr>
          <a:lstStyle/>
          <a:p>
            <a:pPr marL="0" marR="0" lvl="0" indent="0" algn="ctr" defTabSz="1466850" rtl="0" eaLnBrk="1" fontAlgn="auto" latinLnBrk="0" hangingPunct="1">
              <a:lnSpc>
                <a:spcPct val="90000"/>
              </a:lnSpc>
              <a:spcBef>
                <a:spcPct val="0"/>
              </a:spcBef>
              <a:spcAft>
                <a:spcPct val="3500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Partner</a:t>
            </a:r>
          </a:p>
        </p:txBody>
      </p:sp>
      <p:grpSp>
        <p:nvGrpSpPr>
          <p:cNvPr id="10" name="Group 9">
            <a:extLst>
              <a:ext uri="{FF2B5EF4-FFF2-40B4-BE49-F238E27FC236}">
                <a16:creationId xmlns:a16="http://schemas.microsoft.com/office/drawing/2014/main" id="{D723DF81-6CF6-5036-F986-4286D8ED44DE}"/>
              </a:ext>
            </a:extLst>
          </p:cNvPr>
          <p:cNvGrpSpPr/>
          <p:nvPr/>
        </p:nvGrpSpPr>
        <p:grpSpPr>
          <a:xfrm>
            <a:off x="7745374" y="5327587"/>
            <a:ext cx="314085" cy="471128"/>
            <a:chOff x="7284568" y="5357812"/>
            <a:chExt cx="314085" cy="471128"/>
          </a:xfrm>
        </p:grpSpPr>
        <p:sp>
          <p:nvSpPr>
            <p:cNvPr id="11" name="Freeform: Shape 10">
              <a:extLst>
                <a:ext uri="{FF2B5EF4-FFF2-40B4-BE49-F238E27FC236}">
                  <a16:creationId xmlns:a16="http://schemas.microsoft.com/office/drawing/2014/main" id="{660EFC95-F8FC-1914-3C0D-9CEC691DF25D}"/>
                </a:ext>
              </a:extLst>
            </p:cNvPr>
            <p:cNvSpPr/>
            <p:nvPr/>
          </p:nvSpPr>
          <p:spPr>
            <a:xfrm rot="5400000">
              <a:off x="7196979" y="5584309"/>
              <a:ext cx="471128" cy="18134"/>
            </a:xfrm>
            <a:custGeom>
              <a:avLst/>
              <a:gdLst>
                <a:gd name="connsiteX0" fmla="*/ 471128 w 471128"/>
                <a:gd name="connsiteY0" fmla="*/ 0 h 18134"/>
                <a:gd name="connsiteX1" fmla="*/ 0 w 471128"/>
                <a:gd name="connsiteY1" fmla="*/ 0 h 18134"/>
              </a:gdLst>
              <a:ahLst/>
              <a:cxnLst>
                <a:cxn ang="0">
                  <a:pos x="connsiteX0" y="connsiteY0"/>
                </a:cxn>
                <a:cxn ang="0">
                  <a:pos x="connsiteX1" y="connsiteY1"/>
                </a:cxn>
              </a:cxnLst>
              <a:rect l="l" t="t" r="r" b="b"/>
              <a:pathLst>
                <a:path w="471128" h="18134">
                  <a:moveTo>
                    <a:pt x="471128" y="0"/>
                  </a:moveTo>
                  <a:lnTo>
                    <a:pt x="0" y="0"/>
                  </a:lnTo>
                </a:path>
              </a:pathLst>
            </a:custGeom>
            <a:noFill/>
            <a:ln w="12566" cap="flat">
              <a:solidFill>
                <a:schemeClr val="bg1"/>
              </a:solidFill>
              <a:prstDash val="solid"/>
              <a:miter/>
            </a:ln>
          </p:spPr>
          <p:txBody>
            <a:bodyPr rtlCol="0" anchor="ctr"/>
            <a:lstStyle/>
            <a:p>
              <a:pPr marL="0" marR="0" lvl="0" indent="0" defTabSz="914400" eaLnBrk="1" fontAlgn="auto" latinLnBrk="0" hangingPunct="1">
                <a:lnSpc>
                  <a:spcPct val="100000"/>
                </a:lnSpc>
                <a:spcBef>
                  <a:spcPts val="1200"/>
                </a:spcBef>
                <a:spcAft>
                  <a:spcPts val="1200"/>
                </a:spcAft>
                <a:buClrTx/>
                <a:buSzTx/>
                <a:buFontTx/>
                <a:buNone/>
                <a:tabLst/>
                <a:defRPr/>
              </a:pPr>
              <a:endParaRPr kumimoji="0" lang="en-GB" sz="2200" b="0" i="0" u="none" strike="noStrike" kern="0" cap="none" spc="0" normalizeH="0" baseline="0" noProof="0" dirty="0">
                <a:ln>
                  <a:noFill/>
                </a:ln>
                <a:solidFill>
                  <a:srgbClr val="435254"/>
                </a:solidFill>
                <a:effectLst/>
                <a:uLnTx/>
                <a:uFillTx/>
                <a:latin typeface="Calibre Light" panose="020B0303030202060203" pitchFamily="34" charset="0"/>
                <a:ea typeface="+mn-ea"/>
                <a:cs typeface="+mn-cs"/>
              </a:endParaRPr>
            </a:p>
          </p:txBody>
        </p:sp>
        <p:sp>
          <p:nvSpPr>
            <p:cNvPr id="13" name="Freeform: Shape 12">
              <a:extLst>
                <a:ext uri="{FF2B5EF4-FFF2-40B4-BE49-F238E27FC236}">
                  <a16:creationId xmlns:a16="http://schemas.microsoft.com/office/drawing/2014/main" id="{A0F6582F-89B4-F864-8AF5-2C61CC45BDF1}"/>
                </a:ext>
              </a:extLst>
            </p:cNvPr>
            <p:cNvSpPr/>
            <p:nvPr/>
          </p:nvSpPr>
          <p:spPr>
            <a:xfrm rot="5400000">
              <a:off x="7363090" y="5593376"/>
              <a:ext cx="157042" cy="314085"/>
            </a:xfrm>
            <a:custGeom>
              <a:avLst/>
              <a:gdLst>
                <a:gd name="connsiteX0" fmla="*/ 0 w 157042"/>
                <a:gd name="connsiteY0" fmla="*/ 0 h 314085"/>
                <a:gd name="connsiteX1" fmla="*/ 157043 w 157042"/>
                <a:gd name="connsiteY1" fmla="*/ 157043 h 314085"/>
                <a:gd name="connsiteX2" fmla="*/ 0 w 157042"/>
                <a:gd name="connsiteY2" fmla="*/ 314086 h 314085"/>
              </a:gdLst>
              <a:ahLst/>
              <a:cxnLst>
                <a:cxn ang="0">
                  <a:pos x="connsiteX0" y="connsiteY0"/>
                </a:cxn>
                <a:cxn ang="0">
                  <a:pos x="connsiteX1" y="connsiteY1"/>
                </a:cxn>
                <a:cxn ang="0">
                  <a:pos x="connsiteX2" y="connsiteY2"/>
                </a:cxn>
              </a:cxnLst>
              <a:rect l="l" t="t" r="r" b="b"/>
              <a:pathLst>
                <a:path w="157042" h="314085">
                  <a:moveTo>
                    <a:pt x="0" y="0"/>
                  </a:moveTo>
                  <a:lnTo>
                    <a:pt x="157043" y="157043"/>
                  </a:lnTo>
                  <a:lnTo>
                    <a:pt x="0" y="314086"/>
                  </a:lnTo>
                </a:path>
              </a:pathLst>
            </a:custGeom>
            <a:noFill/>
            <a:ln w="12566" cap="flat">
              <a:solidFill>
                <a:srgbClr val="17E88F"/>
              </a:solidFill>
              <a:prstDash val="solid"/>
              <a:miter/>
            </a:ln>
          </p:spPr>
          <p:txBody>
            <a:bodyPr rtlCol="0" anchor="ctr"/>
            <a:lstStyle/>
            <a:p>
              <a:pPr marL="0" marR="0" lvl="0" indent="0" defTabSz="914400" eaLnBrk="1" fontAlgn="auto" latinLnBrk="0" hangingPunct="1">
                <a:lnSpc>
                  <a:spcPct val="100000"/>
                </a:lnSpc>
                <a:spcBef>
                  <a:spcPts val="1200"/>
                </a:spcBef>
                <a:spcAft>
                  <a:spcPts val="1200"/>
                </a:spcAft>
                <a:buClrTx/>
                <a:buSzTx/>
                <a:buFontTx/>
                <a:buNone/>
                <a:tabLst/>
                <a:defRPr/>
              </a:pPr>
              <a:endParaRPr kumimoji="0" lang="en-GB" sz="2200" b="0" i="0" u="none" strike="noStrike" kern="0" cap="none" spc="0" normalizeH="0" baseline="0" noProof="0" dirty="0">
                <a:ln>
                  <a:noFill/>
                </a:ln>
                <a:solidFill>
                  <a:srgbClr val="435254"/>
                </a:solidFill>
                <a:effectLst/>
                <a:uLnTx/>
                <a:uFillTx/>
                <a:latin typeface="Calibre Light" panose="020B0303030202060203" pitchFamily="34" charset="0"/>
                <a:ea typeface="+mn-ea"/>
                <a:cs typeface="+mn-cs"/>
              </a:endParaRPr>
            </a:p>
          </p:txBody>
        </p:sp>
      </p:grpSp>
      <p:grpSp>
        <p:nvGrpSpPr>
          <p:cNvPr id="15" name="Group 14">
            <a:extLst>
              <a:ext uri="{FF2B5EF4-FFF2-40B4-BE49-F238E27FC236}">
                <a16:creationId xmlns:a16="http://schemas.microsoft.com/office/drawing/2014/main" id="{714CEB40-DAF7-0D86-5EA1-F1F03291E488}"/>
              </a:ext>
            </a:extLst>
          </p:cNvPr>
          <p:cNvGrpSpPr/>
          <p:nvPr/>
        </p:nvGrpSpPr>
        <p:grpSpPr>
          <a:xfrm>
            <a:off x="6627084" y="2322825"/>
            <a:ext cx="2547396" cy="2415632"/>
            <a:chOff x="6561295" y="2297351"/>
            <a:chExt cx="2601122" cy="2466580"/>
          </a:xfrm>
        </p:grpSpPr>
        <p:sp>
          <p:nvSpPr>
            <p:cNvPr id="21" name="Oval 20">
              <a:extLst>
                <a:ext uri="{FF2B5EF4-FFF2-40B4-BE49-F238E27FC236}">
                  <a16:creationId xmlns:a16="http://schemas.microsoft.com/office/drawing/2014/main" id="{5422631E-8C26-F803-B12B-2560CE71E5B4}"/>
                </a:ext>
              </a:extLst>
            </p:cNvPr>
            <p:cNvSpPr/>
            <p:nvPr/>
          </p:nvSpPr>
          <p:spPr>
            <a:xfrm flipH="1">
              <a:off x="6561295" y="2297351"/>
              <a:ext cx="1260000" cy="126000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Calibre Semibold" panose="020B0703030202060203" pitchFamily="34" charset="0"/>
                  <a:ea typeface="+mn-ea"/>
                  <a:cs typeface="+mn-cs"/>
                </a:rPr>
                <a:t>Soft marketing</a:t>
              </a:r>
            </a:p>
          </p:txBody>
        </p:sp>
        <p:sp>
          <p:nvSpPr>
            <p:cNvPr id="22" name="Oval 21">
              <a:extLst>
                <a:ext uri="{FF2B5EF4-FFF2-40B4-BE49-F238E27FC236}">
                  <a16:creationId xmlns:a16="http://schemas.microsoft.com/office/drawing/2014/main" id="{48107974-26A1-34B1-E0B6-7E02A1830586}"/>
                </a:ext>
              </a:extLst>
            </p:cNvPr>
            <p:cNvSpPr/>
            <p:nvPr/>
          </p:nvSpPr>
          <p:spPr>
            <a:xfrm flipH="1">
              <a:off x="7902417" y="2297351"/>
              <a:ext cx="1260000" cy="1260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Calibre Semibold" panose="020B0703030202060203" pitchFamily="34" charset="0"/>
                  <a:ea typeface="+mn-ea"/>
                  <a:cs typeface="+mn-cs"/>
                </a:rPr>
                <a:t>Create the Vision</a:t>
              </a:r>
            </a:p>
          </p:txBody>
        </p:sp>
        <p:sp>
          <p:nvSpPr>
            <p:cNvPr id="23" name="Oval 22">
              <a:extLst>
                <a:ext uri="{FF2B5EF4-FFF2-40B4-BE49-F238E27FC236}">
                  <a16:creationId xmlns:a16="http://schemas.microsoft.com/office/drawing/2014/main" id="{477494BE-2A29-6A6A-5CE4-CB740E66F8AF}"/>
                </a:ext>
              </a:extLst>
            </p:cNvPr>
            <p:cNvSpPr/>
            <p:nvPr/>
          </p:nvSpPr>
          <p:spPr>
            <a:xfrm flipH="1">
              <a:off x="7249153" y="3503931"/>
              <a:ext cx="1260000" cy="126000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r>
                <a:rPr kumimoji="0" lang="en-GB" sz="1600" b="0" i="0" u="none" strike="noStrike" kern="0" cap="none" spc="0" normalizeH="0" baseline="0" noProof="0" dirty="0">
                  <a:ln>
                    <a:noFill/>
                  </a:ln>
                  <a:solidFill>
                    <a:srgbClr val="435254"/>
                  </a:solidFill>
                  <a:effectLst/>
                  <a:uLnTx/>
                  <a:uFillTx/>
                  <a:latin typeface="Calibre Semibold" panose="020B0703030202060203" pitchFamily="34" charset="0"/>
                  <a:ea typeface="+mn-ea"/>
                  <a:cs typeface="+mn-cs"/>
                </a:rPr>
                <a:t>Hard marketing</a:t>
              </a:r>
            </a:p>
          </p:txBody>
        </p:sp>
      </p:grpSp>
      <p:sp>
        <p:nvSpPr>
          <p:cNvPr id="24" name="Trapezoid 23">
            <a:extLst>
              <a:ext uri="{FF2B5EF4-FFF2-40B4-BE49-F238E27FC236}">
                <a16:creationId xmlns:a16="http://schemas.microsoft.com/office/drawing/2014/main" id="{0072C81C-BBF5-D402-98DF-6E09194050C3}"/>
              </a:ext>
            </a:extLst>
          </p:cNvPr>
          <p:cNvSpPr/>
          <p:nvPr/>
        </p:nvSpPr>
        <p:spPr>
          <a:xfrm rot="10800000">
            <a:off x="5772149" y="1863075"/>
            <a:ext cx="4259579" cy="252886"/>
          </a:xfrm>
          <a:prstGeom prst="trapezoid">
            <a:avLst>
              <a:gd name="adj" fmla="val 52698"/>
            </a:avLst>
          </a:prstGeom>
          <a:solidFill>
            <a:schemeClr val="bg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endParaRPr kumimoji="0" lang="en-GB" sz="2200" b="0" i="0" u="none" strike="noStrike" kern="0" cap="none" spc="0" normalizeH="0" baseline="0" noProof="0" dirty="0">
              <a:ln>
                <a:noFill/>
              </a:ln>
              <a:solidFill>
                <a:srgbClr val="FFFFFF"/>
              </a:solidFill>
              <a:effectLst/>
              <a:uLnTx/>
              <a:uFillTx/>
              <a:latin typeface="Calibre"/>
              <a:ea typeface="+mn-ea"/>
              <a:cs typeface="+mn-cs"/>
            </a:endParaRPr>
          </a:p>
        </p:txBody>
      </p:sp>
      <p:sp>
        <p:nvSpPr>
          <p:cNvPr id="25" name="Trapezoid 24">
            <a:extLst>
              <a:ext uri="{FF2B5EF4-FFF2-40B4-BE49-F238E27FC236}">
                <a16:creationId xmlns:a16="http://schemas.microsoft.com/office/drawing/2014/main" id="{2570569F-CE6D-2222-0CA6-D698876D2D37}"/>
              </a:ext>
            </a:extLst>
          </p:cNvPr>
          <p:cNvSpPr/>
          <p:nvPr/>
        </p:nvSpPr>
        <p:spPr>
          <a:xfrm rot="10800000">
            <a:off x="7167876" y="4987491"/>
            <a:ext cx="1468124" cy="252886"/>
          </a:xfrm>
          <a:prstGeom prst="trapezoid">
            <a:avLst>
              <a:gd name="adj" fmla="val 52698"/>
            </a:avLst>
          </a:prstGeom>
          <a:solidFill>
            <a:schemeClr val="bg1"/>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endParaRPr kumimoji="0" lang="en-GB" sz="2200" b="0" i="0" u="none" strike="noStrike" kern="0" cap="none" spc="0" normalizeH="0" baseline="0" noProof="0" dirty="0">
              <a:ln>
                <a:noFill/>
              </a:ln>
              <a:solidFill>
                <a:srgbClr val="FFFFFF"/>
              </a:solidFill>
              <a:effectLst/>
              <a:uLnTx/>
              <a:uFillTx/>
              <a:latin typeface="Calibre"/>
              <a:ea typeface="+mn-ea"/>
              <a:cs typeface="+mn-cs"/>
            </a:endParaRPr>
          </a:p>
        </p:txBody>
      </p:sp>
    </p:spTree>
    <p:extLst>
      <p:ext uri="{BB962C8B-B14F-4D97-AF65-F5344CB8AC3E}">
        <p14:creationId xmlns:p14="http://schemas.microsoft.com/office/powerpoint/2010/main" val="37327621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806D341F-267A-CE0B-4E39-7D183502EA5C}"/>
              </a:ext>
            </a:extLst>
          </p:cNvPr>
          <p:cNvSpPr>
            <a:spLocks noGrp="1"/>
          </p:cNvSpPr>
          <p:nvPr>
            <p:ph type="body" sz="quarter" idx="34"/>
          </p:nvPr>
        </p:nvSpPr>
        <p:spPr>
          <a:xfrm>
            <a:off x="1023938" y="1598512"/>
            <a:ext cx="6800548" cy="1149350"/>
          </a:xfrm>
        </p:spPr>
        <p:txBody>
          <a:bodyPr/>
          <a:lstStyle/>
          <a:p>
            <a:r>
              <a:rPr lang="en-GB" sz="8000" dirty="0">
                <a:solidFill>
                  <a:schemeClr val="bg1"/>
                </a:solidFill>
                <a:latin typeface="+mj-lt"/>
              </a:rPr>
              <a:t>The story so far</a:t>
            </a:r>
          </a:p>
        </p:txBody>
      </p:sp>
      <p:sp>
        <p:nvSpPr>
          <p:cNvPr id="3" name="Rectangle 2">
            <a:extLst>
              <a:ext uri="{FF2B5EF4-FFF2-40B4-BE49-F238E27FC236}">
                <a16:creationId xmlns:a16="http://schemas.microsoft.com/office/drawing/2014/main" id="{306D06B1-9DE0-440C-713A-6175B0CE208F}"/>
              </a:ext>
            </a:extLst>
          </p:cNvPr>
          <p:cNvSpPr/>
          <p:nvPr/>
        </p:nvSpPr>
        <p:spPr>
          <a:xfrm>
            <a:off x="1023938" y="3996159"/>
            <a:ext cx="2493169" cy="498598"/>
          </a:xfrm>
          <a:prstGeom prst="rect">
            <a:avLst/>
          </a:prstGeom>
          <a:no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marL="0" marR="0" lvl="0" indent="0" algn="l" defTabSz="800100" eaLnBrk="1" fontAlgn="auto" latinLnBrk="0" hangingPunct="1">
              <a:lnSpc>
                <a:spcPct val="90000"/>
              </a:lnSpc>
              <a:spcBef>
                <a:spcPct val="0"/>
              </a:spcBef>
              <a:spcAft>
                <a:spcPct val="3500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What we did and what we learned</a:t>
            </a:r>
          </a:p>
        </p:txBody>
      </p:sp>
      <p:sp>
        <p:nvSpPr>
          <p:cNvPr id="4" name="Rectangle 3">
            <a:extLst>
              <a:ext uri="{FF2B5EF4-FFF2-40B4-BE49-F238E27FC236}">
                <a16:creationId xmlns:a16="http://schemas.microsoft.com/office/drawing/2014/main" id="{CD8DE4C7-7C25-C046-392C-BE0A303AA648}"/>
              </a:ext>
            </a:extLst>
          </p:cNvPr>
          <p:cNvSpPr/>
          <p:nvPr/>
        </p:nvSpPr>
        <p:spPr>
          <a:xfrm>
            <a:off x="3124596" y="3996159"/>
            <a:ext cx="2493169" cy="498598"/>
          </a:xfrm>
          <a:prstGeom prst="rect">
            <a:avLst/>
          </a:prstGeom>
          <a:noFill/>
          <a:ln>
            <a:noFill/>
          </a:ln>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marL="0" marR="0" lvl="0" indent="0" algn="l" defTabSz="800100" eaLnBrk="1" fontAlgn="auto" latinLnBrk="0" hangingPunct="1">
              <a:lnSpc>
                <a:spcPct val="90000"/>
              </a:lnSpc>
              <a:spcBef>
                <a:spcPct val="0"/>
              </a:spcBef>
              <a:spcAft>
                <a:spcPct val="3500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We are in the middle of </a:t>
            </a:r>
            <a:br>
              <a:rPr kumimoji="0" lang="en-GB" sz="1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br>
            <a:r>
              <a:rPr kumimoji="0" lang="en-GB" sz="1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a competitive process</a:t>
            </a:r>
          </a:p>
        </p:txBody>
      </p:sp>
      <p:sp>
        <p:nvSpPr>
          <p:cNvPr id="5" name="Rectangle 4">
            <a:extLst>
              <a:ext uri="{FF2B5EF4-FFF2-40B4-BE49-F238E27FC236}">
                <a16:creationId xmlns:a16="http://schemas.microsoft.com/office/drawing/2014/main" id="{7480346F-1EA1-4690-0702-B482FBA8DD46}"/>
              </a:ext>
            </a:extLst>
          </p:cNvPr>
          <p:cNvSpPr/>
          <p:nvPr/>
        </p:nvSpPr>
        <p:spPr>
          <a:xfrm>
            <a:off x="5758965" y="3996159"/>
            <a:ext cx="2493169" cy="498598"/>
          </a:xfrm>
          <a:prstGeom prst="rect">
            <a:avLst/>
          </a:prstGeom>
          <a:no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marL="0" marR="0" lvl="0" indent="0" algn="l" defTabSz="800100" eaLnBrk="1" fontAlgn="auto" latinLnBrk="0" hangingPunct="1">
              <a:lnSpc>
                <a:spcPct val="90000"/>
              </a:lnSpc>
              <a:spcBef>
                <a:spcPct val="0"/>
              </a:spcBef>
              <a:spcAft>
                <a:spcPct val="3500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t>Watch this space!</a:t>
            </a:r>
            <a:br>
              <a:rPr kumimoji="0" lang="en-GB" sz="1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rPr>
            </a:br>
            <a:endParaRPr kumimoji="0" lang="en-GB" sz="1800" b="0" i="0" u="none" strike="noStrike" kern="1200" cap="none" spc="0" normalizeH="0" baseline="0" noProof="0" dirty="0">
              <a:ln>
                <a:noFill/>
              </a:ln>
              <a:solidFill>
                <a:srgbClr val="FFFFFF"/>
              </a:solidFill>
              <a:effectLst/>
              <a:uLnTx/>
              <a:uFillTx/>
              <a:latin typeface="Calibre Light" panose="020B0303030202060203" pitchFamily="34" charset="0"/>
              <a:ea typeface="+mn-ea"/>
              <a:cs typeface="+mn-cs"/>
            </a:endParaRPr>
          </a:p>
        </p:txBody>
      </p:sp>
      <p:pic>
        <p:nvPicPr>
          <p:cNvPr id="6" name="Graphic 5">
            <a:extLst>
              <a:ext uri="{FF2B5EF4-FFF2-40B4-BE49-F238E27FC236}">
                <a16:creationId xmlns:a16="http://schemas.microsoft.com/office/drawing/2014/main" id="{8701D6ED-4F8B-378A-FD16-B53FC56F60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3938" y="3400375"/>
            <a:ext cx="330236" cy="488175"/>
          </a:xfrm>
          <a:prstGeom prst="rect">
            <a:avLst/>
          </a:prstGeom>
        </p:spPr>
      </p:pic>
      <p:pic>
        <p:nvPicPr>
          <p:cNvPr id="7" name="Graphic 6">
            <a:extLst>
              <a:ext uri="{FF2B5EF4-FFF2-40B4-BE49-F238E27FC236}">
                <a16:creationId xmlns:a16="http://schemas.microsoft.com/office/drawing/2014/main" id="{CFE78DDF-00C9-9D40-E691-33ED824A29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24596" y="3417519"/>
            <a:ext cx="348912" cy="471032"/>
          </a:xfrm>
          <a:prstGeom prst="rect">
            <a:avLst/>
          </a:prstGeom>
        </p:spPr>
      </p:pic>
      <p:pic>
        <p:nvPicPr>
          <p:cNvPr id="8" name="Graphic 7">
            <a:extLst>
              <a:ext uri="{FF2B5EF4-FFF2-40B4-BE49-F238E27FC236}">
                <a16:creationId xmlns:a16="http://schemas.microsoft.com/office/drawing/2014/main" id="{D92E170B-63EA-4DC4-F948-378D007EE94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58965" y="3417518"/>
            <a:ext cx="471032" cy="471032"/>
          </a:xfrm>
          <a:prstGeom prst="rect">
            <a:avLst/>
          </a:prstGeom>
        </p:spPr>
      </p:pic>
      <p:cxnSp>
        <p:nvCxnSpPr>
          <p:cNvPr id="9" name="Straight Arrow Connector 8">
            <a:extLst>
              <a:ext uri="{FF2B5EF4-FFF2-40B4-BE49-F238E27FC236}">
                <a16:creationId xmlns:a16="http://schemas.microsoft.com/office/drawing/2014/main" id="{44B2000A-C2F9-B369-4DBC-936F0E3F4D25}"/>
              </a:ext>
            </a:extLst>
          </p:cNvPr>
          <p:cNvCxnSpPr>
            <a:cxnSpLocks/>
          </p:cNvCxnSpPr>
          <p:nvPr/>
        </p:nvCxnSpPr>
        <p:spPr>
          <a:xfrm>
            <a:off x="1023938" y="4797233"/>
            <a:ext cx="6488032" cy="0"/>
          </a:xfrm>
          <a:prstGeom prst="straightConnector1">
            <a:avLst/>
          </a:prstGeom>
          <a:ln w="1587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8468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92695-7796-E07F-E2B7-B4DEB22F7A86}"/>
              </a:ext>
            </a:extLst>
          </p:cNvPr>
          <p:cNvSpPr>
            <a:spLocks noGrp="1"/>
          </p:cNvSpPr>
          <p:nvPr>
            <p:ph type="title"/>
          </p:nvPr>
        </p:nvSpPr>
        <p:spPr>
          <a:xfrm>
            <a:off x="511175" y="1601788"/>
            <a:ext cx="2553237" cy="2398712"/>
          </a:xfrm>
        </p:spPr>
        <p:txBody>
          <a:bodyPr/>
          <a:lstStyle/>
          <a:p>
            <a:r>
              <a:rPr lang="en-US" sz="2800" dirty="0"/>
              <a:t>Accessing infrastructure private finance</a:t>
            </a:r>
          </a:p>
        </p:txBody>
      </p:sp>
      <p:sp>
        <p:nvSpPr>
          <p:cNvPr id="3" name="Text Placeholder 2">
            <a:extLst>
              <a:ext uri="{FF2B5EF4-FFF2-40B4-BE49-F238E27FC236}">
                <a16:creationId xmlns:a16="http://schemas.microsoft.com/office/drawing/2014/main" id="{E01B5F8D-DE66-FA82-18A8-A0D59EAA2DAD}"/>
              </a:ext>
            </a:extLst>
          </p:cNvPr>
          <p:cNvSpPr>
            <a:spLocks noGrp="1"/>
          </p:cNvSpPr>
          <p:nvPr>
            <p:ph type="body" sz="quarter" idx="10"/>
          </p:nvPr>
        </p:nvSpPr>
        <p:spPr/>
        <p:txBody>
          <a:bodyPr/>
          <a:lstStyle/>
          <a:p>
            <a:r>
              <a:rPr lang="en-US" dirty="0"/>
              <a:t>2</a:t>
            </a:r>
          </a:p>
        </p:txBody>
      </p:sp>
      <p:sp>
        <p:nvSpPr>
          <p:cNvPr id="5" name="Title 1">
            <a:extLst>
              <a:ext uri="{FF2B5EF4-FFF2-40B4-BE49-F238E27FC236}">
                <a16:creationId xmlns:a16="http://schemas.microsoft.com/office/drawing/2014/main" id="{8529CE8D-2D21-851E-9B41-D79F5173F45F}"/>
              </a:ext>
            </a:extLst>
          </p:cNvPr>
          <p:cNvSpPr txBox="1">
            <a:spLocks/>
          </p:cNvSpPr>
          <p:nvPr/>
        </p:nvSpPr>
        <p:spPr>
          <a:xfrm>
            <a:off x="511173" y="5719271"/>
            <a:ext cx="3096999" cy="692497"/>
          </a:xfrm>
          <a:prstGeom prst="rect">
            <a:avLst/>
          </a:prstGeom>
        </p:spPr>
        <p:txBody>
          <a:bodyPr vert="horz" wrap="square" lIns="0" tIns="0" rIns="0" bIns="0" rtlCol="0" anchor="t">
            <a:spAutoFit/>
          </a:bodyPr>
          <a:lstStyle>
            <a:lvl1pPr eaLnBrk="1" hangingPunct="1">
              <a:lnSpc>
                <a:spcPct val="90000"/>
              </a:lnSpc>
              <a:defRPr sz="3600" b="0" kern="1200" baseline="0">
                <a:solidFill>
                  <a:schemeClr val="bg1">
                    <a:alpha val="80000"/>
                  </a:schemeClr>
                </a:solidFill>
                <a:latin typeface="+mj-lt"/>
                <a:ea typeface="+mj-ea"/>
                <a:cs typeface="+mj-cs"/>
              </a:defRPr>
            </a:lvl1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80BBAD"/>
                </a:solidFill>
                <a:effectLst/>
                <a:uLnTx/>
                <a:uFillTx/>
                <a:latin typeface="Calibre Semibold" panose="020B0703030202060203" pitchFamily="34" charset="0"/>
                <a:ea typeface="+mj-ea"/>
                <a:cs typeface="+mj-cs"/>
              </a:rPr>
              <a:t>Darryl Murphy</a:t>
            </a:r>
          </a:p>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D1D3"/>
                </a:solidFill>
                <a:effectLst/>
                <a:uLnTx/>
                <a:uFillTx/>
                <a:latin typeface="Calibre"/>
                <a:ea typeface="+mj-ea"/>
                <a:cs typeface="+mj-cs"/>
              </a:rPr>
              <a:t>Managing Director, Head of Infrastructure Debt, AVIVA Investors</a:t>
            </a:r>
          </a:p>
        </p:txBody>
      </p:sp>
      <p:pic>
        <p:nvPicPr>
          <p:cNvPr id="8" name="Picture 7">
            <a:extLst>
              <a:ext uri="{FF2B5EF4-FFF2-40B4-BE49-F238E27FC236}">
                <a16:creationId xmlns:a16="http://schemas.microsoft.com/office/drawing/2014/main" id="{76E90E4A-9211-16E2-0270-106C6E014D9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15812" y="4365104"/>
            <a:ext cx="1016126" cy="1256338"/>
          </a:xfrm>
          <a:prstGeom prst="rect">
            <a:avLst/>
          </a:prstGeom>
        </p:spPr>
      </p:pic>
      <p:pic>
        <p:nvPicPr>
          <p:cNvPr id="9" name="Picture Placeholder 7">
            <a:extLst>
              <a:ext uri="{FF2B5EF4-FFF2-40B4-BE49-F238E27FC236}">
                <a16:creationId xmlns:a16="http://schemas.microsoft.com/office/drawing/2014/main" id="{56EE7544-A0B9-FFD5-2EE8-A58637C0673B}"/>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p:blipFill>
        <p:spPr>
          <a:xfrm>
            <a:off x="7680450" y="476250"/>
            <a:ext cx="3995738" cy="5905500"/>
          </a:xfrm>
        </p:spPr>
      </p:pic>
    </p:spTree>
    <p:extLst>
      <p:ext uri="{BB962C8B-B14F-4D97-AF65-F5344CB8AC3E}">
        <p14:creationId xmlns:p14="http://schemas.microsoft.com/office/powerpoint/2010/main" val="16036792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92695-7796-E07F-E2B7-B4DEB22F7A86}"/>
              </a:ext>
            </a:extLst>
          </p:cNvPr>
          <p:cNvSpPr>
            <a:spLocks noGrp="1"/>
          </p:cNvSpPr>
          <p:nvPr>
            <p:ph type="title"/>
          </p:nvPr>
        </p:nvSpPr>
        <p:spPr>
          <a:xfrm>
            <a:off x="511175" y="1601788"/>
            <a:ext cx="2488481" cy="2398712"/>
          </a:xfrm>
        </p:spPr>
        <p:txBody>
          <a:bodyPr/>
          <a:lstStyle/>
          <a:p>
            <a:r>
              <a:rPr lang="en-US" sz="2800" dirty="0"/>
              <a:t>Regeneration Impact Funds</a:t>
            </a:r>
          </a:p>
        </p:txBody>
      </p:sp>
      <p:sp>
        <p:nvSpPr>
          <p:cNvPr id="3" name="Text Placeholder 2">
            <a:extLst>
              <a:ext uri="{FF2B5EF4-FFF2-40B4-BE49-F238E27FC236}">
                <a16:creationId xmlns:a16="http://schemas.microsoft.com/office/drawing/2014/main" id="{E01B5F8D-DE66-FA82-18A8-A0D59EAA2DAD}"/>
              </a:ext>
            </a:extLst>
          </p:cNvPr>
          <p:cNvSpPr>
            <a:spLocks noGrp="1"/>
          </p:cNvSpPr>
          <p:nvPr>
            <p:ph type="body" sz="quarter" idx="10"/>
          </p:nvPr>
        </p:nvSpPr>
        <p:spPr/>
        <p:txBody>
          <a:bodyPr/>
          <a:lstStyle/>
          <a:p>
            <a:r>
              <a:rPr lang="en-US" dirty="0"/>
              <a:t>5</a:t>
            </a:r>
          </a:p>
        </p:txBody>
      </p:sp>
      <p:pic>
        <p:nvPicPr>
          <p:cNvPr id="9" name="Picture Placeholder 7">
            <a:extLst>
              <a:ext uri="{FF2B5EF4-FFF2-40B4-BE49-F238E27FC236}">
                <a16:creationId xmlns:a16="http://schemas.microsoft.com/office/drawing/2014/main" id="{56EE7544-A0B9-FFD5-2EE8-A58637C0673B}"/>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p:blipFill>
        <p:spPr>
          <a:xfrm>
            <a:off x="7683500" y="476250"/>
            <a:ext cx="3995738" cy="5905500"/>
          </a:xfrm>
        </p:spPr>
      </p:pic>
      <p:sp>
        <p:nvSpPr>
          <p:cNvPr id="6" name="Title 1">
            <a:extLst>
              <a:ext uri="{FF2B5EF4-FFF2-40B4-BE49-F238E27FC236}">
                <a16:creationId xmlns:a16="http://schemas.microsoft.com/office/drawing/2014/main" id="{C9F293A7-A63B-C3F0-223C-B3E436CC1F5F}"/>
              </a:ext>
            </a:extLst>
          </p:cNvPr>
          <p:cNvSpPr txBox="1">
            <a:spLocks/>
          </p:cNvSpPr>
          <p:nvPr/>
        </p:nvSpPr>
        <p:spPr>
          <a:xfrm>
            <a:off x="515814" y="5719271"/>
            <a:ext cx="2339826" cy="692497"/>
          </a:xfrm>
          <a:prstGeom prst="rect">
            <a:avLst/>
          </a:prstGeom>
        </p:spPr>
        <p:txBody>
          <a:bodyPr vert="horz" lIns="0" tIns="0" rIns="0" bIns="0" rtlCol="0" anchor="t">
            <a:spAutoFit/>
          </a:bodyPr>
          <a:lstStyle>
            <a:lvl1pPr eaLnBrk="1" hangingPunct="1">
              <a:lnSpc>
                <a:spcPct val="90000"/>
              </a:lnSpc>
              <a:defRPr sz="3600" b="0" kern="1200" baseline="0">
                <a:solidFill>
                  <a:schemeClr val="bg1">
                    <a:alpha val="80000"/>
                  </a:schemeClr>
                </a:solidFill>
                <a:latin typeface="+mj-lt"/>
                <a:ea typeface="+mj-ea"/>
                <a:cs typeface="+mj-cs"/>
              </a:defRPr>
            </a:lvl1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80BBAD"/>
                </a:solidFill>
                <a:effectLst/>
                <a:uLnTx/>
                <a:uFillTx/>
                <a:latin typeface="Calibre Semibold" panose="020B0703030202060203" pitchFamily="34" charset="0"/>
                <a:ea typeface="+mj-ea"/>
                <a:cs typeface="+mj-cs"/>
              </a:rPr>
              <a:t>Andrew Antoniades </a:t>
            </a:r>
          </a:p>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D1D3"/>
                </a:solidFill>
                <a:effectLst/>
                <a:uLnTx/>
                <a:uFillTx/>
                <a:latin typeface="Calibre"/>
                <a:ea typeface="+mj-ea"/>
                <a:cs typeface="+mj-cs"/>
              </a:rPr>
              <a:t>Executive Director, </a:t>
            </a:r>
            <a:br>
              <a:rPr kumimoji="0" lang="en-GB" sz="1600" b="0" i="0" u="none" strike="noStrike" kern="1200" cap="none" spc="0" normalizeH="0" baseline="0" noProof="0" dirty="0">
                <a:ln>
                  <a:noFill/>
                </a:ln>
                <a:solidFill>
                  <a:srgbClr val="CAD1D3"/>
                </a:solidFill>
                <a:effectLst/>
                <a:uLnTx/>
                <a:uFillTx/>
                <a:latin typeface="Calibre"/>
                <a:ea typeface="+mj-ea"/>
                <a:cs typeface="+mj-cs"/>
              </a:rPr>
            </a:br>
            <a:r>
              <a:rPr kumimoji="0" lang="en-GB" sz="1600" b="0" i="0" u="none" strike="noStrike" kern="1200" cap="none" spc="0" normalizeH="0" baseline="0" noProof="0" dirty="0">
                <a:ln>
                  <a:noFill/>
                </a:ln>
                <a:solidFill>
                  <a:srgbClr val="CAD1D3"/>
                </a:solidFill>
                <a:effectLst/>
                <a:uLnTx/>
                <a:uFillTx/>
                <a:latin typeface="Calibre"/>
                <a:ea typeface="+mj-ea"/>
                <a:cs typeface="+mj-cs"/>
              </a:rPr>
              <a:t>Head of Lending, CBRE</a:t>
            </a:r>
          </a:p>
        </p:txBody>
      </p:sp>
      <p:pic>
        <p:nvPicPr>
          <p:cNvPr id="10" name="Picture 9">
            <a:extLst>
              <a:ext uri="{FF2B5EF4-FFF2-40B4-BE49-F238E27FC236}">
                <a16:creationId xmlns:a16="http://schemas.microsoft.com/office/drawing/2014/main" id="{301B9AC0-6C3C-B802-A095-D24E8AC5924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5815" y="4374233"/>
            <a:ext cx="1016124" cy="1256336"/>
          </a:xfrm>
          <a:prstGeom prst="rect">
            <a:avLst/>
          </a:prstGeom>
        </p:spPr>
      </p:pic>
      <p:sp>
        <p:nvSpPr>
          <p:cNvPr id="11" name="Title 1">
            <a:extLst>
              <a:ext uri="{FF2B5EF4-FFF2-40B4-BE49-F238E27FC236}">
                <a16:creationId xmlns:a16="http://schemas.microsoft.com/office/drawing/2014/main" id="{EC69E874-9FF0-4B96-3BD6-5A9DA012B9AA}"/>
              </a:ext>
            </a:extLst>
          </p:cNvPr>
          <p:cNvSpPr txBox="1">
            <a:spLocks/>
          </p:cNvSpPr>
          <p:nvPr/>
        </p:nvSpPr>
        <p:spPr>
          <a:xfrm>
            <a:off x="3081110" y="5719271"/>
            <a:ext cx="2870874" cy="692497"/>
          </a:xfrm>
          <a:prstGeom prst="rect">
            <a:avLst/>
          </a:prstGeom>
        </p:spPr>
        <p:txBody>
          <a:bodyPr vert="horz" wrap="square" lIns="0" tIns="0" rIns="0" bIns="0" rtlCol="0" anchor="t">
            <a:spAutoFit/>
          </a:bodyPr>
          <a:lstStyle>
            <a:lvl1pPr eaLnBrk="1" hangingPunct="1">
              <a:lnSpc>
                <a:spcPct val="90000"/>
              </a:lnSpc>
              <a:defRPr sz="3600" b="0" kern="1200" baseline="0">
                <a:solidFill>
                  <a:schemeClr val="bg1">
                    <a:alpha val="80000"/>
                  </a:schemeClr>
                </a:solidFill>
                <a:latin typeface="+mj-lt"/>
                <a:ea typeface="+mj-ea"/>
                <a:cs typeface="+mj-cs"/>
              </a:defRPr>
            </a:lvl1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80BBAD"/>
                </a:solidFill>
                <a:effectLst/>
                <a:uLnTx/>
                <a:uFillTx/>
                <a:latin typeface="Calibre Semibold" panose="020B0703030202060203" pitchFamily="34" charset="0"/>
                <a:ea typeface="+mj-ea"/>
                <a:cs typeface="+mj-cs"/>
              </a:rPr>
              <a:t>Andrew McIntosh</a:t>
            </a:r>
          </a:p>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D1D3"/>
                </a:solidFill>
                <a:effectLst/>
                <a:uLnTx/>
                <a:uFillTx/>
                <a:latin typeface="Calibre"/>
                <a:ea typeface="+mj-ea"/>
                <a:cs typeface="+mj-cs"/>
              </a:rPr>
              <a:t>Head of Place, Greater Manchester Combined Authority (GMCA)</a:t>
            </a:r>
          </a:p>
        </p:txBody>
      </p:sp>
      <p:pic>
        <p:nvPicPr>
          <p:cNvPr id="12" name="Picture 11">
            <a:extLst>
              <a:ext uri="{FF2B5EF4-FFF2-40B4-BE49-F238E27FC236}">
                <a16:creationId xmlns:a16="http://schemas.microsoft.com/office/drawing/2014/main" id="{A838D914-7FB2-E9B4-0DA4-D83DADE61CB4}"/>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081111" y="4378031"/>
            <a:ext cx="1013052" cy="1252537"/>
          </a:xfrm>
          <a:prstGeom prst="rect">
            <a:avLst/>
          </a:prstGeom>
        </p:spPr>
      </p:pic>
    </p:spTree>
    <p:extLst>
      <p:ext uri="{BB962C8B-B14F-4D97-AF65-F5344CB8AC3E}">
        <p14:creationId xmlns:p14="http://schemas.microsoft.com/office/powerpoint/2010/main" val="13626659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92695-7796-E07F-E2B7-B4DEB22F7A86}"/>
              </a:ext>
            </a:extLst>
          </p:cNvPr>
          <p:cNvSpPr>
            <a:spLocks noGrp="1"/>
          </p:cNvSpPr>
          <p:nvPr>
            <p:ph type="title"/>
          </p:nvPr>
        </p:nvSpPr>
        <p:spPr>
          <a:xfrm>
            <a:off x="511174" y="1601788"/>
            <a:ext cx="5584825" cy="2398712"/>
          </a:xfrm>
        </p:spPr>
        <p:txBody>
          <a:bodyPr/>
          <a:lstStyle/>
          <a:p>
            <a:r>
              <a:rPr lang="en-GB" sz="2800" dirty="0"/>
              <a:t>Panel Discussion</a:t>
            </a:r>
            <a:endParaRPr lang="en-US" sz="2800" dirty="0"/>
          </a:p>
        </p:txBody>
      </p:sp>
      <p:sp>
        <p:nvSpPr>
          <p:cNvPr id="3" name="Text Placeholder 2">
            <a:extLst>
              <a:ext uri="{FF2B5EF4-FFF2-40B4-BE49-F238E27FC236}">
                <a16:creationId xmlns:a16="http://schemas.microsoft.com/office/drawing/2014/main" id="{E01B5F8D-DE66-FA82-18A8-A0D59EAA2DAD}"/>
              </a:ext>
            </a:extLst>
          </p:cNvPr>
          <p:cNvSpPr>
            <a:spLocks noGrp="1"/>
          </p:cNvSpPr>
          <p:nvPr>
            <p:ph type="body" sz="quarter" idx="10"/>
          </p:nvPr>
        </p:nvSpPr>
        <p:spPr/>
        <p:txBody>
          <a:bodyPr/>
          <a:lstStyle/>
          <a:p>
            <a:r>
              <a:rPr lang="en-US" dirty="0"/>
              <a:t>6</a:t>
            </a:r>
          </a:p>
        </p:txBody>
      </p:sp>
      <p:pic>
        <p:nvPicPr>
          <p:cNvPr id="9" name="Picture Placeholder 7">
            <a:extLst>
              <a:ext uri="{FF2B5EF4-FFF2-40B4-BE49-F238E27FC236}">
                <a16:creationId xmlns:a16="http://schemas.microsoft.com/office/drawing/2014/main" id="{56EE7544-A0B9-FFD5-2EE8-A58637C0673B}"/>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p:blipFill>
        <p:spPr>
          <a:xfrm>
            <a:off x="7683500" y="476250"/>
            <a:ext cx="3995738" cy="5905500"/>
          </a:xfrm>
        </p:spPr>
      </p:pic>
      <p:sp>
        <p:nvSpPr>
          <p:cNvPr id="15" name="Title 1">
            <a:extLst>
              <a:ext uri="{FF2B5EF4-FFF2-40B4-BE49-F238E27FC236}">
                <a16:creationId xmlns:a16="http://schemas.microsoft.com/office/drawing/2014/main" id="{1FA121ED-6841-B660-7842-ED21966C6A49}"/>
              </a:ext>
            </a:extLst>
          </p:cNvPr>
          <p:cNvSpPr txBox="1">
            <a:spLocks/>
          </p:cNvSpPr>
          <p:nvPr/>
        </p:nvSpPr>
        <p:spPr>
          <a:xfrm>
            <a:off x="3590801" y="3478799"/>
            <a:ext cx="2624981" cy="692497"/>
          </a:xfrm>
          <a:prstGeom prst="rect">
            <a:avLst/>
          </a:prstGeom>
        </p:spPr>
        <p:txBody>
          <a:bodyPr vert="horz" wrap="square" lIns="0" tIns="0" rIns="0" bIns="0" rtlCol="0" anchor="t">
            <a:spAutoFit/>
          </a:bodyPr>
          <a:lstStyle>
            <a:lvl1pPr eaLnBrk="1" hangingPunct="1">
              <a:lnSpc>
                <a:spcPct val="90000"/>
              </a:lnSpc>
              <a:defRPr sz="3600" b="0" kern="1200" baseline="0">
                <a:solidFill>
                  <a:schemeClr val="bg1">
                    <a:alpha val="80000"/>
                  </a:schemeClr>
                </a:solidFill>
                <a:latin typeface="+mj-lt"/>
                <a:ea typeface="+mj-ea"/>
                <a:cs typeface="+mj-cs"/>
              </a:defRPr>
            </a:lvl1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80BBAD"/>
                </a:solidFill>
                <a:effectLst/>
                <a:uLnTx/>
                <a:uFillTx/>
                <a:latin typeface="Calibre Semibold" panose="020B0703030202060203" pitchFamily="34" charset="0"/>
                <a:ea typeface="+mj-ea"/>
                <a:cs typeface="+mj-cs"/>
              </a:rPr>
              <a:t>Jeremy Barker</a:t>
            </a:r>
          </a:p>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D1D3"/>
                </a:solidFill>
                <a:effectLst/>
                <a:uLnTx/>
                <a:uFillTx/>
                <a:latin typeface="Calibre"/>
                <a:ea typeface="+mj-ea"/>
                <a:cs typeface="+mj-cs"/>
              </a:rPr>
              <a:t>Director, Banking &amp; Investments, </a:t>
            </a:r>
            <a:br>
              <a:rPr kumimoji="0" lang="en-GB" sz="1600" b="0" i="0" u="none" strike="noStrike" kern="1200" cap="none" spc="0" normalizeH="0" baseline="0" noProof="0" dirty="0">
                <a:ln>
                  <a:noFill/>
                </a:ln>
                <a:solidFill>
                  <a:srgbClr val="CAD1D3"/>
                </a:solidFill>
                <a:effectLst/>
                <a:uLnTx/>
                <a:uFillTx/>
                <a:latin typeface="Calibre"/>
                <a:ea typeface="+mj-ea"/>
                <a:cs typeface="+mj-cs"/>
              </a:rPr>
            </a:br>
            <a:r>
              <a:rPr kumimoji="0" lang="en-GB" sz="1600" b="0" i="0" u="none" strike="noStrike" kern="1200" cap="none" spc="0" normalizeH="0" baseline="0" noProof="0" dirty="0">
                <a:ln>
                  <a:noFill/>
                </a:ln>
                <a:solidFill>
                  <a:srgbClr val="CAD1D3"/>
                </a:solidFill>
                <a:effectLst/>
                <a:uLnTx/>
                <a:uFillTx/>
                <a:latin typeface="Calibre"/>
                <a:ea typeface="+mj-ea"/>
                <a:cs typeface="+mj-cs"/>
              </a:rPr>
              <a:t>UK Infrastructure Bank</a:t>
            </a:r>
          </a:p>
        </p:txBody>
      </p:sp>
      <p:pic>
        <p:nvPicPr>
          <p:cNvPr id="16" name="Picture 15">
            <a:extLst>
              <a:ext uri="{FF2B5EF4-FFF2-40B4-BE49-F238E27FC236}">
                <a16:creationId xmlns:a16="http://schemas.microsoft.com/office/drawing/2014/main" id="{AAACD8EE-C8B3-C833-EE6C-095F9B43744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590802" y="2137559"/>
            <a:ext cx="1016123" cy="1256334"/>
          </a:xfrm>
          <a:prstGeom prst="rect">
            <a:avLst/>
          </a:prstGeom>
        </p:spPr>
      </p:pic>
      <p:sp>
        <p:nvSpPr>
          <p:cNvPr id="4" name="Title 1">
            <a:extLst>
              <a:ext uri="{FF2B5EF4-FFF2-40B4-BE49-F238E27FC236}">
                <a16:creationId xmlns:a16="http://schemas.microsoft.com/office/drawing/2014/main" id="{68F38FB7-BA28-C6B1-6E25-DBC56755F64D}"/>
              </a:ext>
            </a:extLst>
          </p:cNvPr>
          <p:cNvSpPr txBox="1">
            <a:spLocks/>
          </p:cNvSpPr>
          <p:nvPr/>
        </p:nvSpPr>
        <p:spPr>
          <a:xfrm>
            <a:off x="518888" y="3478799"/>
            <a:ext cx="2336752" cy="914096"/>
          </a:xfrm>
          <a:prstGeom prst="rect">
            <a:avLst/>
          </a:prstGeom>
        </p:spPr>
        <p:txBody>
          <a:bodyPr vert="horz" wrap="square" lIns="0" tIns="0" rIns="0" bIns="0" rtlCol="0" anchor="t">
            <a:spAutoFit/>
          </a:bodyPr>
          <a:lstStyle>
            <a:lvl1pPr eaLnBrk="1" hangingPunct="1">
              <a:lnSpc>
                <a:spcPct val="90000"/>
              </a:lnSpc>
              <a:defRPr sz="3600" b="0" kern="1200" baseline="0">
                <a:solidFill>
                  <a:schemeClr val="bg1">
                    <a:alpha val="80000"/>
                  </a:schemeClr>
                </a:solidFill>
                <a:latin typeface="+mj-lt"/>
                <a:ea typeface="+mj-ea"/>
                <a:cs typeface="+mj-cs"/>
              </a:defRPr>
            </a:lvl1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80BBAD"/>
                </a:solidFill>
                <a:effectLst/>
                <a:uLnTx/>
                <a:uFillTx/>
                <a:latin typeface="Calibre Semibold" panose="020B0703030202060203" pitchFamily="34" charset="0"/>
                <a:ea typeface="+mj-ea"/>
                <a:cs typeface="+mj-cs"/>
              </a:rPr>
              <a:t>Catherine Birks</a:t>
            </a:r>
          </a:p>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D1D3"/>
                </a:solidFill>
                <a:effectLst/>
                <a:uLnTx/>
                <a:uFillTx/>
                <a:latin typeface="Calibre"/>
                <a:ea typeface="+mj-ea"/>
                <a:cs typeface="+mj-cs"/>
              </a:rPr>
              <a:t>Senior Director, Development Advisory, CBRE</a:t>
            </a:r>
          </a:p>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D1D3"/>
                </a:solidFill>
                <a:effectLst/>
                <a:uLnTx/>
                <a:uFillTx/>
                <a:latin typeface="Calibre"/>
                <a:ea typeface="+mj-ea"/>
                <a:cs typeface="+mj-cs"/>
              </a:rPr>
              <a:t> </a:t>
            </a:r>
          </a:p>
        </p:txBody>
      </p:sp>
      <p:pic>
        <p:nvPicPr>
          <p:cNvPr id="6" name="Picture 5">
            <a:extLst>
              <a:ext uri="{FF2B5EF4-FFF2-40B4-BE49-F238E27FC236}">
                <a16:creationId xmlns:a16="http://schemas.microsoft.com/office/drawing/2014/main" id="{B674EF22-63DC-712C-0903-D6F44AD1CFE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18887" y="2137559"/>
            <a:ext cx="1013052" cy="1252537"/>
          </a:xfrm>
          <a:prstGeom prst="rect">
            <a:avLst/>
          </a:prstGeom>
        </p:spPr>
      </p:pic>
      <p:sp>
        <p:nvSpPr>
          <p:cNvPr id="7" name="Title 1">
            <a:extLst>
              <a:ext uri="{FF2B5EF4-FFF2-40B4-BE49-F238E27FC236}">
                <a16:creationId xmlns:a16="http://schemas.microsoft.com/office/drawing/2014/main" id="{EEAFE582-B4D5-DEB5-EDBA-07718702100C}"/>
              </a:ext>
            </a:extLst>
          </p:cNvPr>
          <p:cNvSpPr txBox="1">
            <a:spLocks/>
          </p:cNvSpPr>
          <p:nvPr/>
        </p:nvSpPr>
        <p:spPr>
          <a:xfrm>
            <a:off x="515814" y="5694786"/>
            <a:ext cx="2746370" cy="941796"/>
          </a:xfrm>
          <a:prstGeom prst="rect">
            <a:avLst/>
          </a:prstGeom>
        </p:spPr>
        <p:txBody>
          <a:bodyPr vert="horz" wrap="square" lIns="0" tIns="0" rIns="0" bIns="0" rtlCol="0" anchor="t">
            <a:spAutoFit/>
          </a:bodyPr>
          <a:lstStyle>
            <a:lvl1pPr eaLnBrk="1" hangingPunct="1">
              <a:lnSpc>
                <a:spcPct val="90000"/>
              </a:lnSpc>
              <a:defRPr sz="3600" b="0" kern="1200" baseline="0">
                <a:solidFill>
                  <a:schemeClr val="bg1">
                    <a:alpha val="80000"/>
                  </a:schemeClr>
                </a:solidFill>
                <a:latin typeface="+mj-lt"/>
                <a:ea typeface="+mj-ea"/>
                <a:cs typeface="+mj-cs"/>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80BBAD"/>
                </a:solidFill>
                <a:effectLst/>
                <a:uLnTx/>
                <a:uFillTx/>
                <a:latin typeface="Calibre Semibold" panose="020B0703030202060203" pitchFamily="34" charset="0"/>
                <a:ea typeface="+mj-ea"/>
                <a:cs typeface="+mj-cs"/>
              </a:rPr>
              <a:t>Darryl Murphy</a:t>
            </a:r>
          </a:p>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D1D3"/>
                </a:solidFill>
                <a:effectLst/>
                <a:uLnTx/>
                <a:uFillTx/>
                <a:latin typeface="Calibre"/>
                <a:ea typeface="+mj-ea"/>
                <a:cs typeface="+mj-cs"/>
              </a:rPr>
              <a:t>Managing Director, Head of Infrastructure Debt, AVIVA Investors</a:t>
            </a:r>
          </a:p>
        </p:txBody>
      </p:sp>
      <p:pic>
        <p:nvPicPr>
          <p:cNvPr id="10" name="Picture 9">
            <a:extLst>
              <a:ext uri="{FF2B5EF4-FFF2-40B4-BE49-F238E27FC236}">
                <a16:creationId xmlns:a16="http://schemas.microsoft.com/office/drawing/2014/main" id="{3D4A87AF-69BD-A6DD-E428-D3E4452C470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15815" y="4349748"/>
            <a:ext cx="1016124" cy="1256336"/>
          </a:xfrm>
          <a:prstGeom prst="rect">
            <a:avLst/>
          </a:prstGeom>
        </p:spPr>
      </p:pic>
      <p:sp>
        <p:nvSpPr>
          <p:cNvPr id="11" name="Title 1">
            <a:extLst>
              <a:ext uri="{FF2B5EF4-FFF2-40B4-BE49-F238E27FC236}">
                <a16:creationId xmlns:a16="http://schemas.microsoft.com/office/drawing/2014/main" id="{6A65FAF3-3EB6-850E-0AA7-E8615BB006BC}"/>
              </a:ext>
            </a:extLst>
          </p:cNvPr>
          <p:cNvSpPr txBox="1">
            <a:spLocks/>
          </p:cNvSpPr>
          <p:nvPr/>
        </p:nvSpPr>
        <p:spPr>
          <a:xfrm>
            <a:off x="3590802" y="5694786"/>
            <a:ext cx="2962503" cy="692497"/>
          </a:xfrm>
          <a:prstGeom prst="rect">
            <a:avLst/>
          </a:prstGeom>
        </p:spPr>
        <p:txBody>
          <a:bodyPr vert="horz" wrap="square" lIns="0" tIns="0" rIns="0" bIns="0" rtlCol="0" anchor="t">
            <a:spAutoFit/>
          </a:bodyPr>
          <a:lstStyle>
            <a:lvl1pPr eaLnBrk="1" hangingPunct="1">
              <a:lnSpc>
                <a:spcPct val="90000"/>
              </a:lnSpc>
              <a:defRPr sz="3600" b="0" kern="1200" baseline="0">
                <a:solidFill>
                  <a:schemeClr val="bg1">
                    <a:alpha val="80000"/>
                  </a:schemeClr>
                </a:solidFill>
                <a:latin typeface="+mj-lt"/>
                <a:ea typeface="+mj-ea"/>
                <a:cs typeface="+mj-cs"/>
              </a:defRPr>
            </a:lvl1pPr>
          </a:lstStyle>
          <a:p>
            <a:pPr marL="0" marR="0" lvl="0" indent="0" defTabSz="914400" eaLnBrk="1" fontAlgn="auto" latinLnBrk="0" hangingPunct="1">
              <a:lnSpc>
                <a:spcPct val="9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80BBAD"/>
                </a:solidFill>
                <a:effectLst/>
                <a:uLnTx/>
                <a:uFillTx/>
                <a:latin typeface="Calibre Semibold" panose="020B0703030202060203" pitchFamily="34" charset="0"/>
                <a:ea typeface="+mj-ea"/>
                <a:cs typeface="+mj-cs"/>
              </a:rPr>
              <a:t>Andrew McIntosh</a:t>
            </a:r>
          </a:p>
          <a:p>
            <a:pPr marL="0" marR="0" lvl="0" indent="0" defTabSz="914400" eaLnBrk="1" fontAlgn="auto" latinLnBrk="0" hangingPunct="1">
              <a:lnSpc>
                <a:spcPct val="9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D1D3"/>
                </a:solidFill>
                <a:effectLst/>
                <a:uLnTx/>
                <a:uFillTx/>
                <a:latin typeface="Calibre"/>
                <a:ea typeface="+mj-ea"/>
                <a:cs typeface="+mj-cs"/>
              </a:rPr>
              <a:t>Head of Place, Greater Manchester Combined Authority (GMCA)</a:t>
            </a:r>
          </a:p>
        </p:txBody>
      </p:sp>
      <p:pic>
        <p:nvPicPr>
          <p:cNvPr id="12" name="Picture 11">
            <a:extLst>
              <a:ext uri="{FF2B5EF4-FFF2-40B4-BE49-F238E27FC236}">
                <a16:creationId xmlns:a16="http://schemas.microsoft.com/office/drawing/2014/main" id="{3CDB2FB4-A68A-6FED-FB26-D05482BCED6F}"/>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590802" y="4353546"/>
            <a:ext cx="1013052" cy="1252537"/>
          </a:xfrm>
          <a:prstGeom prst="rect">
            <a:avLst/>
          </a:prstGeom>
        </p:spPr>
      </p:pic>
    </p:spTree>
    <p:extLst>
      <p:ext uri="{BB962C8B-B14F-4D97-AF65-F5344CB8AC3E}">
        <p14:creationId xmlns:p14="http://schemas.microsoft.com/office/powerpoint/2010/main" val="26778962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7">
            <a:extLst>
              <a:ext uri="{FF2B5EF4-FFF2-40B4-BE49-F238E27FC236}">
                <a16:creationId xmlns:a16="http://schemas.microsoft.com/office/drawing/2014/main" id="{56EE7544-A0B9-FFD5-2EE8-A58637C0673B}"/>
              </a:ext>
            </a:extLst>
          </p:cNvPr>
          <p:cNvPicPr>
            <a:picLocks noGrp="1" noChangeAspect="1"/>
          </p:cNvPicPr>
          <p:nvPr>
            <p:ph type="pic" sz="quarter" idx="11"/>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p:spPr>
      </p:pic>
      <p:pic>
        <p:nvPicPr>
          <p:cNvPr id="4" name="Picture Placeholder 7">
            <a:extLst>
              <a:ext uri="{FF2B5EF4-FFF2-40B4-BE49-F238E27FC236}">
                <a16:creationId xmlns:a16="http://schemas.microsoft.com/office/drawing/2014/main" id="{7868886B-2924-0C94-E503-96C5F8F519A0}"/>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artisticBlur radius="60"/>
                    </a14:imgEffect>
                  </a14:imgLayer>
                </a14:imgProps>
              </a:ext>
              <a:ext uri="{28A0092B-C50C-407E-A947-70E740481C1C}">
                <a14:useLocalDpi xmlns:a14="http://schemas.microsoft.com/office/drawing/2010/main"/>
              </a:ext>
            </a:extLst>
          </a:blip>
          <a:srcRect/>
          <a:stretch/>
        </p:blipFill>
        <p:spPr>
          <a:xfrm>
            <a:off x="-1" y="0"/>
            <a:ext cx="5019676" cy="6858000"/>
          </a:xfrm>
          <a:prstGeom prst="rect">
            <a:avLst/>
          </a:prstGeom>
        </p:spPr>
      </p:pic>
      <p:sp>
        <p:nvSpPr>
          <p:cNvPr id="2" name="Title 1">
            <a:extLst>
              <a:ext uri="{FF2B5EF4-FFF2-40B4-BE49-F238E27FC236}">
                <a16:creationId xmlns:a16="http://schemas.microsoft.com/office/drawing/2014/main" id="{7B392695-7796-E07F-E2B7-B4DEB22F7A86}"/>
              </a:ext>
            </a:extLst>
          </p:cNvPr>
          <p:cNvSpPr>
            <a:spLocks noGrp="1"/>
          </p:cNvSpPr>
          <p:nvPr>
            <p:ph type="title"/>
          </p:nvPr>
        </p:nvSpPr>
        <p:spPr>
          <a:xfrm>
            <a:off x="508000" y="5062642"/>
            <a:ext cx="2562225" cy="1329595"/>
          </a:xfrm>
        </p:spPr>
        <p:txBody>
          <a:bodyPr wrap="square">
            <a:spAutoFit/>
          </a:bodyPr>
          <a:lstStyle/>
          <a:p>
            <a:r>
              <a:rPr lang="en-GB" sz="4800" dirty="0">
                <a:solidFill>
                  <a:schemeClr val="bg1"/>
                </a:solidFill>
              </a:rPr>
              <a:t>Panel Discussion</a:t>
            </a:r>
            <a:endParaRPr lang="en-US" sz="4800" dirty="0">
              <a:solidFill>
                <a:schemeClr val="bg1"/>
              </a:solidFill>
            </a:endParaRPr>
          </a:p>
        </p:txBody>
      </p:sp>
      <p:sp>
        <p:nvSpPr>
          <p:cNvPr id="3" name="Text Placeholder 2">
            <a:extLst>
              <a:ext uri="{FF2B5EF4-FFF2-40B4-BE49-F238E27FC236}">
                <a16:creationId xmlns:a16="http://schemas.microsoft.com/office/drawing/2014/main" id="{E01B5F8D-DE66-FA82-18A8-A0D59EAA2DAD}"/>
              </a:ext>
            </a:extLst>
          </p:cNvPr>
          <p:cNvSpPr>
            <a:spLocks noGrp="1"/>
          </p:cNvSpPr>
          <p:nvPr>
            <p:ph type="body" sz="quarter" idx="10"/>
          </p:nvPr>
        </p:nvSpPr>
        <p:spPr>
          <a:xfrm>
            <a:off x="508000" y="452438"/>
            <a:ext cx="1436687" cy="1147763"/>
          </a:xfrm>
        </p:spPr>
        <p:txBody>
          <a:bodyPr/>
          <a:lstStyle/>
          <a:p>
            <a:r>
              <a:rPr lang="en-US" dirty="0">
                <a:solidFill>
                  <a:schemeClr val="bg1"/>
                </a:solidFill>
              </a:rPr>
              <a:t>6</a:t>
            </a:r>
          </a:p>
        </p:txBody>
      </p:sp>
      <p:cxnSp>
        <p:nvCxnSpPr>
          <p:cNvPr id="6" name="Straight Connector 5">
            <a:extLst>
              <a:ext uri="{FF2B5EF4-FFF2-40B4-BE49-F238E27FC236}">
                <a16:creationId xmlns:a16="http://schemas.microsoft.com/office/drawing/2014/main" id="{8A44B914-57BE-91B7-7B20-5B740C624969}"/>
              </a:ext>
            </a:extLst>
          </p:cNvPr>
          <p:cNvCxnSpPr>
            <a:cxnSpLocks/>
          </p:cNvCxnSpPr>
          <p:nvPr/>
        </p:nvCxnSpPr>
        <p:spPr>
          <a:xfrm>
            <a:off x="592197" y="1600201"/>
            <a:ext cx="0" cy="3376913"/>
          </a:xfrm>
          <a:prstGeom prst="line">
            <a:avLst/>
          </a:prstGeom>
          <a:ln w="44450">
            <a:solidFill>
              <a:srgbClr val="17E88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78586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9842B23-A5F5-89DF-60B3-6F685303F35E}"/>
              </a:ext>
            </a:extLst>
          </p:cNvPr>
          <p:cNvSpPr>
            <a:spLocks noGrp="1"/>
          </p:cNvSpPr>
          <p:nvPr>
            <p:ph type="ctrTitle"/>
          </p:nvPr>
        </p:nvSpPr>
        <p:spPr>
          <a:xfrm>
            <a:off x="1095930" y="1999047"/>
            <a:ext cx="6671851" cy="2263671"/>
          </a:xfrm>
        </p:spPr>
        <p:txBody>
          <a:bodyPr/>
          <a:lstStyle/>
          <a:p>
            <a:r>
              <a:rPr lang="en-GB" dirty="0"/>
              <a:t>UK Infrastructure Investor Appetite</a:t>
            </a:r>
          </a:p>
        </p:txBody>
      </p:sp>
      <p:sp>
        <p:nvSpPr>
          <p:cNvPr id="9" name="Subtitle 8">
            <a:extLst>
              <a:ext uri="{FF2B5EF4-FFF2-40B4-BE49-F238E27FC236}">
                <a16:creationId xmlns:a16="http://schemas.microsoft.com/office/drawing/2014/main" id="{F572B844-61EB-CD1C-79CE-AE3258B35E9A}"/>
              </a:ext>
            </a:extLst>
          </p:cNvPr>
          <p:cNvSpPr>
            <a:spLocks noGrp="1"/>
          </p:cNvSpPr>
          <p:nvPr>
            <p:ph type="subTitle" idx="1"/>
          </p:nvPr>
        </p:nvSpPr>
        <p:spPr>
          <a:xfrm>
            <a:off x="1095931" y="4978800"/>
            <a:ext cx="4572000" cy="307777"/>
          </a:xfrm>
        </p:spPr>
        <p:txBody>
          <a:bodyPr/>
          <a:lstStyle/>
          <a:p>
            <a:r>
              <a:rPr lang="en-GB" dirty="0"/>
              <a:t>February 2024</a:t>
            </a:r>
          </a:p>
        </p:txBody>
      </p:sp>
    </p:spTree>
    <p:extLst>
      <p:ext uri="{BB962C8B-B14F-4D97-AF65-F5344CB8AC3E}">
        <p14:creationId xmlns:p14="http://schemas.microsoft.com/office/powerpoint/2010/main" val="37207037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3890677-F5B2-4300-8133-622BAA032FBD}"/>
              </a:ext>
            </a:extLst>
          </p:cNvPr>
          <p:cNvSpPr>
            <a:spLocks noGrp="1"/>
          </p:cNvSpPr>
          <p:nvPr>
            <p:ph type="title"/>
          </p:nvPr>
        </p:nvSpPr>
        <p:spPr/>
        <p:txBody>
          <a:bodyPr/>
          <a:lstStyle/>
          <a:p>
            <a:r>
              <a:rPr lang="en-GB" dirty="0"/>
              <a:t>What do we do?</a:t>
            </a:r>
          </a:p>
        </p:txBody>
      </p:sp>
      <p:sp>
        <p:nvSpPr>
          <p:cNvPr id="4" name="Text Placeholder 3">
            <a:extLst>
              <a:ext uri="{FF2B5EF4-FFF2-40B4-BE49-F238E27FC236}">
                <a16:creationId xmlns:a16="http://schemas.microsoft.com/office/drawing/2014/main" id="{77C7CACC-1F16-4294-B42A-111178850BB2}"/>
              </a:ext>
            </a:extLst>
          </p:cNvPr>
          <p:cNvSpPr>
            <a:spLocks noGrp="1"/>
          </p:cNvSpPr>
          <p:nvPr>
            <p:ph type="body" sz="quarter" idx="13"/>
          </p:nvPr>
        </p:nvSpPr>
        <p:spPr>
          <a:xfrm>
            <a:off x="1095375" y="1628775"/>
            <a:ext cx="6944841" cy="914400"/>
          </a:xfrm>
        </p:spPr>
        <p:txBody>
          <a:bodyPr/>
          <a:lstStyle/>
          <a:p>
            <a:r>
              <a:rPr lang="en-GB" dirty="0"/>
              <a:t>Asset management involves investing money on behalf of clients to meet their investment objectives</a:t>
            </a:r>
          </a:p>
          <a:p>
            <a:endParaRPr lang="en-GB" dirty="0"/>
          </a:p>
        </p:txBody>
      </p:sp>
      <p:sp>
        <p:nvSpPr>
          <p:cNvPr id="33" name="Rectangle: Rounded Corners 32">
            <a:extLst>
              <a:ext uri="{FF2B5EF4-FFF2-40B4-BE49-F238E27FC236}">
                <a16:creationId xmlns:a16="http://schemas.microsoft.com/office/drawing/2014/main" id="{6EB24350-6139-4B7D-9244-9672CDB2AE78}"/>
              </a:ext>
            </a:extLst>
          </p:cNvPr>
          <p:cNvSpPr/>
          <p:nvPr/>
        </p:nvSpPr>
        <p:spPr>
          <a:xfrm>
            <a:off x="1092200" y="2572598"/>
            <a:ext cx="2570413" cy="3292743"/>
          </a:xfrm>
          <a:prstGeom prst="roundRect">
            <a:avLst>
              <a:gd name="adj" fmla="val 0"/>
            </a:avLst>
          </a:prstGeom>
          <a:solidFill>
            <a:schemeClr val="accent2"/>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ource Sans Pro"/>
              <a:ea typeface="+mn-ea"/>
              <a:cs typeface="+mn-cs"/>
            </a:endParaRPr>
          </a:p>
        </p:txBody>
      </p:sp>
      <p:pic>
        <p:nvPicPr>
          <p:cNvPr id="34" name="Content Placeholder 8" descr="Man with cane">
            <a:extLst>
              <a:ext uri="{FF2B5EF4-FFF2-40B4-BE49-F238E27FC236}">
                <a16:creationId xmlns:a16="http://schemas.microsoft.com/office/drawing/2014/main" id="{99F828B6-0A04-42B1-9E2D-A99F806BD85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889626" y="2649491"/>
            <a:ext cx="914400" cy="914400"/>
          </a:xfrm>
          <a:prstGeom prst="rect">
            <a:avLst/>
          </a:prstGeom>
        </p:spPr>
      </p:pic>
      <p:pic>
        <p:nvPicPr>
          <p:cNvPr id="35" name="Graphic 34" descr="Family with girl">
            <a:extLst>
              <a:ext uri="{FF2B5EF4-FFF2-40B4-BE49-F238E27FC236}">
                <a16:creationId xmlns:a16="http://schemas.microsoft.com/office/drawing/2014/main" id="{4DC6132B-5C09-4D9B-91AA-35AB969E505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89626" y="3645024"/>
            <a:ext cx="914400" cy="914400"/>
          </a:xfrm>
          <a:prstGeom prst="rect">
            <a:avLst/>
          </a:prstGeom>
        </p:spPr>
      </p:pic>
      <p:pic>
        <p:nvPicPr>
          <p:cNvPr id="36" name="Graphic 35" descr="Group success">
            <a:extLst>
              <a:ext uri="{FF2B5EF4-FFF2-40B4-BE49-F238E27FC236}">
                <a16:creationId xmlns:a16="http://schemas.microsoft.com/office/drawing/2014/main" id="{235ACE26-82FD-4B9E-879F-B6EC42CF57F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594389" y="4457825"/>
            <a:ext cx="1504874" cy="1504874"/>
          </a:xfrm>
          <a:prstGeom prst="rect">
            <a:avLst/>
          </a:prstGeom>
        </p:spPr>
      </p:pic>
      <p:pic>
        <p:nvPicPr>
          <p:cNvPr id="39" name="Graphic 38" descr="Piggy Bank">
            <a:extLst>
              <a:ext uri="{FF2B5EF4-FFF2-40B4-BE49-F238E27FC236}">
                <a16:creationId xmlns:a16="http://schemas.microsoft.com/office/drawing/2014/main" id="{7CBE68F5-D418-49BD-A89A-59407592B16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95047" y="3429000"/>
            <a:ext cx="914400" cy="914400"/>
          </a:xfrm>
          <a:prstGeom prst="rect">
            <a:avLst/>
          </a:prstGeom>
        </p:spPr>
      </p:pic>
      <p:pic>
        <p:nvPicPr>
          <p:cNvPr id="42" name="Graphic 41" descr="Man">
            <a:extLst>
              <a:ext uri="{FF2B5EF4-FFF2-40B4-BE49-F238E27FC236}">
                <a16:creationId xmlns:a16="http://schemas.microsoft.com/office/drawing/2014/main" id="{1E614144-E4D1-4610-BF9E-4496ECF516CE}"/>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841881" y="3429000"/>
            <a:ext cx="914400" cy="914400"/>
          </a:xfrm>
          <a:prstGeom prst="rect">
            <a:avLst/>
          </a:prstGeom>
        </p:spPr>
      </p:pic>
      <p:grpSp>
        <p:nvGrpSpPr>
          <p:cNvPr id="6" name="Group 5">
            <a:extLst>
              <a:ext uri="{FF2B5EF4-FFF2-40B4-BE49-F238E27FC236}">
                <a16:creationId xmlns:a16="http://schemas.microsoft.com/office/drawing/2014/main" id="{E498A3B2-4A09-92E4-B445-7CC5725542FD}"/>
              </a:ext>
            </a:extLst>
          </p:cNvPr>
          <p:cNvGrpSpPr/>
          <p:nvPr/>
        </p:nvGrpSpPr>
        <p:grpSpPr>
          <a:xfrm>
            <a:off x="7388715" y="3429000"/>
            <a:ext cx="914400" cy="914400"/>
            <a:chOff x="7260714" y="3640784"/>
            <a:chExt cx="914400" cy="914400"/>
          </a:xfrm>
        </p:grpSpPr>
        <p:pic>
          <p:nvPicPr>
            <p:cNvPr id="45" name="Graphic 44" descr="Monitor">
              <a:extLst>
                <a:ext uri="{FF2B5EF4-FFF2-40B4-BE49-F238E27FC236}">
                  <a16:creationId xmlns:a16="http://schemas.microsoft.com/office/drawing/2014/main" id="{DCBF27CA-9882-4AB7-8BB7-6DCA0623062A}"/>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260714" y="3640784"/>
              <a:ext cx="914400" cy="914400"/>
            </a:xfrm>
            <a:prstGeom prst="rect">
              <a:avLst/>
            </a:prstGeom>
          </p:spPr>
        </p:pic>
        <p:pic>
          <p:nvPicPr>
            <p:cNvPr id="46" name="Graphic 45" descr="Upward trend">
              <a:extLst>
                <a:ext uri="{FF2B5EF4-FFF2-40B4-BE49-F238E27FC236}">
                  <a16:creationId xmlns:a16="http://schemas.microsoft.com/office/drawing/2014/main" id="{22B217E3-2FCD-433F-9685-3253120E8A22}"/>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509261" y="3812438"/>
              <a:ext cx="417305" cy="417305"/>
            </a:xfrm>
            <a:prstGeom prst="rect">
              <a:avLst/>
            </a:prstGeom>
          </p:spPr>
        </p:pic>
      </p:grpSp>
      <p:sp>
        <p:nvSpPr>
          <p:cNvPr id="55" name="TextBox 54">
            <a:extLst>
              <a:ext uri="{FF2B5EF4-FFF2-40B4-BE49-F238E27FC236}">
                <a16:creationId xmlns:a16="http://schemas.microsoft.com/office/drawing/2014/main" id="{0C7E0450-48F3-472D-8D95-A46A7A1079A3}"/>
              </a:ext>
            </a:extLst>
          </p:cNvPr>
          <p:cNvSpPr txBox="1"/>
          <p:nvPr/>
        </p:nvSpPr>
        <p:spPr>
          <a:xfrm>
            <a:off x="1614764" y="5892547"/>
            <a:ext cx="1312884" cy="567379"/>
          </a:xfrm>
          <a:prstGeom prst="rect">
            <a:avLst/>
          </a:prstGeom>
          <a:noFill/>
        </p:spPr>
        <p:txBody>
          <a:bodyPr wrap="squar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83741"/>
                </a:solidFill>
                <a:effectLst/>
                <a:uLnTx/>
                <a:uFillTx/>
                <a:latin typeface="Source Sans Pro"/>
                <a:ea typeface="+mn-ea"/>
                <a:cs typeface="+mn-cs"/>
              </a:rPr>
              <a:t>Investor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283741"/>
                </a:solidFill>
                <a:effectLst/>
                <a:uLnTx/>
                <a:uFillTx/>
                <a:latin typeface="Source Sans Pro"/>
                <a:ea typeface="+mn-ea"/>
                <a:cs typeface="+mn-cs"/>
              </a:rPr>
              <a:t>Retai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283741"/>
                </a:solidFill>
                <a:effectLst/>
                <a:uLnTx/>
                <a:uFillTx/>
                <a:latin typeface="Source Sans Pro"/>
                <a:ea typeface="+mn-ea"/>
                <a:cs typeface="+mn-cs"/>
              </a:rPr>
              <a:t>Institutional</a:t>
            </a:r>
          </a:p>
        </p:txBody>
      </p:sp>
      <p:sp>
        <p:nvSpPr>
          <p:cNvPr id="56" name="TextBox 55">
            <a:extLst>
              <a:ext uri="{FF2B5EF4-FFF2-40B4-BE49-F238E27FC236}">
                <a16:creationId xmlns:a16="http://schemas.microsoft.com/office/drawing/2014/main" id="{16A684FE-6E05-4A35-B1B7-975EA2DB1865}"/>
              </a:ext>
            </a:extLst>
          </p:cNvPr>
          <p:cNvSpPr txBox="1"/>
          <p:nvPr/>
        </p:nvSpPr>
        <p:spPr>
          <a:xfrm>
            <a:off x="9698564" y="5892547"/>
            <a:ext cx="1276756" cy="249384"/>
          </a:xfrm>
          <a:prstGeom prst="rect">
            <a:avLst/>
          </a:prstGeom>
          <a:noFill/>
        </p:spPr>
        <p:txBody>
          <a:bodyPr wrap="squar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83741"/>
                </a:solidFill>
                <a:effectLst/>
                <a:uLnTx/>
                <a:uFillTx/>
                <a:latin typeface="Source Sans Pro"/>
                <a:ea typeface="+mn-ea"/>
                <a:cs typeface="+mn-cs"/>
              </a:rPr>
              <a:t>Investments</a:t>
            </a:r>
          </a:p>
        </p:txBody>
      </p:sp>
      <p:sp>
        <p:nvSpPr>
          <p:cNvPr id="57" name="TextBox 56">
            <a:extLst>
              <a:ext uri="{FF2B5EF4-FFF2-40B4-BE49-F238E27FC236}">
                <a16:creationId xmlns:a16="http://schemas.microsoft.com/office/drawing/2014/main" id="{7397228F-0348-42A0-ABAA-D002DD44057D}"/>
              </a:ext>
            </a:extLst>
          </p:cNvPr>
          <p:cNvSpPr txBox="1"/>
          <p:nvPr/>
        </p:nvSpPr>
        <p:spPr>
          <a:xfrm>
            <a:off x="3988940" y="4391566"/>
            <a:ext cx="1431989"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3741"/>
                </a:solidFill>
                <a:effectLst/>
                <a:uLnTx/>
                <a:uFillTx/>
                <a:latin typeface="Source Sans Pro"/>
                <a:ea typeface="+mn-ea"/>
                <a:cs typeface="+mn-cs"/>
              </a:rPr>
              <a:t>Funds/ Portfolio</a:t>
            </a:r>
          </a:p>
        </p:txBody>
      </p:sp>
      <p:sp>
        <p:nvSpPr>
          <p:cNvPr id="58" name="TextBox 57">
            <a:extLst>
              <a:ext uri="{FF2B5EF4-FFF2-40B4-BE49-F238E27FC236}">
                <a16:creationId xmlns:a16="http://schemas.microsoft.com/office/drawing/2014/main" id="{37C35E77-7A4A-4F74-9EB9-6A07F2EBD670}"/>
              </a:ext>
            </a:extLst>
          </p:cNvPr>
          <p:cNvSpPr txBox="1"/>
          <p:nvPr/>
        </p:nvSpPr>
        <p:spPr>
          <a:xfrm>
            <a:off x="5627219" y="4391566"/>
            <a:ext cx="1431989"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3741"/>
                </a:solidFill>
                <a:effectLst/>
                <a:uLnTx/>
                <a:uFillTx/>
                <a:latin typeface="Source Sans Pro"/>
                <a:ea typeface="+mn-ea"/>
                <a:cs typeface="+mn-cs"/>
              </a:rPr>
              <a:t>Fund/ Portfol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3741"/>
                </a:solidFill>
                <a:effectLst/>
                <a:uLnTx/>
                <a:uFillTx/>
                <a:latin typeface="Source Sans Pro"/>
                <a:ea typeface="+mn-ea"/>
                <a:cs typeface="+mn-cs"/>
              </a:rPr>
              <a:t>Manager</a:t>
            </a:r>
          </a:p>
        </p:txBody>
      </p:sp>
      <p:sp>
        <p:nvSpPr>
          <p:cNvPr id="59" name="TextBox 58">
            <a:extLst>
              <a:ext uri="{FF2B5EF4-FFF2-40B4-BE49-F238E27FC236}">
                <a16:creationId xmlns:a16="http://schemas.microsoft.com/office/drawing/2014/main" id="{1B943C72-9D71-419E-8BBF-BBFFF371D650}"/>
              </a:ext>
            </a:extLst>
          </p:cNvPr>
          <p:cNvSpPr txBox="1"/>
          <p:nvPr/>
        </p:nvSpPr>
        <p:spPr>
          <a:xfrm>
            <a:off x="7133491" y="4391566"/>
            <a:ext cx="1431989"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3741"/>
                </a:solidFill>
                <a:effectLst/>
                <a:uLnTx/>
                <a:uFillTx/>
                <a:latin typeface="Source Sans Pro"/>
                <a:ea typeface="+mn-ea"/>
                <a:cs typeface="+mn-cs"/>
              </a:rPr>
              <a:t>Research</a:t>
            </a:r>
          </a:p>
        </p:txBody>
      </p:sp>
      <p:sp>
        <p:nvSpPr>
          <p:cNvPr id="2" name="Rectangle: Rounded Corners 1">
            <a:extLst>
              <a:ext uri="{FF2B5EF4-FFF2-40B4-BE49-F238E27FC236}">
                <a16:creationId xmlns:a16="http://schemas.microsoft.com/office/drawing/2014/main" id="{9B2A02FC-3B9B-6855-09C8-D6917A9ACE07}"/>
              </a:ext>
            </a:extLst>
          </p:cNvPr>
          <p:cNvSpPr/>
          <p:nvPr/>
        </p:nvSpPr>
        <p:spPr>
          <a:xfrm>
            <a:off x="8935549" y="2572598"/>
            <a:ext cx="2570413" cy="3292743"/>
          </a:xfrm>
          <a:prstGeom prst="roundRect">
            <a:avLst>
              <a:gd name="adj" fmla="val 0"/>
            </a:avLst>
          </a:prstGeom>
          <a:solidFill>
            <a:schemeClr val="accent3"/>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ource Sans Pro"/>
              <a:ea typeface="+mn-ea"/>
              <a:cs typeface="+mn-cs"/>
            </a:endParaRPr>
          </a:p>
        </p:txBody>
      </p:sp>
      <p:pic>
        <p:nvPicPr>
          <p:cNvPr id="50" name="Graphic 49" descr="Diamond">
            <a:extLst>
              <a:ext uri="{FF2B5EF4-FFF2-40B4-BE49-F238E27FC236}">
                <a16:creationId xmlns:a16="http://schemas.microsoft.com/office/drawing/2014/main" id="{708FC7DB-3E2F-4E4C-814C-9155B04FE66C}"/>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744395" y="2807931"/>
            <a:ext cx="914400" cy="914400"/>
          </a:xfrm>
          <a:prstGeom prst="rect">
            <a:avLst/>
          </a:prstGeom>
        </p:spPr>
      </p:pic>
      <p:pic>
        <p:nvPicPr>
          <p:cNvPr id="51" name="Graphic 50" descr="Bar graph with upward trend">
            <a:extLst>
              <a:ext uri="{FF2B5EF4-FFF2-40B4-BE49-F238E27FC236}">
                <a16:creationId xmlns:a16="http://schemas.microsoft.com/office/drawing/2014/main" id="{8A914CF0-0905-4EE8-9673-D4BF8C7A40AA}"/>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9058130" y="3779248"/>
            <a:ext cx="914400" cy="914400"/>
          </a:xfrm>
          <a:prstGeom prst="rect">
            <a:avLst/>
          </a:prstGeom>
        </p:spPr>
      </p:pic>
      <p:pic>
        <p:nvPicPr>
          <p:cNvPr id="52" name="Graphic 51" descr="City">
            <a:extLst>
              <a:ext uri="{FF2B5EF4-FFF2-40B4-BE49-F238E27FC236}">
                <a16:creationId xmlns:a16="http://schemas.microsoft.com/office/drawing/2014/main" id="{33874EEC-FEC1-420E-884B-AD9BF7C80424}"/>
              </a:ext>
            </a:extLst>
          </p:cNvPr>
          <p:cNvPicPr>
            <a:picLocks noChangeAspect="1"/>
          </p:cNvPicPr>
          <p:nvPr/>
        </p:nvPicPr>
        <p:blipFill>
          <a:blip r:embed="rId21">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336942" y="3779248"/>
            <a:ext cx="914400" cy="914400"/>
          </a:xfrm>
          <a:prstGeom prst="rect">
            <a:avLst/>
          </a:prstGeom>
        </p:spPr>
      </p:pic>
      <p:pic>
        <p:nvPicPr>
          <p:cNvPr id="53" name="Graphic 52" descr="Coins">
            <a:extLst>
              <a:ext uri="{FF2B5EF4-FFF2-40B4-BE49-F238E27FC236}">
                <a16:creationId xmlns:a16="http://schemas.microsoft.com/office/drawing/2014/main" id="{C6DE3B8E-1655-4693-8B61-1FBBD4F56A69}"/>
              </a:ext>
            </a:extLst>
          </p:cNvPr>
          <p:cNvPicPr>
            <a:picLocks noChangeAspect="1"/>
          </p:cNvPicPr>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141839" y="4718391"/>
            <a:ext cx="914400" cy="914400"/>
          </a:xfrm>
          <a:prstGeom prst="rect">
            <a:avLst/>
          </a:prstGeom>
        </p:spPr>
      </p:pic>
      <p:pic>
        <p:nvPicPr>
          <p:cNvPr id="54" name="Graphic 53" descr="Bitcoin">
            <a:extLst>
              <a:ext uri="{FF2B5EF4-FFF2-40B4-BE49-F238E27FC236}">
                <a16:creationId xmlns:a16="http://schemas.microsoft.com/office/drawing/2014/main" id="{716BBFBF-3B28-42DF-B448-57A2DACAB21F}"/>
              </a:ext>
            </a:extLst>
          </p:cNvPr>
          <p:cNvPicPr>
            <a:picLocks noChangeAspect="1"/>
          </p:cNvPicPr>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0349543" y="4718391"/>
            <a:ext cx="914400" cy="914400"/>
          </a:xfrm>
          <a:prstGeom prst="rect">
            <a:avLst/>
          </a:prstGeom>
        </p:spPr>
      </p:pic>
      <p:sp>
        <p:nvSpPr>
          <p:cNvPr id="7" name="Arrow: Left-Right 6">
            <a:extLst>
              <a:ext uri="{FF2B5EF4-FFF2-40B4-BE49-F238E27FC236}">
                <a16:creationId xmlns:a16="http://schemas.microsoft.com/office/drawing/2014/main" id="{B91D080E-981B-F94A-3C79-471D887275D7}"/>
              </a:ext>
            </a:extLst>
          </p:cNvPr>
          <p:cNvSpPr/>
          <p:nvPr/>
        </p:nvSpPr>
        <p:spPr>
          <a:xfrm>
            <a:off x="3666483" y="3675475"/>
            <a:ext cx="624694" cy="426749"/>
          </a:xfrm>
          <a:prstGeom prst="leftRightArrow">
            <a:avLst>
              <a:gd name="adj1" fmla="val 72320"/>
              <a:gd name="adj2" fmla="val 410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ource Sans Pro"/>
              <a:ea typeface="+mn-ea"/>
              <a:cs typeface="+mn-cs"/>
            </a:endParaRPr>
          </a:p>
        </p:txBody>
      </p:sp>
      <p:sp>
        <p:nvSpPr>
          <p:cNvPr id="8" name="Arrow: Left-Right 7">
            <a:extLst>
              <a:ext uri="{FF2B5EF4-FFF2-40B4-BE49-F238E27FC236}">
                <a16:creationId xmlns:a16="http://schemas.microsoft.com/office/drawing/2014/main" id="{C3586601-ECA1-F000-5842-1ABD81299314}"/>
              </a:ext>
            </a:extLst>
          </p:cNvPr>
          <p:cNvSpPr/>
          <p:nvPr/>
        </p:nvSpPr>
        <p:spPr>
          <a:xfrm>
            <a:off x="5213317" y="3675475"/>
            <a:ext cx="624694" cy="426749"/>
          </a:xfrm>
          <a:prstGeom prst="leftRightArrow">
            <a:avLst>
              <a:gd name="adj1" fmla="val 72320"/>
              <a:gd name="adj2" fmla="val 410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ource Sans Pro"/>
              <a:ea typeface="+mn-ea"/>
              <a:cs typeface="+mn-cs"/>
            </a:endParaRPr>
          </a:p>
        </p:txBody>
      </p:sp>
      <p:sp>
        <p:nvSpPr>
          <p:cNvPr id="9" name="Arrow: Left-Right 8">
            <a:extLst>
              <a:ext uri="{FF2B5EF4-FFF2-40B4-BE49-F238E27FC236}">
                <a16:creationId xmlns:a16="http://schemas.microsoft.com/office/drawing/2014/main" id="{B0164C37-FEDC-7646-F798-CA66DF1AB0A0}"/>
              </a:ext>
            </a:extLst>
          </p:cNvPr>
          <p:cNvSpPr/>
          <p:nvPr/>
        </p:nvSpPr>
        <p:spPr>
          <a:xfrm>
            <a:off x="6760151" y="3675475"/>
            <a:ext cx="624694" cy="426749"/>
          </a:xfrm>
          <a:prstGeom prst="leftRightArrow">
            <a:avLst>
              <a:gd name="adj1" fmla="val 72320"/>
              <a:gd name="adj2" fmla="val 410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ource Sans Pro"/>
              <a:ea typeface="+mn-ea"/>
              <a:cs typeface="+mn-cs"/>
            </a:endParaRPr>
          </a:p>
        </p:txBody>
      </p:sp>
      <p:sp>
        <p:nvSpPr>
          <p:cNvPr id="10" name="Arrow: Left-Right 9">
            <a:extLst>
              <a:ext uri="{FF2B5EF4-FFF2-40B4-BE49-F238E27FC236}">
                <a16:creationId xmlns:a16="http://schemas.microsoft.com/office/drawing/2014/main" id="{B2A888A4-96DB-4009-4DD4-5C550C83E2F4}"/>
              </a:ext>
            </a:extLst>
          </p:cNvPr>
          <p:cNvSpPr/>
          <p:nvPr/>
        </p:nvSpPr>
        <p:spPr>
          <a:xfrm>
            <a:off x="8306985" y="3675475"/>
            <a:ext cx="624694" cy="426749"/>
          </a:xfrm>
          <a:prstGeom prst="leftRightArrow">
            <a:avLst>
              <a:gd name="adj1" fmla="val 72320"/>
              <a:gd name="adj2" fmla="val 4107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ource Sans Pro"/>
              <a:ea typeface="+mn-ea"/>
              <a:cs typeface="+mn-cs"/>
            </a:endParaRPr>
          </a:p>
        </p:txBody>
      </p:sp>
    </p:spTree>
    <p:extLst>
      <p:ext uri="{BB962C8B-B14F-4D97-AF65-F5344CB8AC3E}">
        <p14:creationId xmlns:p14="http://schemas.microsoft.com/office/powerpoint/2010/main" val="1249038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ED21D3-A4CE-CE64-0F99-983A13750563}"/>
              </a:ext>
            </a:extLst>
          </p:cNvPr>
          <p:cNvSpPr/>
          <p:nvPr/>
        </p:nvSpPr>
        <p:spPr>
          <a:xfrm>
            <a:off x="1092200" y="1988840"/>
            <a:ext cx="7380064" cy="8280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3741"/>
                </a:solidFill>
                <a:effectLst/>
                <a:uLnTx/>
                <a:uFillTx/>
                <a:latin typeface="Source Sans Pro"/>
                <a:ea typeface="+mn-ea"/>
                <a:cs typeface="+mn-cs"/>
              </a:rPr>
              <a:t>Generates generally stable, predictable, long-term cash flows, </a:t>
            </a:r>
            <a:r>
              <a:rPr kumimoji="0" lang="en-GB" sz="1600" b="0" i="0" u="none" strike="noStrike" kern="1200" cap="none" spc="0" normalizeH="0" baseline="0" noProof="0" dirty="0">
                <a:ln>
                  <a:noFill/>
                </a:ln>
                <a:solidFill>
                  <a:srgbClr val="293741"/>
                </a:solidFill>
                <a:effectLst/>
                <a:uLnTx/>
                <a:uFillTx/>
                <a:latin typeface="Source Sans Pro"/>
                <a:ea typeface="+mn-ea"/>
                <a:cs typeface="+mn-cs"/>
              </a:rPr>
              <a:t>often inflation linked and sometimes backed by government support</a:t>
            </a:r>
          </a:p>
        </p:txBody>
      </p:sp>
      <p:sp>
        <p:nvSpPr>
          <p:cNvPr id="16" name="Rectangle 15">
            <a:extLst>
              <a:ext uri="{FF2B5EF4-FFF2-40B4-BE49-F238E27FC236}">
                <a16:creationId xmlns:a16="http://schemas.microsoft.com/office/drawing/2014/main" id="{15F94BFE-A4B3-0D77-C68F-2F439D548902}"/>
              </a:ext>
            </a:extLst>
          </p:cNvPr>
          <p:cNvSpPr/>
          <p:nvPr/>
        </p:nvSpPr>
        <p:spPr>
          <a:xfrm>
            <a:off x="1092200" y="3941056"/>
            <a:ext cx="7380064" cy="8280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Source Sans Pro"/>
                <a:ea typeface="+mn-ea"/>
                <a:cs typeface="+mn-cs"/>
              </a:rPr>
              <a:t>Generally aligns well to ESIG and sustainability credentials</a:t>
            </a:r>
          </a:p>
        </p:txBody>
      </p:sp>
      <p:sp>
        <p:nvSpPr>
          <p:cNvPr id="17" name="Rectangle 16">
            <a:extLst>
              <a:ext uri="{FF2B5EF4-FFF2-40B4-BE49-F238E27FC236}">
                <a16:creationId xmlns:a16="http://schemas.microsoft.com/office/drawing/2014/main" id="{EF1AD276-35DE-F87E-53C9-87A21A4EC63E}"/>
              </a:ext>
            </a:extLst>
          </p:cNvPr>
          <p:cNvSpPr/>
          <p:nvPr/>
        </p:nvSpPr>
        <p:spPr>
          <a:xfrm>
            <a:off x="1092200" y="4917164"/>
            <a:ext cx="7380064" cy="82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Source Sans Pro"/>
                <a:ea typeface="+mn-ea"/>
                <a:cs typeface="+mn-cs"/>
              </a:rPr>
              <a:t>Aligns well with focus on economic growth, community and social impact</a:t>
            </a:r>
            <a:endParaRPr kumimoji="0" lang="en-GB" sz="1600" b="0" i="0" u="none" strike="noStrike" kern="1200" cap="none" spc="0" normalizeH="0" baseline="0" noProof="0" dirty="0">
              <a:ln>
                <a:noFill/>
              </a:ln>
              <a:solidFill>
                <a:srgbClr val="FFFFFF"/>
              </a:solidFill>
              <a:effectLst/>
              <a:uLnTx/>
              <a:uFillTx/>
              <a:latin typeface="Source Sans Pro"/>
              <a:ea typeface="+mn-ea"/>
              <a:cs typeface="+mn-cs"/>
            </a:endParaRPr>
          </a:p>
        </p:txBody>
      </p:sp>
      <p:sp>
        <p:nvSpPr>
          <p:cNvPr id="2" name="Title 1">
            <a:extLst>
              <a:ext uri="{FF2B5EF4-FFF2-40B4-BE49-F238E27FC236}">
                <a16:creationId xmlns:a16="http://schemas.microsoft.com/office/drawing/2014/main" id="{498D51B7-E6BD-A88C-D2CC-A8DB52E742CF}"/>
              </a:ext>
            </a:extLst>
          </p:cNvPr>
          <p:cNvSpPr>
            <a:spLocks noGrp="1"/>
          </p:cNvSpPr>
          <p:nvPr>
            <p:ph type="title"/>
          </p:nvPr>
        </p:nvSpPr>
        <p:spPr/>
        <p:txBody>
          <a:bodyPr/>
          <a:lstStyle/>
          <a:p>
            <a:r>
              <a:rPr lang="en-GB" dirty="0"/>
              <a:t>Why invest in Infrastructure?</a:t>
            </a:r>
          </a:p>
        </p:txBody>
      </p:sp>
      <p:sp>
        <p:nvSpPr>
          <p:cNvPr id="12" name="Rectangle 11">
            <a:extLst>
              <a:ext uri="{FF2B5EF4-FFF2-40B4-BE49-F238E27FC236}">
                <a16:creationId xmlns:a16="http://schemas.microsoft.com/office/drawing/2014/main" id="{71C3427E-7534-FC80-88CE-88509FE9EEF5}"/>
              </a:ext>
            </a:extLst>
          </p:cNvPr>
          <p:cNvSpPr/>
          <p:nvPr/>
        </p:nvSpPr>
        <p:spPr>
          <a:xfrm>
            <a:off x="1092200" y="2964948"/>
            <a:ext cx="7380064" cy="82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Source Sans Pro"/>
                <a:ea typeface="+mn-ea"/>
                <a:cs typeface="+mn-cs"/>
              </a:rPr>
              <a:t>Returns generally uncorrelated to other asset classes </a:t>
            </a:r>
            <a:r>
              <a:rPr kumimoji="0" lang="en-GB" sz="1600" b="0" i="0" u="none" strike="noStrike" kern="1200" cap="none" spc="0" normalizeH="0" baseline="0" noProof="0" dirty="0">
                <a:ln>
                  <a:noFill/>
                </a:ln>
                <a:solidFill>
                  <a:srgbClr val="FFFFFF"/>
                </a:solidFill>
                <a:effectLst/>
                <a:uLnTx/>
                <a:uFillTx/>
                <a:latin typeface="Source Sans Pro"/>
                <a:ea typeface="+mn-ea"/>
                <a:cs typeface="+mn-cs"/>
              </a:rPr>
              <a:t>(equities, fixed-income etc) and tend to be more </a:t>
            </a:r>
            <a:r>
              <a:rPr kumimoji="0" lang="en-GB" sz="1600" b="1" i="0" u="none" strike="noStrike" kern="1200" cap="none" spc="0" normalizeH="0" baseline="0" noProof="0" dirty="0">
                <a:ln>
                  <a:noFill/>
                </a:ln>
                <a:solidFill>
                  <a:srgbClr val="FFFFFF"/>
                </a:solidFill>
                <a:effectLst/>
                <a:uLnTx/>
                <a:uFillTx/>
                <a:latin typeface="Source Sans Pro"/>
                <a:ea typeface="+mn-ea"/>
                <a:cs typeface="+mn-cs"/>
              </a:rPr>
              <a:t>resilient</a:t>
            </a:r>
            <a:r>
              <a:rPr kumimoji="0" lang="en-GB" sz="1600" b="0" i="0" u="none" strike="noStrike" kern="1200" cap="none" spc="0" normalizeH="0" baseline="0" noProof="0" dirty="0">
                <a:ln>
                  <a:noFill/>
                </a:ln>
                <a:solidFill>
                  <a:srgbClr val="FFFFFF"/>
                </a:solidFill>
                <a:effectLst/>
                <a:uLnTx/>
                <a:uFillTx/>
                <a:latin typeface="Source Sans Pro"/>
                <a:ea typeface="+mn-ea"/>
                <a:cs typeface="+mn-cs"/>
              </a:rPr>
              <a:t> in a downturn</a:t>
            </a:r>
          </a:p>
        </p:txBody>
      </p:sp>
      <p:pic>
        <p:nvPicPr>
          <p:cNvPr id="22" name="Picture 21" descr="A ship with containers on the front&#10;&#10;Description automatically generated">
            <a:extLst>
              <a:ext uri="{FF2B5EF4-FFF2-40B4-BE49-F238E27FC236}">
                <a16:creationId xmlns:a16="http://schemas.microsoft.com/office/drawing/2014/main" id="{1B00E9C2-CD8B-F7B7-75E1-91F0B109EE3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88288" y="0"/>
            <a:ext cx="3503712" cy="6858000"/>
          </a:xfrm>
          <a:prstGeom prst="rect">
            <a:avLst/>
          </a:prstGeom>
        </p:spPr>
      </p:pic>
      <p:pic>
        <p:nvPicPr>
          <p:cNvPr id="23" name="Picture 22">
            <a:extLst>
              <a:ext uri="{FF2B5EF4-FFF2-40B4-BE49-F238E27FC236}">
                <a16:creationId xmlns:a16="http://schemas.microsoft.com/office/drawing/2014/main" id="{6B315E48-A433-1B3E-1797-7E73CB8C5D2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02562" y="6416675"/>
            <a:ext cx="1106235" cy="445367"/>
          </a:xfrm>
          <a:prstGeom prst="rect">
            <a:avLst/>
          </a:prstGeom>
        </p:spPr>
      </p:pic>
    </p:spTree>
    <p:extLst>
      <p:ext uri="{BB962C8B-B14F-4D97-AF65-F5344CB8AC3E}">
        <p14:creationId xmlns:p14="http://schemas.microsoft.com/office/powerpoint/2010/main" val="3500014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C7160C0C-DAC0-1E15-BB29-F122980250B8}"/>
              </a:ext>
            </a:extLst>
          </p:cNvPr>
          <p:cNvSpPr>
            <a:spLocks noGrp="1"/>
          </p:cNvSpPr>
          <p:nvPr>
            <p:ph type="title"/>
          </p:nvPr>
        </p:nvSpPr>
        <p:spPr>
          <a:xfrm>
            <a:off x="1095356" y="123751"/>
            <a:ext cx="10404000" cy="1069095"/>
          </a:xfrm>
        </p:spPr>
        <p:txBody>
          <a:bodyPr/>
          <a:lstStyle/>
          <a:p>
            <a:r>
              <a:rPr lang="en-GB" dirty="0"/>
              <a:t>It’s all about funding not financing!</a:t>
            </a:r>
          </a:p>
        </p:txBody>
      </p:sp>
      <p:sp>
        <p:nvSpPr>
          <p:cNvPr id="27" name="Rectangle 26">
            <a:extLst>
              <a:ext uri="{FF2B5EF4-FFF2-40B4-BE49-F238E27FC236}">
                <a16:creationId xmlns:a16="http://schemas.microsoft.com/office/drawing/2014/main" id="{8E3E631E-2076-FE12-A910-A9626AC4A7B9}"/>
              </a:ext>
            </a:extLst>
          </p:cNvPr>
          <p:cNvSpPr/>
          <p:nvPr/>
        </p:nvSpPr>
        <p:spPr>
          <a:xfrm>
            <a:off x="3328116" y="3295203"/>
            <a:ext cx="1872000" cy="936000"/>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1257" tIns="101257" rIns="101257" bIns="101257"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ource Sans Pro"/>
                <a:ea typeface="+mn-ea"/>
                <a:cs typeface="+mn-cs"/>
              </a:rPr>
              <a:t>Funding</a:t>
            </a:r>
            <a:endParaRPr kumimoji="0" lang="en-GB" sz="1600" b="1" i="0" u="none" strike="noStrike" kern="1200" cap="none" spc="0" normalizeH="0" baseline="0" noProof="0" dirty="0">
              <a:ln>
                <a:noFill/>
              </a:ln>
              <a:solidFill>
                <a:srgbClr val="FFFFFF"/>
              </a:solidFill>
              <a:effectLst/>
              <a:uLnTx/>
              <a:uFillTx/>
              <a:latin typeface="Source Sans Pro"/>
              <a:ea typeface="+mn-ea"/>
              <a:cs typeface="+mn-cs"/>
            </a:endParaRPr>
          </a:p>
        </p:txBody>
      </p:sp>
      <p:sp>
        <p:nvSpPr>
          <p:cNvPr id="29" name="Rectangle 28">
            <a:extLst>
              <a:ext uri="{FF2B5EF4-FFF2-40B4-BE49-F238E27FC236}">
                <a16:creationId xmlns:a16="http://schemas.microsoft.com/office/drawing/2014/main" id="{5860613F-2197-6106-B17F-D773AFBFD5D3}"/>
              </a:ext>
            </a:extLst>
          </p:cNvPr>
          <p:cNvSpPr/>
          <p:nvPr/>
        </p:nvSpPr>
        <p:spPr>
          <a:xfrm>
            <a:off x="1081524" y="3295203"/>
            <a:ext cx="1872000" cy="936000"/>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7836" tIns="77836" rIns="77836" bIns="77836"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Source Sans Pro"/>
                <a:ea typeface="+mn-ea"/>
                <a:cs typeface="+mn-cs"/>
              </a:rPr>
              <a:t>Levies</a:t>
            </a:r>
          </a:p>
        </p:txBody>
      </p:sp>
      <p:sp>
        <p:nvSpPr>
          <p:cNvPr id="31" name="Rectangle 30">
            <a:extLst>
              <a:ext uri="{FF2B5EF4-FFF2-40B4-BE49-F238E27FC236}">
                <a16:creationId xmlns:a16="http://schemas.microsoft.com/office/drawing/2014/main" id="{943D02C0-1EB3-216A-94B5-F3B186A2E581}"/>
              </a:ext>
            </a:extLst>
          </p:cNvPr>
          <p:cNvSpPr/>
          <p:nvPr/>
        </p:nvSpPr>
        <p:spPr>
          <a:xfrm>
            <a:off x="1081524" y="1988060"/>
            <a:ext cx="1872000" cy="936000"/>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8441" tIns="78441" rIns="78441" bIns="78441"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Source Sans Pro"/>
                <a:ea typeface="+mn-ea"/>
                <a:cs typeface="+mn-cs"/>
              </a:rPr>
              <a:t>Government taxation</a:t>
            </a:r>
          </a:p>
        </p:txBody>
      </p:sp>
      <p:sp>
        <p:nvSpPr>
          <p:cNvPr id="33" name="Rectangle 32">
            <a:extLst>
              <a:ext uri="{FF2B5EF4-FFF2-40B4-BE49-F238E27FC236}">
                <a16:creationId xmlns:a16="http://schemas.microsoft.com/office/drawing/2014/main" id="{ABB60786-2DEA-451E-1117-21385B685DC7}"/>
              </a:ext>
            </a:extLst>
          </p:cNvPr>
          <p:cNvSpPr/>
          <p:nvPr/>
        </p:nvSpPr>
        <p:spPr>
          <a:xfrm>
            <a:off x="1081524" y="4581128"/>
            <a:ext cx="1872000" cy="936000"/>
          </a:xfrm>
          <a:prstGeom prst="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4165" tIns="84165" rIns="84165" bIns="84165"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Source Sans Pro"/>
                <a:ea typeface="+mn-ea"/>
                <a:cs typeface="+mn-cs"/>
              </a:rPr>
              <a:t>Consumer charges</a:t>
            </a:r>
          </a:p>
        </p:txBody>
      </p:sp>
      <p:cxnSp>
        <p:nvCxnSpPr>
          <p:cNvPr id="8" name="Straight Arrow Connector 7">
            <a:extLst>
              <a:ext uri="{FF2B5EF4-FFF2-40B4-BE49-F238E27FC236}">
                <a16:creationId xmlns:a16="http://schemas.microsoft.com/office/drawing/2014/main" id="{1AC246DC-FD1B-4668-8C0A-BD6E89BFBB51}"/>
              </a:ext>
            </a:extLst>
          </p:cNvPr>
          <p:cNvCxnSpPr>
            <a:cxnSpLocks/>
          </p:cNvCxnSpPr>
          <p:nvPr/>
        </p:nvCxnSpPr>
        <p:spPr>
          <a:xfrm>
            <a:off x="5574708" y="3751418"/>
            <a:ext cx="1453552" cy="0"/>
          </a:xfrm>
          <a:prstGeom prst="straightConnector1">
            <a:avLst/>
          </a:prstGeom>
          <a:ln w="63500">
            <a:solidFill>
              <a:srgbClr val="FF6700"/>
            </a:solidFill>
            <a:tailEnd type="arrow"/>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8DF564C7-7794-42A6-A995-1310FB4F562B}"/>
              </a:ext>
            </a:extLst>
          </p:cNvPr>
          <p:cNvSpPr txBox="1"/>
          <p:nvPr/>
        </p:nvSpPr>
        <p:spPr>
          <a:xfrm>
            <a:off x="5869528" y="3380683"/>
            <a:ext cx="863912" cy="287643"/>
          </a:xfrm>
          <a:prstGeom prst="rect">
            <a:avLst/>
          </a:prstGeom>
          <a:noFill/>
        </p:spPr>
        <p:txBody>
          <a:bodyPr wrap="square" rtlCol="0">
            <a:spAutoFit/>
          </a:bodyPr>
          <a:lst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69" b="1" i="1" u="none" strike="noStrike" kern="1200" cap="none" spc="0" normalizeH="0" baseline="0" noProof="0" dirty="0">
                <a:ln>
                  <a:noFill/>
                </a:ln>
                <a:solidFill>
                  <a:srgbClr val="002060"/>
                </a:solidFill>
                <a:effectLst/>
                <a:uLnTx/>
                <a:uFillTx/>
                <a:latin typeface="Source Sans Pro"/>
                <a:ea typeface="+mn-ea"/>
                <a:cs typeface="+mn-cs"/>
              </a:rPr>
              <a:t>Cashflow</a:t>
            </a:r>
          </a:p>
        </p:txBody>
      </p:sp>
      <p:sp>
        <p:nvSpPr>
          <p:cNvPr id="35" name="Rectangle 34">
            <a:extLst>
              <a:ext uri="{FF2B5EF4-FFF2-40B4-BE49-F238E27FC236}">
                <a16:creationId xmlns:a16="http://schemas.microsoft.com/office/drawing/2014/main" id="{FC117FC9-400B-3D78-2988-C5335C255641}"/>
              </a:ext>
            </a:extLst>
          </p:cNvPr>
          <p:cNvSpPr/>
          <p:nvPr/>
        </p:nvSpPr>
        <p:spPr>
          <a:xfrm>
            <a:off x="7402852" y="3295203"/>
            <a:ext cx="1872000" cy="936000"/>
          </a:xfrm>
          <a:prstGeom prst="rect">
            <a:avLst/>
          </a:prstGeom>
          <a:solidFill>
            <a:schemeClr val="accent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0691" tIns="110691" rIns="110691" bIns="110691"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ource Sans Pro"/>
                <a:ea typeface="+mn-ea"/>
                <a:cs typeface="+mn-cs"/>
              </a:rPr>
              <a:t>Financing </a:t>
            </a:r>
          </a:p>
        </p:txBody>
      </p:sp>
      <p:sp>
        <p:nvSpPr>
          <p:cNvPr id="37" name="Rectangle 36">
            <a:extLst>
              <a:ext uri="{FF2B5EF4-FFF2-40B4-BE49-F238E27FC236}">
                <a16:creationId xmlns:a16="http://schemas.microsoft.com/office/drawing/2014/main" id="{A23D6122-5673-ACB1-A3C8-4F235BFCE8D1}"/>
              </a:ext>
            </a:extLst>
          </p:cNvPr>
          <p:cNvSpPr/>
          <p:nvPr/>
        </p:nvSpPr>
        <p:spPr>
          <a:xfrm>
            <a:off x="9649443" y="4581128"/>
            <a:ext cx="1872000" cy="936000"/>
          </a:xfrm>
          <a:prstGeom prst="rect">
            <a:avLst/>
          </a:prstGeom>
          <a:solidFill>
            <a:schemeClr val="accent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019" tIns="95019" rIns="95019" bIns="95019"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Source Sans Pro"/>
                <a:ea typeface="+mn-ea"/>
                <a:cs typeface="+mn-cs"/>
              </a:rPr>
              <a:t>Increasing level of government intervention </a:t>
            </a:r>
          </a:p>
        </p:txBody>
      </p:sp>
      <p:sp>
        <p:nvSpPr>
          <p:cNvPr id="39" name="Rectangle 38">
            <a:extLst>
              <a:ext uri="{FF2B5EF4-FFF2-40B4-BE49-F238E27FC236}">
                <a16:creationId xmlns:a16="http://schemas.microsoft.com/office/drawing/2014/main" id="{156A5B0C-7A1F-B11D-4067-8FB078A6632A}"/>
              </a:ext>
            </a:extLst>
          </p:cNvPr>
          <p:cNvSpPr/>
          <p:nvPr/>
        </p:nvSpPr>
        <p:spPr>
          <a:xfrm>
            <a:off x="9650546" y="1988060"/>
            <a:ext cx="1872000" cy="936000"/>
          </a:xfrm>
          <a:prstGeom prst="rect">
            <a:avLst/>
          </a:prstGeom>
          <a:solidFill>
            <a:schemeClr val="accent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282" tIns="99282" rIns="99282" bIns="99282"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Source Sans Pro"/>
                <a:ea typeface="+mn-ea"/>
                <a:cs typeface="+mn-cs"/>
              </a:rPr>
              <a:t>“Wall of capital”</a:t>
            </a: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Source Sans Pro"/>
                <a:ea typeface="+mn-ea"/>
                <a:cs typeface="+mn-cs"/>
              </a:rPr>
              <a:t>Debt and Equity</a:t>
            </a:r>
          </a:p>
        </p:txBody>
      </p:sp>
      <p:sp>
        <p:nvSpPr>
          <p:cNvPr id="13" name="TextBox 12">
            <a:extLst>
              <a:ext uri="{FF2B5EF4-FFF2-40B4-BE49-F238E27FC236}">
                <a16:creationId xmlns:a16="http://schemas.microsoft.com/office/drawing/2014/main" id="{83FA3B1B-EB80-44F8-9369-F24F081394E6}"/>
              </a:ext>
            </a:extLst>
          </p:cNvPr>
          <p:cNvSpPr txBox="1"/>
          <p:nvPr/>
        </p:nvSpPr>
        <p:spPr>
          <a:xfrm>
            <a:off x="104273" y="6470489"/>
            <a:ext cx="1387643" cy="328295"/>
          </a:xfrm>
          <a:prstGeom prst="rect">
            <a:avLst/>
          </a:prstGeom>
          <a:solidFill>
            <a:schemeClr val="bg1"/>
          </a:solidFill>
        </p:spPr>
        <p:txBody>
          <a:bodyPr wrap="square" lIns="0" tIns="0" rIns="0" bIns="0" rtlCol="0">
            <a:spAutoFit/>
          </a:bodyPr>
          <a:lst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2133" b="0" i="0" u="none" strike="noStrike" kern="1200" cap="none" spc="0" normalizeH="0" baseline="0" noProof="0" dirty="0">
              <a:ln>
                <a:noFill/>
              </a:ln>
              <a:solidFill>
                <a:srgbClr val="293741"/>
              </a:solidFill>
              <a:effectLst/>
              <a:uLnTx/>
              <a:uFillTx/>
              <a:latin typeface="Source Sans Pro"/>
              <a:ea typeface="+mn-ea"/>
              <a:cs typeface="+mn-cs"/>
            </a:endParaRPr>
          </a:p>
        </p:txBody>
      </p:sp>
      <p:pic>
        <p:nvPicPr>
          <p:cNvPr id="41" name="Graphic 40" descr="Scales of justice with solid fill">
            <a:extLst>
              <a:ext uri="{FF2B5EF4-FFF2-40B4-BE49-F238E27FC236}">
                <a16:creationId xmlns:a16="http://schemas.microsoft.com/office/drawing/2014/main" id="{A5F96A87-B099-0980-92E6-15ED19D5932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44284" y="3926032"/>
            <a:ext cx="914400" cy="914400"/>
          </a:xfrm>
          <a:prstGeom prst="rect">
            <a:avLst/>
          </a:prstGeom>
        </p:spPr>
      </p:pic>
      <p:cxnSp>
        <p:nvCxnSpPr>
          <p:cNvPr id="43" name="Connector: Elbow 42">
            <a:extLst>
              <a:ext uri="{FF2B5EF4-FFF2-40B4-BE49-F238E27FC236}">
                <a16:creationId xmlns:a16="http://schemas.microsoft.com/office/drawing/2014/main" id="{CD1F065E-1F90-7663-7FA0-7862DAF4F726}"/>
              </a:ext>
            </a:extLst>
          </p:cNvPr>
          <p:cNvCxnSpPr>
            <a:cxnSpLocks/>
            <a:stCxn id="27" idx="1"/>
            <a:endCxn id="31" idx="3"/>
          </p:cNvCxnSpPr>
          <p:nvPr/>
        </p:nvCxnSpPr>
        <p:spPr>
          <a:xfrm rot="10800000">
            <a:off x="2953524" y="2456061"/>
            <a:ext cx="374592" cy="1307143"/>
          </a:xfrm>
          <a:prstGeom prst="bentConnector3">
            <a:avLst/>
          </a:prstGeom>
          <a:ln w="22225"/>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874165BC-D5DE-0482-9C3D-6B570DF6F12A}"/>
              </a:ext>
            </a:extLst>
          </p:cNvPr>
          <p:cNvCxnSpPr>
            <a:cxnSpLocks/>
            <a:stCxn id="27" idx="1"/>
            <a:endCxn id="33" idx="3"/>
          </p:cNvCxnSpPr>
          <p:nvPr/>
        </p:nvCxnSpPr>
        <p:spPr>
          <a:xfrm rot="10800000" flipV="1">
            <a:off x="2953524" y="3763202"/>
            <a:ext cx="374592" cy="1285925"/>
          </a:xfrm>
          <a:prstGeom prst="bentConnector3">
            <a:avLst/>
          </a:prstGeom>
          <a:ln w="22225"/>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8EF1EB9-F28B-88DF-C487-66F4C20B25CF}"/>
              </a:ext>
            </a:extLst>
          </p:cNvPr>
          <p:cNvCxnSpPr>
            <a:stCxn id="29" idx="3"/>
            <a:endCxn id="27" idx="1"/>
          </p:cNvCxnSpPr>
          <p:nvPr/>
        </p:nvCxnSpPr>
        <p:spPr>
          <a:xfrm>
            <a:off x="2953524" y="3763203"/>
            <a:ext cx="374592" cy="0"/>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3383D4F9-2447-49AB-AA80-AE9BAEC841EE}"/>
              </a:ext>
            </a:extLst>
          </p:cNvPr>
          <p:cNvCxnSpPr>
            <a:cxnSpLocks/>
            <a:stCxn id="39" idx="1"/>
            <a:endCxn id="35" idx="3"/>
          </p:cNvCxnSpPr>
          <p:nvPr/>
        </p:nvCxnSpPr>
        <p:spPr>
          <a:xfrm rot="10800000" flipV="1">
            <a:off x="9274852" y="2456059"/>
            <a:ext cx="375694" cy="1307143"/>
          </a:xfrm>
          <a:prstGeom prst="bentConnector3">
            <a:avLst>
              <a:gd name="adj1" fmla="val 50000"/>
            </a:avLst>
          </a:prstGeom>
          <a:ln w="22225"/>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A576AD65-8B87-D736-9456-FA49A20F8578}"/>
              </a:ext>
            </a:extLst>
          </p:cNvPr>
          <p:cNvCxnSpPr>
            <a:cxnSpLocks/>
            <a:stCxn id="37" idx="1"/>
            <a:endCxn id="35" idx="3"/>
          </p:cNvCxnSpPr>
          <p:nvPr/>
        </p:nvCxnSpPr>
        <p:spPr>
          <a:xfrm rot="10800000">
            <a:off x="9274853" y="3763204"/>
            <a:ext cx="374591" cy="1285925"/>
          </a:xfrm>
          <a:prstGeom prst="bentConnector3">
            <a:avLst>
              <a:gd name="adj1" fmla="val 50000"/>
            </a:avLst>
          </a:prstGeom>
          <a:ln w="22225"/>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678EB2B-BBC6-8DF1-1E3F-E50B6D3C4272}"/>
              </a:ext>
            </a:extLst>
          </p:cNvPr>
          <p:cNvSpPr/>
          <p:nvPr/>
        </p:nvSpPr>
        <p:spPr>
          <a:xfrm>
            <a:off x="1101919" y="5798249"/>
            <a:ext cx="1872000" cy="936000"/>
          </a:xfrm>
          <a:prstGeom prst="rect">
            <a:avLst/>
          </a:prstGeom>
          <a:solidFill>
            <a:srgbClr val="B10101"/>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8441" tIns="78441" rIns="78441" bIns="78441"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Source Sans Pro"/>
                <a:ea typeface="+mn-ea"/>
                <a:cs typeface="+mn-cs"/>
              </a:rPr>
              <a:t>Land development</a:t>
            </a:r>
          </a:p>
        </p:txBody>
      </p:sp>
      <p:cxnSp>
        <p:nvCxnSpPr>
          <p:cNvPr id="3" name="Connector: Elbow 2">
            <a:extLst>
              <a:ext uri="{FF2B5EF4-FFF2-40B4-BE49-F238E27FC236}">
                <a16:creationId xmlns:a16="http://schemas.microsoft.com/office/drawing/2014/main" id="{AB3A12E6-98B3-546A-6481-FD5E7D5D9D5D}"/>
              </a:ext>
            </a:extLst>
          </p:cNvPr>
          <p:cNvCxnSpPr>
            <a:cxnSpLocks/>
            <a:endCxn id="2" idx="3"/>
          </p:cNvCxnSpPr>
          <p:nvPr/>
        </p:nvCxnSpPr>
        <p:spPr>
          <a:xfrm rot="5400000">
            <a:off x="2437455" y="5562884"/>
            <a:ext cx="1239830" cy="166901"/>
          </a:xfrm>
          <a:prstGeom prst="bentConnector2">
            <a:avLst/>
          </a:prstGeom>
          <a:ln w="222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138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BB70142F-2CDA-0754-8BC2-A07FFE597C79}"/>
              </a:ext>
            </a:extLst>
          </p:cNvPr>
          <p:cNvSpPr/>
          <p:nvPr/>
        </p:nvSpPr>
        <p:spPr>
          <a:xfrm>
            <a:off x="2511706" y="2823092"/>
            <a:ext cx="8588093" cy="1941948"/>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Source Sans Pro" panose="020B0503030403020204" pitchFamily="34" charset="0"/>
              <a:ea typeface="+mn-ea"/>
              <a:cs typeface="Arial" panose="020B0604020202020204" pitchFamily="34" charset="0"/>
            </a:endParaRPr>
          </a:p>
        </p:txBody>
      </p:sp>
      <p:sp>
        <p:nvSpPr>
          <p:cNvPr id="81" name="Rectangle 80">
            <a:extLst>
              <a:ext uri="{FF2B5EF4-FFF2-40B4-BE49-F238E27FC236}">
                <a16:creationId xmlns:a16="http://schemas.microsoft.com/office/drawing/2014/main" id="{419E59E3-0BF1-ADEA-1593-4B396588B592}"/>
              </a:ext>
            </a:extLst>
          </p:cNvPr>
          <p:cNvSpPr/>
          <p:nvPr/>
        </p:nvSpPr>
        <p:spPr>
          <a:xfrm>
            <a:off x="2511706" y="4927599"/>
            <a:ext cx="8588093" cy="1041399"/>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Source Sans Pro" panose="020B0503030403020204" pitchFamily="34" charset="0"/>
              <a:ea typeface="+mn-ea"/>
              <a:cs typeface="Arial" panose="020B0604020202020204" pitchFamily="34" charset="0"/>
            </a:endParaRPr>
          </a:p>
        </p:txBody>
      </p:sp>
      <p:sp>
        <p:nvSpPr>
          <p:cNvPr id="9" name="Title 8">
            <a:extLst>
              <a:ext uri="{FF2B5EF4-FFF2-40B4-BE49-F238E27FC236}">
                <a16:creationId xmlns:a16="http://schemas.microsoft.com/office/drawing/2014/main" id="{76140B43-9276-450E-AC6B-4B41173B486E}"/>
              </a:ext>
            </a:extLst>
          </p:cNvPr>
          <p:cNvSpPr>
            <a:spLocks noGrp="1"/>
          </p:cNvSpPr>
          <p:nvPr>
            <p:ph type="title"/>
          </p:nvPr>
        </p:nvSpPr>
        <p:spPr/>
        <p:txBody>
          <a:bodyPr/>
          <a:lstStyle/>
          <a:p>
            <a:r>
              <a:rPr lang="en-GB" dirty="0"/>
              <a:t>Nature of investments is evolving</a:t>
            </a:r>
          </a:p>
        </p:txBody>
      </p:sp>
      <p:sp>
        <p:nvSpPr>
          <p:cNvPr id="75" name="Text Placeholder 2">
            <a:extLst>
              <a:ext uri="{FF2B5EF4-FFF2-40B4-BE49-F238E27FC236}">
                <a16:creationId xmlns:a16="http://schemas.microsoft.com/office/drawing/2014/main" id="{C2D577CA-18EE-4FC9-867E-0897F273861A}"/>
              </a:ext>
            </a:extLst>
          </p:cNvPr>
          <p:cNvSpPr>
            <a:spLocks noGrp="1"/>
          </p:cNvSpPr>
          <p:nvPr>
            <p:ph type="body" sz="quarter" idx="13"/>
          </p:nvPr>
        </p:nvSpPr>
        <p:spPr/>
        <p:txBody>
          <a:bodyPr/>
          <a:lstStyle/>
          <a:p>
            <a:r>
              <a:rPr lang="en-GB" dirty="0"/>
              <a:t>Key opportunities in energy transition, pathway to net zero and digital revolution</a:t>
            </a:r>
          </a:p>
        </p:txBody>
      </p:sp>
      <p:sp>
        <p:nvSpPr>
          <p:cNvPr id="15" name="Arrow: Right 14">
            <a:extLst>
              <a:ext uri="{FF2B5EF4-FFF2-40B4-BE49-F238E27FC236}">
                <a16:creationId xmlns:a16="http://schemas.microsoft.com/office/drawing/2014/main" id="{7C3AA91A-0F7F-408F-B521-D05DC4D76C06}"/>
              </a:ext>
            </a:extLst>
          </p:cNvPr>
          <p:cNvSpPr/>
          <p:nvPr/>
        </p:nvSpPr>
        <p:spPr>
          <a:xfrm>
            <a:off x="2511706" y="2054880"/>
            <a:ext cx="8972920" cy="762124"/>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Source Sans Pro"/>
              <a:ea typeface="+mn-ea"/>
              <a:cs typeface="+mn-cs"/>
            </a:endParaRPr>
          </a:p>
        </p:txBody>
      </p:sp>
      <p:grpSp>
        <p:nvGrpSpPr>
          <p:cNvPr id="63" name="Group 62">
            <a:extLst>
              <a:ext uri="{FF2B5EF4-FFF2-40B4-BE49-F238E27FC236}">
                <a16:creationId xmlns:a16="http://schemas.microsoft.com/office/drawing/2014/main" id="{5EA6B22C-8589-5679-EE2F-D95D517CDA14}"/>
              </a:ext>
            </a:extLst>
          </p:cNvPr>
          <p:cNvGrpSpPr/>
          <p:nvPr/>
        </p:nvGrpSpPr>
        <p:grpSpPr>
          <a:xfrm>
            <a:off x="3455193" y="2297443"/>
            <a:ext cx="6798651" cy="276999"/>
            <a:chOff x="2210079" y="2297443"/>
            <a:chExt cx="7931463" cy="276999"/>
          </a:xfrm>
        </p:grpSpPr>
        <p:sp>
          <p:nvSpPr>
            <p:cNvPr id="86" name="TextBox 85">
              <a:extLst>
                <a:ext uri="{FF2B5EF4-FFF2-40B4-BE49-F238E27FC236}">
                  <a16:creationId xmlns:a16="http://schemas.microsoft.com/office/drawing/2014/main" id="{31C1BEB8-06BD-4ACC-8C17-543CB9F78638}"/>
                </a:ext>
              </a:extLst>
            </p:cNvPr>
            <p:cNvSpPr txBox="1"/>
            <p:nvPr/>
          </p:nvSpPr>
          <p:spPr>
            <a:xfrm flipH="1">
              <a:off x="2210079" y="2297443"/>
              <a:ext cx="1004244" cy="276999"/>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93741"/>
                  </a:solidFill>
                  <a:effectLst/>
                  <a:uLnTx/>
                  <a:uFillTx/>
                  <a:latin typeface="Source Sans Pro"/>
                  <a:ea typeface="+mn-ea"/>
                  <a:cs typeface="+mn-cs"/>
                </a:rPr>
                <a:t>MATURE</a:t>
              </a:r>
            </a:p>
          </p:txBody>
        </p:sp>
        <p:sp>
          <p:nvSpPr>
            <p:cNvPr id="87" name="TextBox 86">
              <a:extLst>
                <a:ext uri="{FF2B5EF4-FFF2-40B4-BE49-F238E27FC236}">
                  <a16:creationId xmlns:a16="http://schemas.microsoft.com/office/drawing/2014/main" id="{D8322F4B-F012-41FC-A0D1-8D12C31856B5}"/>
                </a:ext>
              </a:extLst>
            </p:cNvPr>
            <p:cNvSpPr txBox="1"/>
            <p:nvPr/>
          </p:nvSpPr>
          <p:spPr>
            <a:xfrm flipH="1">
              <a:off x="8868003" y="2297443"/>
              <a:ext cx="1273539" cy="276999"/>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93741"/>
                  </a:solidFill>
                  <a:effectLst/>
                  <a:uLnTx/>
                  <a:uFillTx/>
                  <a:latin typeface="Source Sans Pro"/>
                  <a:ea typeface="+mn-ea"/>
                  <a:cs typeface="+mn-cs"/>
                </a:rPr>
                <a:t>EMERGING</a:t>
              </a:r>
            </a:p>
          </p:txBody>
        </p:sp>
        <p:sp>
          <p:nvSpPr>
            <p:cNvPr id="88" name="TextBox 87">
              <a:extLst>
                <a:ext uri="{FF2B5EF4-FFF2-40B4-BE49-F238E27FC236}">
                  <a16:creationId xmlns:a16="http://schemas.microsoft.com/office/drawing/2014/main" id="{238BFCB2-7E39-4247-A7C0-CCA99DBF80FC}"/>
                </a:ext>
              </a:extLst>
            </p:cNvPr>
            <p:cNvSpPr txBox="1"/>
            <p:nvPr/>
          </p:nvSpPr>
          <p:spPr>
            <a:xfrm flipH="1">
              <a:off x="5570832" y="2297443"/>
              <a:ext cx="1075307" cy="276999"/>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93741"/>
                  </a:solidFill>
                  <a:effectLst/>
                  <a:uLnTx/>
                  <a:uFillTx/>
                  <a:latin typeface="Source Sans Pro"/>
                  <a:ea typeface="+mn-ea"/>
                  <a:cs typeface="+mn-cs"/>
                </a:rPr>
                <a:t>GROWTH</a:t>
              </a:r>
            </a:p>
          </p:txBody>
        </p:sp>
      </p:grpSp>
      <p:sp>
        <p:nvSpPr>
          <p:cNvPr id="94" name="Rectangle 93">
            <a:extLst>
              <a:ext uri="{FF2B5EF4-FFF2-40B4-BE49-F238E27FC236}">
                <a16:creationId xmlns:a16="http://schemas.microsoft.com/office/drawing/2014/main" id="{9B26363C-9794-49D5-B1C9-555BFF473E73}"/>
              </a:ext>
            </a:extLst>
          </p:cNvPr>
          <p:cNvSpPr/>
          <p:nvPr/>
        </p:nvSpPr>
        <p:spPr>
          <a:xfrm>
            <a:off x="1092199" y="2823092"/>
            <a:ext cx="1257461" cy="19419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Source Sans Pro" panose="020B0503030403020204" pitchFamily="34" charset="0"/>
                <a:ea typeface="+mn-ea"/>
                <a:cs typeface="Arial" panose="020B0604020202020204" pitchFamily="34" charset="0"/>
              </a:rPr>
              <a:t>Finance the transition to </a:t>
            </a:r>
            <a:br>
              <a:rPr kumimoji="0" lang="en-GB" sz="1400" b="1" i="0" u="none" strike="noStrike" kern="1200" cap="none" spc="0" normalizeH="0" baseline="0" noProof="0" dirty="0">
                <a:ln>
                  <a:noFill/>
                </a:ln>
                <a:solidFill>
                  <a:srgbClr val="FFFFFF"/>
                </a:solidFill>
                <a:effectLst/>
                <a:uLnTx/>
                <a:uFillTx/>
                <a:latin typeface="Source Sans Pro" panose="020B0503030403020204" pitchFamily="34" charset="0"/>
                <a:ea typeface="+mn-ea"/>
                <a:cs typeface="Arial" panose="020B0604020202020204" pitchFamily="34" charset="0"/>
              </a:rPr>
            </a:br>
            <a:r>
              <a:rPr kumimoji="0" lang="en-GB" sz="1400" b="1" i="0" u="none" strike="noStrike" kern="1200" cap="none" spc="0" normalizeH="0" baseline="0" noProof="0" dirty="0">
                <a:ln>
                  <a:noFill/>
                </a:ln>
                <a:solidFill>
                  <a:srgbClr val="FFFFFF"/>
                </a:solidFill>
                <a:effectLst/>
                <a:uLnTx/>
                <a:uFillTx/>
                <a:latin typeface="Source Sans Pro" panose="020B0503030403020204" pitchFamily="34" charset="0"/>
                <a:ea typeface="+mn-ea"/>
                <a:cs typeface="Arial" panose="020B0604020202020204" pitchFamily="34" charset="0"/>
              </a:rPr>
              <a:t>a low-carbon economy</a:t>
            </a:r>
          </a:p>
        </p:txBody>
      </p:sp>
      <p:sp>
        <p:nvSpPr>
          <p:cNvPr id="95" name="Rectangle 94">
            <a:extLst>
              <a:ext uri="{FF2B5EF4-FFF2-40B4-BE49-F238E27FC236}">
                <a16:creationId xmlns:a16="http://schemas.microsoft.com/office/drawing/2014/main" id="{8A212CA6-1B93-4D89-9CA8-72D199522955}"/>
              </a:ext>
            </a:extLst>
          </p:cNvPr>
          <p:cNvSpPr/>
          <p:nvPr/>
        </p:nvSpPr>
        <p:spPr>
          <a:xfrm>
            <a:off x="1092199" y="4927560"/>
            <a:ext cx="1257461" cy="1041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Source Sans Pro" panose="020B0503030403020204" pitchFamily="34" charset="0"/>
                <a:ea typeface="+mn-ea"/>
                <a:cs typeface="Arial" panose="020B0604020202020204" pitchFamily="34" charset="0"/>
              </a:rPr>
              <a:t>Contribute </a:t>
            </a:r>
            <a:br>
              <a:rPr kumimoji="0" lang="en-GB" sz="1400" b="1" i="0" u="none" strike="noStrike" kern="1200" cap="none" spc="0" normalizeH="0" baseline="0" noProof="0" dirty="0">
                <a:ln>
                  <a:noFill/>
                </a:ln>
                <a:solidFill>
                  <a:srgbClr val="FFFFFF"/>
                </a:solidFill>
                <a:effectLst/>
                <a:uLnTx/>
                <a:uFillTx/>
                <a:latin typeface="Source Sans Pro" panose="020B0503030403020204" pitchFamily="34" charset="0"/>
                <a:ea typeface="+mn-ea"/>
                <a:cs typeface="Arial" panose="020B0604020202020204" pitchFamily="34" charset="0"/>
              </a:rPr>
            </a:br>
            <a:r>
              <a:rPr kumimoji="0" lang="en-GB" sz="1400" b="1" i="0" u="none" strike="noStrike" kern="1200" cap="none" spc="0" normalizeH="0" baseline="0" noProof="0" dirty="0">
                <a:ln>
                  <a:noFill/>
                </a:ln>
                <a:solidFill>
                  <a:srgbClr val="FFFFFF"/>
                </a:solidFill>
                <a:effectLst/>
                <a:uLnTx/>
                <a:uFillTx/>
                <a:latin typeface="Source Sans Pro" panose="020B0503030403020204" pitchFamily="34" charset="0"/>
                <a:ea typeface="+mn-ea"/>
                <a:cs typeface="Arial" panose="020B0604020202020204" pitchFamily="34" charset="0"/>
              </a:rPr>
              <a:t>to a healthy, fair and connected society </a:t>
            </a:r>
          </a:p>
        </p:txBody>
      </p:sp>
      <p:pic>
        <p:nvPicPr>
          <p:cNvPr id="132" name="Picture 131">
            <a:extLst>
              <a:ext uri="{FF2B5EF4-FFF2-40B4-BE49-F238E27FC236}">
                <a16:creationId xmlns:a16="http://schemas.microsoft.com/office/drawing/2014/main" id="{B059CA87-4177-8B85-258E-0953FE53CFA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4445462" y="5017189"/>
            <a:ext cx="478969" cy="478968"/>
          </a:xfrm>
          <a:prstGeom prst="ellipse">
            <a:avLst/>
          </a:prstGeom>
          <a:ln>
            <a:solidFill>
              <a:schemeClr val="tx1"/>
            </a:solidFill>
          </a:ln>
        </p:spPr>
      </p:pic>
      <p:sp>
        <p:nvSpPr>
          <p:cNvPr id="133" name="TextBox 132">
            <a:extLst>
              <a:ext uri="{FF2B5EF4-FFF2-40B4-BE49-F238E27FC236}">
                <a16:creationId xmlns:a16="http://schemas.microsoft.com/office/drawing/2014/main" id="{A28DD2AF-EC9E-8748-6433-14C10FE3B357}"/>
              </a:ext>
            </a:extLst>
          </p:cNvPr>
          <p:cNvSpPr txBox="1"/>
          <p:nvPr/>
        </p:nvSpPr>
        <p:spPr>
          <a:xfrm flipH="1">
            <a:off x="4433084" y="5560579"/>
            <a:ext cx="503725"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Data centres</a:t>
            </a:r>
          </a:p>
        </p:txBody>
      </p:sp>
      <p:pic>
        <p:nvPicPr>
          <p:cNvPr id="128" name="Picture 14" descr="What is Dark Fibre &amp;amp; What are the Benefits? | Neos Networks">
            <a:extLst>
              <a:ext uri="{FF2B5EF4-FFF2-40B4-BE49-F238E27FC236}">
                <a16:creationId xmlns:a16="http://schemas.microsoft.com/office/drawing/2014/main" id="{8696E560-0616-6082-381C-455016131326}"/>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flipH="1">
            <a:off x="3680354" y="5017189"/>
            <a:ext cx="478968" cy="478968"/>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29" name="TextBox 128">
            <a:extLst>
              <a:ext uri="{FF2B5EF4-FFF2-40B4-BE49-F238E27FC236}">
                <a16:creationId xmlns:a16="http://schemas.microsoft.com/office/drawing/2014/main" id="{10625156-AEAC-958A-EEDE-51262189367D}"/>
              </a:ext>
            </a:extLst>
          </p:cNvPr>
          <p:cNvSpPr txBox="1"/>
          <p:nvPr/>
        </p:nvSpPr>
        <p:spPr>
          <a:xfrm flipH="1">
            <a:off x="3642790" y="5560579"/>
            <a:ext cx="554097"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Fibre</a:t>
            </a:r>
          </a:p>
        </p:txBody>
      </p:sp>
      <p:grpSp>
        <p:nvGrpSpPr>
          <p:cNvPr id="136" name="Group 135">
            <a:extLst>
              <a:ext uri="{FF2B5EF4-FFF2-40B4-BE49-F238E27FC236}">
                <a16:creationId xmlns:a16="http://schemas.microsoft.com/office/drawing/2014/main" id="{80F6F39C-1721-EE10-118C-C41629A7B656}"/>
              </a:ext>
            </a:extLst>
          </p:cNvPr>
          <p:cNvGrpSpPr/>
          <p:nvPr/>
        </p:nvGrpSpPr>
        <p:grpSpPr>
          <a:xfrm>
            <a:off x="2581425" y="2868511"/>
            <a:ext cx="7835055" cy="1877772"/>
            <a:chOff x="2581425" y="2868511"/>
            <a:chExt cx="7835055" cy="1877772"/>
          </a:xfrm>
        </p:grpSpPr>
        <p:pic>
          <p:nvPicPr>
            <p:cNvPr id="134" name="Picture 10" descr="Planet Earth Review | TV Show - Empire">
              <a:extLst>
                <a:ext uri="{FF2B5EF4-FFF2-40B4-BE49-F238E27FC236}">
                  <a16:creationId xmlns:a16="http://schemas.microsoft.com/office/drawing/2014/main" id="{A4ACD820-9144-26F1-A416-C3255FF47DD3}"/>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flipH="1">
              <a:off x="9841768" y="2868511"/>
              <a:ext cx="478968" cy="478968"/>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35" name="TextBox 134">
              <a:extLst>
                <a:ext uri="{FF2B5EF4-FFF2-40B4-BE49-F238E27FC236}">
                  <a16:creationId xmlns:a16="http://schemas.microsoft.com/office/drawing/2014/main" id="{3B381659-1D54-4678-FEEE-067DA59A2C6C}"/>
                </a:ext>
              </a:extLst>
            </p:cNvPr>
            <p:cNvSpPr txBox="1"/>
            <p:nvPr/>
          </p:nvSpPr>
          <p:spPr>
            <a:xfrm flipH="1">
              <a:off x="9746023" y="3413137"/>
              <a:ext cx="670457" cy="338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Hydrogen energy</a:t>
              </a:r>
            </a:p>
          </p:txBody>
        </p:sp>
        <p:pic>
          <p:nvPicPr>
            <p:cNvPr id="130" name="Picture 2" descr="DOE Awards $160M to TerraPower and X-Energy to Build Advanced Nuclear  Plants | Greentech Media">
              <a:extLst>
                <a:ext uri="{FF2B5EF4-FFF2-40B4-BE49-F238E27FC236}">
                  <a16:creationId xmlns:a16="http://schemas.microsoft.com/office/drawing/2014/main" id="{07E18D1D-E84F-482C-0E55-1A0CAE17BFA6}"/>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flipH="1">
              <a:off x="7443410" y="2868511"/>
              <a:ext cx="478968" cy="478969"/>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31" name="TextBox 130">
              <a:extLst>
                <a:ext uri="{FF2B5EF4-FFF2-40B4-BE49-F238E27FC236}">
                  <a16:creationId xmlns:a16="http://schemas.microsoft.com/office/drawing/2014/main" id="{B676F353-19B2-BF66-4E6F-F611A0939975}"/>
                </a:ext>
              </a:extLst>
            </p:cNvPr>
            <p:cNvSpPr txBox="1"/>
            <p:nvPr/>
          </p:nvSpPr>
          <p:spPr>
            <a:xfrm flipH="1">
              <a:off x="7405845" y="3413137"/>
              <a:ext cx="554097"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Nuclear</a:t>
              </a:r>
            </a:p>
          </p:txBody>
        </p:sp>
        <p:sp>
          <p:nvSpPr>
            <p:cNvPr id="126" name="TextBox 125">
              <a:extLst>
                <a:ext uri="{FF2B5EF4-FFF2-40B4-BE49-F238E27FC236}">
                  <a16:creationId xmlns:a16="http://schemas.microsoft.com/office/drawing/2014/main" id="{C8A0E994-FF72-B316-81ED-2D529ACC02ED}"/>
                </a:ext>
              </a:extLst>
            </p:cNvPr>
            <p:cNvSpPr txBox="1"/>
            <p:nvPr/>
          </p:nvSpPr>
          <p:spPr>
            <a:xfrm flipH="1">
              <a:off x="8459946" y="3413137"/>
              <a:ext cx="844254"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Alternative storage solutions</a:t>
              </a:r>
            </a:p>
          </p:txBody>
        </p:sp>
        <p:pic>
          <p:nvPicPr>
            <p:cNvPr id="127" name="Picture 18" descr="World first grid-scale liquid air energy storage project completed in  northern England - Energy Storage News">
              <a:extLst>
                <a:ext uri="{FF2B5EF4-FFF2-40B4-BE49-F238E27FC236}">
                  <a16:creationId xmlns:a16="http://schemas.microsoft.com/office/drawing/2014/main" id="{E3102AE0-6447-C16C-1668-8C908EC93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flipH="1">
              <a:off x="8642589" y="2868511"/>
              <a:ext cx="478968" cy="478969"/>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4" name="Picture 12" descr="National Grid ESO widens balancing market access for smaller providers |  National Grid ESO">
              <a:extLst>
                <a:ext uri="{FF2B5EF4-FFF2-40B4-BE49-F238E27FC236}">
                  <a16:creationId xmlns:a16="http://schemas.microsoft.com/office/drawing/2014/main" id="{32BDA281-575C-43E7-F85A-666728F22BB2}"/>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flipH="1">
              <a:off x="6244231" y="3870916"/>
              <a:ext cx="478968" cy="478968"/>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25" name="TextBox 124">
              <a:extLst>
                <a:ext uri="{FF2B5EF4-FFF2-40B4-BE49-F238E27FC236}">
                  <a16:creationId xmlns:a16="http://schemas.microsoft.com/office/drawing/2014/main" id="{F2185C2A-6BD6-83DB-DB2B-FFF68E3C2980}"/>
                </a:ext>
              </a:extLst>
            </p:cNvPr>
            <p:cNvSpPr txBox="1"/>
            <p:nvPr/>
          </p:nvSpPr>
          <p:spPr>
            <a:xfrm flipH="1">
              <a:off x="6037526" y="4407729"/>
              <a:ext cx="892379" cy="338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Demand management </a:t>
              </a:r>
            </a:p>
          </p:txBody>
        </p:sp>
        <p:pic>
          <p:nvPicPr>
            <p:cNvPr id="122" name="Picture 6" descr="Energy 101: Biofuels | National Geographic Society">
              <a:extLst>
                <a:ext uri="{FF2B5EF4-FFF2-40B4-BE49-F238E27FC236}">
                  <a16:creationId xmlns:a16="http://schemas.microsoft.com/office/drawing/2014/main" id="{7836F993-D8BD-BD07-C9EC-AF4E798769BD}"/>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t="-105"/>
            <a:stretch/>
          </p:blipFill>
          <p:spPr bwMode="auto">
            <a:xfrm flipH="1">
              <a:off x="5644643" y="2868511"/>
              <a:ext cx="478968" cy="478969"/>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23" name="TextBox 122">
              <a:extLst>
                <a:ext uri="{FF2B5EF4-FFF2-40B4-BE49-F238E27FC236}">
                  <a16:creationId xmlns:a16="http://schemas.microsoft.com/office/drawing/2014/main" id="{B87F3732-F75C-6F62-6417-94C9C3A953E0}"/>
                </a:ext>
              </a:extLst>
            </p:cNvPr>
            <p:cNvSpPr txBox="1"/>
            <p:nvPr/>
          </p:nvSpPr>
          <p:spPr>
            <a:xfrm flipH="1">
              <a:off x="5529720" y="3413137"/>
              <a:ext cx="737503"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Biofuels and biomass</a:t>
              </a:r>
            </a:p>
          </p:txBody>
        </p:sp>
        <p:pic>
          <p:nvPicPr>
            <p:cNvPr id="120" name="Picture 119">
              <a:extLst>
                <a:ext uri="{FF2B5EF4-FFF2-40B4-BE49-F238E27FC236}">
                  <a16:creationId xmlns:a16="http://schemas.microsoft.com/office/drawing/2014/main" id="{4EA0EFB2-1FD2-BFD3-F1D1-53463F3EBB4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flipH="1">
              <a:off x="9242178" y="3870916"/>
              <a:ext cx="478969" cy="478968"/>
            </a:xfrm>
            <a:prstGeom prst="ellipse">
              <a:avLst/>
            </a:prstGeom>
            <a:ln>
              <a:solidFill>
                <a:schemeClr val="tx1"/>
              </a:solidFill>
            </a:ln>
          </p:spPr>
        </p:pic>
        <p:sp>
          <p:nvSpPr>
            <p:cNvPr id="121" name="TextBox 120">
              <a:extLst>
                <a:ext uri="{FF2B5EF4-FFF2-40B4-BE49-F238E27FC236}">
                  <a16:creationId xmlns:a16="http://schemas.microsoft.com/office/drawing/2014/main" id="{B7B32E6B-568F-DE19-0C4E-EE6880B6EB92}"/>
                </a:ext>
              </a:extLst>
            </p:cNvPr>
            <p:cNvSpPr txBox="1"/>
            <p:nvPr/>
          </p:nvSpPr>
          <p:spPr>
            <a:xfrm flipH="1">
              <a:off x="9176908" y="4407729"/>
              <a:ext cx="609507" cy="33855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Gas with CCUS</a:t>
              </a:r>
            </a:p>
          </p:txBody>
        </p:sp>
        <p:pic>
          <p:nvPicPr>
            <p:cNvPr id="118" name="Picture 8" descr="Stagecoach electric buses transport world leaders at COP26 Climate Change  Summit | Glasgow Chamber of Commerce">
              <a:extLst>
                <a:ext uri="{FF2B5EF4-FFF2-40B4-BE49-F238E27FC236}">
                  <a16:creationId xmlns:a16="http://schemas.microsoft.com/office/drawing/2014/main" id="{1C1DA26F-DCFF-D9A7-36C4-D59CA2B7A6FB}"/>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flipH="1">
              <a:off x="5045053" y="2868511"/>
              <a:ext cx="478969" cy="478968"/>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19" name="TextBox 118">
              <a:extLst>
                <a:ext uri="{FF2B5EF4-FFF2-40B4-BE49-F238E27FC236}">
                  <a16:creationId xmlns:a16="http://schemas.microsoft.com/office/drawing/2014/main" id="{5A426BB9-0AD8-1A2C-DA5D-D0EA67D70F99}"/>
                </a:ext>
              </a:extLst>
            </p:cNvPr>
            <p:cNvSpPr txBox="1"/>
            <p:nvPr/>
          </p:nvSpPr>
          <p:spPr>
            <a:xfrm flipH="1">
              <a:off x="4944349" y="3413137"/>
              <a:ext cx="609507" cy="5078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Electric public transport</a:t>
              </a:r>
            </a:p>
          </p:txBody>
        </p:sp>
        <p:pic>
          <p:nvPicPr>
            <p:cNvPr id="116" name="Picture 115">
              <a:extLst>
                <a:ext uri="{FF2B5EF4-FFF2-40B4-BE49-F238E27FC236}">
                  <a16:creationId xmlns:a16="http://schemas.microsoft.com/office/drawing/2014/main" id="{45A8129B-354D-007A-1F2C-B572EACB7D57}"/>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b="-271"/>
            <a:stretch/>
          </p:blipFill>
          <p:spPr>
            <a:xfrm flipH="1">
              <a:off x="3845874" y="2868511"/>
              <a:ext cx="478968" cy="478968"/>
            </a:xfrm>
            <a:prstGeom prst="ellipse">
              <a:avLst/>
            </a:prstGeom>
            <a:ln>
              <a:solidFill>
                <a:schemeClr val="tx1"/>
              </a:solidFill>
            </a:ln>
          </p:spPr>
        </p:pic>
        <p:sp>
          <p:nvSpPr>
            <p:cNvPr id="117" name="TextBox 116">
              <a:extLst>
                <a:ext uri="{FF2B5EF4-FFF2-40B4-BE49-F238E27FC236}">
                  <a16:creationId xmlns:a16="http://schemas.microsoft.com/office/drawing/2014/main" id="{7F40F72B-6D54-0DCA-F797-FE34D288FDF6}"/>
                </a:ext>
              </a:extLst>
            </p:cNvPr>
            <p:cNvSpPr txBox="1"/>
            <p:nvPr/>
          </p:nvSpPr>
          <p:spPr>
            <a:xfrm flipH="1">
              <a:off x="3845874" y="3413137"/>
              <a:ext cx="503725"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Smart Meters</a:t>
              </a:r>
            </a:p>
          </p:txBody>
        </p:sp>
        <p:pic>
          <p:nvPicPr>
            <p:cNvPr id="114" name="Picture 14" descr="UK public EV charging provision increases fivefold in five years | Autocar">
              <a:extLst>
                <a:ext uri="{FF2B5EF4-FFF2-40B4-BE49-F238E27FC236}">
                  <a16:creationId xmlns:a16="http://schemas.microsoft.com/office/drawing/2014/main" id="{05B1A550-CAF5-5D19-CBDA-41377726AE83}"/>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flipH="1">
              <a:off x="4445462" y="3870916"/>
              <a:ext cx="478969" cy="478968"/>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15" name="TextBox 114">
              <a:extLst>
                <a:ext uri="{FF2B5EF4-FFF2-40B4-BE49-F238E27FC236}">
                  <a16:creationId xmlns:a16="http://schemas.microsoft.com/office/drawing/2014/main" id="{EEF52B84-C870-6CC0-D60C-9E42B85C0BA7}"/>
                </a:ext>
              </a:extLst>
            </p:cNvPr>
            <p:cNvSpPr txBox="1"/>
            <p:nvPr/>
          </p:nvSpPr>
          <p:spPr>
            <a:xfrm flipH="1">
              <a:off x="4380193" y="4407729"/>
              <a:ext cx="609507"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EV charging</a:t>
              </a:r>
            </a:p>
          </p:txBody>
        </p:sp>
        <p:pic>
          <p:nvPicPr>
            <p:cNvPr id="112" name="Picture 111">
              <a:extLst>
                <a:ext uri="{FF2B5EF4-FFF2-40B4-BE49-F238E27FC236}">
                  <a16:creationId xmlns:a16="http://schemas.microsoft.com/office/drawing/2014/main" id="{E55EBC11-62C6-AA30-9DBD-62D9D18540A1}"/>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flipH="1">
              <a:off x="2646694" y="2868511"/>
              <a:ext cx="478969" cy="478968"/>
            </a:xfrm>
            <a:prstGeom prst="ellipse">
              <a:avLst/>
            </a:prstGeom>
            <a:ln>
              <a:solidFill>
                <a:schemeClr val="tx1"/>
              </a:solidFill>
            </a:ln>
          </p:spPr>
        </p:pic>
        <p:sp>
          <p:nvSpPr>
            <p:cNvPr id="113" name="TextBox 112">
              <a:extLst>
                <a:ext uri="{FF2B5EF4-FFF2-40B4-BE49-F238E27FC236}">
                  <a16:creationId xmlns:a16="http://schemas.microsoft.com/office/drawing/2014/main" id="{05DC6B11-DD53-F508-ADCC-C734FC8D38D3}"/>
                </a:ext>
              </a:extLst>
            </p:cNvPr>
            <p:cNvSpPr txBox="1"/>
            <p:nvPr/>
          </p:nvSpPr>
          <p:spPr>
            <a:xfrm flipH="1">
              <a:off x="2581425" y="3413137"/>
              <a:ext cx="609507"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Wind energy</a:t>
              </a:r>
            </a:p>
          </p:txBody>
        </p:sp>
        <p:pic>
          <p:nvPicPr>
            <p:cNvPr id="110" name="Picture 4" descr="What Is Solar Energy? | Solar Defined Pros and Cons">
              <a:extLst>
                <a:ext uri="{FF2B5EF4-FFF2-40B4-BE49-F238E27FC236}">
                  <a16:creationId xmlns:a16="http://schemas.microsoft.com/office/drawing/2014/main" id="{B535E42F-E0FB-91AA-3CD7-4A2EA64E3E91}"/>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flipH="1">
              <a:off x="3246284" y="3870916"/>
              <a:ext cx="478969" cy="478968"/>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11" name="TextBox 110">
              <a:extLst>
                <a:ext uri="{FF2B5EF4-FFF2-40B4-BE49-F238E27FC236}">
                  <a16:creationId xmlns:a16="http://schemas.microsoft.com/office/drawing/2014/main" id="{BE619CEA-83D1-0F92-D23A-8E18F96F9546}"/>
                </a:ext>
              </a:extLst>
            </p:cNvPr>
            <p:cNvSpPr txBox="1"/>
            <p:nvPr/>
          </p:nvSpPr>
          <p:spPr>
            <a:xfrm flipH="1">
              <a:off x="3181014" y="4407729"/>
              <a:ext cx="609507" cy="338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Solar energy</a:t>
              </a:r>
            </a:p>
          </p:txBody>
        </p:sp>
        <p:pic>
          <p:nvPicPr>
            <p:cNvPr id="108" name="Picture 107">
              <a:extLst>
                <a:ext uri="{FF2B5EF4-FFF2-40B4-BE49-F238E27FC236}">
                  <a16:creationId xmlns:a16="http://schemas.microsoft.com/office/drawing/2014/main" id="{F87315A5-5394-6B57-0C5B-F8AC90C35A37}"/>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flipH="1">
              <a:off x="6843821" y="2868511"/>
              <a:ext cx="478968" cy="478968"/>
            </a:xfrm>
            <a:prstGeom prst="ellipse">
              <a:avLst/>
            </a:prstGeom>
            <a:ln>
              <a:solidFill>
                <a:schemeClr val="tx1"/>
              </a:solidFill>
            </a:ln>
          </p:spPr>
        </p:pic>
        <p:sp>
          <p:nvSpPr>
            <p:cNvPr id="109" name="TextBox 108">
              <a:extLst>
                <a:ext uri="{FF2B5EF4-FFF2-40B4-BE49-F238E27FC236}">
                  <a16:creationId xmlns:a16="http://schemas.microsoft.com/office/drawing/2014/main" id="{6A662F8C-2EC0-0535-25AC-F0CE9C64D116}"/>
                </a:ext>
              </a:extLst>
            </p:cNvPr>
            <p:cNvSpPr txBox="1"/>
            <p:nvPr/>
          </p:nvSpPr>
          <p:spPr>
            <a:xfrm flipH="1">
              <a:off x="6750791" y="3413137"/>
              <a:ext cx="670457" cy="507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Energy from Waste</a:t>
              </a:r>
            </a:p>
          </p:txBody>
        </p:sp>
        <p:pic>
          <p:nvPicPr>
            <p:cNvPr id="106" name="Picture 2" descr="49MW Li-ion battery storage system to be one of the world&amp;#39;s largest">
              <a:extLst>
                <a:ext uri="{FF2B5EF4-FFF2-40B4-BE49-F238E27FC236}">
                  <a16:creationId xmlns:a16="http://schemas.microsoft.com/office/drawing/2014/main" id="{B1EB9AE4-E7B2-E9C5-A0D6-46E40FD030D4}"/>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t="-235"/>
            <a:stretch/>
          </p:blipFill>
          <p:spPr bwMode="auto">
            <a:xfrm flipH="1">
              <a:off x="8042999" y="3870916"/>
              <a:ext cx="478969" cy="478968"/>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07" name="TextBox 106">
              <a:extLst>
                <a:ext uri="{FF2B5EF4-FFF2-40B4-BE49-F238E27FC236}">
                  <a16:creationId xmlns:a16="http://schemas.microsoft.com/office/drawing/2014/main" id="{F611D294-3A3F-8526-0865-D08620F21D58}"/>
                </a:ext>
              </a:extLst>
            </p:cNvPr>
            <p:cNvSpPr txBox="1"/>
            <p:nvPr/>
          </p:nvSpPr>
          <p:spPr>
            <a:xfrm flipH="1">
              <a:off x="8067534" y="4407729"/>
              <a:ext cx="503725"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Source Sans Pro"/>
                  <a:ea typeface="+mn-ea"/>
                  <a:cs typeface="+mn-cs"/>
                </a:rPr>
                <a:t>Battery storage</a:t>
              </a:r>
            </a:p>
          </p:txBody>
        </p:sp>
      </p:grpSp>
    </p:spTree>
    <p:extLst>
      <p:ext uri="{BB962C8B-B14F-4D97-AF65-F5344CB8AC3E}">
        <p14:creationId xmlns:p14="http://schemas.microsoft.com/office/powerpoint/2010/main" val="1941244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dirt road through a field&#10;&#10;Description automatically generated">
            <a:extLst>
              <a:ext uri="{FF2B5EF4-FFF2-40B4-BE49-F238E27FC236}">
                <a16:creationId xmlns:a16="http://schemas.microsoft.com/office/drawing/2014/main" id="{56F173CC-F046-F865-F828-DF1B5ED9C8B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12192002" cy="6858000"/>
          </a:xfrm>
          <a:prstGeom prst="rect">
            <a:avLst/>
          </a:prstGeom>
        </p:spPr>
      </p:pic>
      <p:sp>
        <p:nvSpPr>
          <p:cNvPr id="5" name="Title 4">
            <a:extLst>
              <a:ext uri="{FF2B5EF4-FFF2-40B4-BE49-F238E27FC236}">
                <a16:creationId xmlns:a16="http://schemas.microsoft.com/office/drawing/2014/main" id="{C146541F-655F-4974-9231-BFBEFA6A4D74}"/>
              </a:ext>
            </a:extLst>
          </p:cNvPr>
          <p:cNvSpPr>
            <a:spLocks noGrp="1"/>
          </p:cNvSpPr>
          <p:nvPr>
            <p:ph type="title"/>
          </p:nvPr>
        </p:nvSpPr>
        <p:spPr/>
        <p:txBody>
          <a:bodyPr/>
          <a:lstStyle/>
          <a:p>
            <a:r>
              <a:rPr lang="en-GB" dirty="0">
                <a:solidFill>
                  <a:schemeClr val="tx2"/>
                </a:solidFill>
              </a:rPr>
              <a:t>How do we define the path to Net Zero?</a:t>
            </a:r>
          </a:p>
        </p:txBody>
      </p:sp>
      <p:sp>
        <p:nvSpPr>
          <p:cNvPr id="12" name="Rectangle 11">
            <a:extLst>
              <a:ext uri="{FF2B5EF4-FFF2-40B4-BE49-F238E27FC236}">
                <a16:creationId xmlns:a16="http://schemas.microsoft.com/office/drawing/2014/main" id="{79CEBBFA-2F99-DF88-1EDB-340AEAE01169}"/>
              </a:ext>
            </a:extLst>
          </p:cNvPr>
          <p:cNvSpPr/>
          <p:nvPr/>
        </p:nvSpPr>
        <p:spPr>
          <a:xfrm>
            <a:off x="7741455" y="1609526"/>
            <a:ext cx="3856236" cy="504081"/>
          </a:xfrm>
          <a:prstGeom prst="rect">
            <a:avLst/>
          </a:prstGeom>
          <a:solidFill>
            <a:schemeClr val="accent2">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ource Sans Pro"/>
                <a:ea typeface="+mn-ea"/>
                <a:cs typeface="+mn-cs"/>
              </a:rPr>
              <a:t>Granular detail required</a:t>
            </a:r>
          </a:p>
        </p:txBody>
      </p:sp>
      <p:sp>
        <p:nvSpPr>
          <p:cNvPr id="13" name="Rectangle 12">
            <a:extLst>
              <a:ext uri="{FF2B5EF4-FFF2-40B4-BE49-F238E27FC236}">
                <a16:creationId xmlns:a16="http://schemas.microsoft.com/office/drawing/2014/main" id="{94B7F079-8D9B-A7CB-B7F3-B2505A1334CE}"/>
              </a:ext>
            </a:extLst>
          </p:cNvPr>
          <p:cNvSpPr/>
          <p:nvPr/>
        </p:nvSpPr>
        <p:spPr>
          <a:xfrm>
            <a:off x="7741455" y="2393243"/>
            <a:ext cx="3856236" cy="504081"/>
          </a:xfrm>
          <a:prstGeom prst="rect">
            <a:avLst/>
          </a:prstGeom>
          <a:solidFill>
            <a:srgbClr val="FF6700">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ource Sans Pro"/>
                <a:ea typeface="+mn-ea"/>
                <a:cs typeface="+mn-cs"/>
              </a:rPr>
              <a:t>We need to back technologies</a:t>
            </a:r>
          </a:p>
        </p:txBody>
      </p:sp>
      <p:sp>
        <p:nvSpPr>
          <p:cNvPr id="14" name="Rectangle 13">
            <a:extLst>
              <a:ext uri="{FF2B5EF4-FFF2-40B4-BE49-F238E27FC236}">
                <a16:creationId xmlns:a16="http://schemas.microsoft.com/office/drawing/2014/main" id="{AF64211E-29C1-7311-543A-6A8307BD6A36}"/>
              </a:ext>
            </a:extLst>
          </p:cNvPr>
          <p:cNvSpPr/>
          <p:nvPr/>
        </p:nvSpPr>
        <p:spPr>
          <a:xfrm>
            <a:off x="7741455" y="3152663"/>
            <a:ext cx="3856236" cy="504081"/>
          </a:xfrm>
          <a:prstGeom prst="rect">
            <a:avLst/>
          </a:prstGeom>
          <a:solidFill>
            <a:schemeClr val="accent3">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ource Sans Pro"/>
                <a:ea typeface="+mn-ea"/>
                <a:cs typeface="+mn-cs"/>
              </a:rPr>
              <a:t>Use of existing support mechanisms – CfD / RAB / PPP(?)</a:t>
            </a:r>
          </a:p>
        </p:txBody>
      </p:sp>
      <p:sp>
        <p:nvSpPr>
          <p:cNvPr id="15" name="Rectangle 14">
            <a:extLst>
              <a:ext uri="{FF2B5EF4-FFF2-40B4-BE49-F238E27FC236}">
                <a16:creationId xmlns:a16="http://schemas.microsoft.com/office/drawing/2014/main" id="{BD886E99-9E78-CC18-2FD3-F99C0867503D}"/>
              </a:ext>
            </a:extLst>
          </p:cNvPr>
          <p:cNvSpPr/>
          <p:nvPr/>
        </p:nvSpPr>
        <p:spPr>
          <a:xfrm>
            <a:off x="7787871" y="3960677"/>
            <a:ext cx="3856236" cy="504081"/>
          </a:xfrm>
          <a:prstGeom prst="rect">
            <a:avLst/>
          </a:prstGeom>
          <a:solidFill>
            <a:schemeClr val="accent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3741"/>
                </a:solidFill>
                <a:effectLst/>
                <a:uLnTx/>
                <a:uFillTx/>
                <a:latin typeface="Source Sans Pro"/>
                <a:ea typeface="+mn-ea"/>
                <a:cs typeface="+mn-cs"/>
              </a:rPr>
              <a:t>Government intervention needs to be tailored</a:t>
            </a:r>
          </a:p>
        </p:txBody>
      </p:sp>
      <p:sp>
        <p:nvSpPr>
          <p:cNvPr id="16" name="Rectangle 15">
            <a:extLst>
              <a:ext uri="{FF2B5EF4-FFF2-40B4-BE49-F238E27FC236}">
                <a16:creationId xmlns:a16="http://schemas.microsoft.com/office/drawing/2014/main" id="{8E9866B5-4404-4FB0-236C-E33DD2697D40}"/>
              </a:ext>
            </a:extLst>
          </p:cNvPr>
          <p:cNvSpPr/>
          <p:nvPr/>
        </p:nvSpPr>
        <p:spPr>
          <a:xfrm>
            <a:off x="7787872" y="4813079"/>
            <a:ext cx="3933074" cy="504081"/>
          </a:xfrm>
          <a:prstGeom prst="rect">
            <a:avLst/>
          </a:prstGeom>
          <a:solidFill>
            <a:schemeClr val="accent4">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Source Sans Pro"/>
                <a:ea typeface="+mn-ea"/>
                <a:cs typeface="+mn-cs"/>
              </a:rPr>
              <a:t>Lack of development capital needs to be addressed</a:t>
            </a:r>
          </a:p>
        </p:txBody>
      </p:sp>
      <p:sp>
        <p:nvSpPr>
          <p:cNvPr id="19" name="Google Shape;170;p15">
            <a:extLst>
              <a:ext uri="{FF2B5EF4-FFF2-40B4-BE49-F238E27FC236}">
                <a16:creationId xmlns:a16="http://schemas.microsoft.com/office/drawing/2014/main" id="{1F7A93A2-4559-0269-776F-B8388AA6E268}"/>
              </a:ext>
            </a:extLst>
          </p:cNvPr>
          <p:cNvSpPr/>
          <p:nvPr/>
        </p:nvSpPr>
        <p:spPr>
          <a:xfrm>
            <a:off x="1100993" y="1214047"/>
            <a:ext cx="641000" cy="43600"/>
          </a:xfrm>
          <a:prstGeom prst="rect">
            <a:avLst/>
          </a:prstGeom>
          <a:solidFill>
            <a:schemeClr val="accent1"/>
          </a:solidFill>
          <a:ln>
            <a:noFill/>
          </a:ln>
        </p:spPr>
        <p:txBody>
          <a:bodyPr spcFirstLastPara="1" wrap="square" lIns="122683" tIns="61317" rIns="122683" bIns="61317" anchor="ctr" anchorCtr="0">
            <a:noAutofit/>
          </a:bodyPr>
          <a:lstStyle/>
          <a:p>
            <a:pPr marL="0" marR="0" lvl="0" indent="0" algn="ctr" defTabSz="914400" rtl="0" eaLnBrk="1" fontAlgn="auto" latinLnBrk="0" hangingPunct="1">
              <a:lnSpc>
                <a:spcPct val="100000"/>
              </a:lnSpc>
              <a:spcBef>
                <a:spcPts val="0"/>
              </a:spcBef>
              <a:spcAft>
                <a:spcPts val="0"/>
              </a:spcAft>
              <a:buClrTx/>
              <a:buSzPts val="2900"/>
              <a:buFontTx/>
              <a:buNone/>
              <a:tabLst/>
              <a:defRPr/>
            </a:pPr>
            <a:endParaRPr kumimoji="0" sz="1933" b="0" i="0" u="none" strike="noStrike" kern="1200" cap="none" spc="0" normalizeH="0" baseline="0" noProof="0" dirty="0">
              <a:ln>
                <a:noFill/>
              </a:ln>
              <a:solidFill>
                <a:srgbClr val="FFFFFF"/>
              </a:solidFill>
              <a:effectLst/>
              <a:uLnTx/>
              <a:uFillTx/>
              <a:latin typeface="Source Sans Pro"/>
              <a:ea typeface="+mn-ea"/>
              <a:cs typeface="+mn-cs"/>
            </a:endParaRPr>
          </a:p>
        </p:txBody>
      </p:sp>
      <p:pic>
        <p:nvPicPr>
          <p:cNvPr id="2" name="Picture 1">
            <a:extLst>
              <a:ext uri="{FF2B5EF4-FFF2-40B4-BE49-F238E27FC236}">
                <a16:creationId xmlns:a16="http://schemas.microsoft.com/office/drawing/2014/main" id="{0373096F-D886-3ED6-CE98-CD2F2CE5FD9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1387023">
            <a:off x="359772" y="1417979"/>
            <a:ext cx="3286162" cy="2768592"/>
          </a:xfrm>
          <a:prstGeom prst="rect">
            <a:avLst/>
          </a:prstGeom>
          <a:noFill/>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E72039E3-74AE-9B5B-9944-77AB51D7C14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482121">
            <a:off x="3783351" y="3816670"/>
            <a:ext cx="3356348" cy="276988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9417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SV1enFVFwSXMifrgSZ5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rmHzLweBmMXQUsWtjFb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WS Emerald Master 20211104">
  <a:themeElements>
    <a:clrScheme name="CBRE Emerald">
      <a:dk1>
        <a:srgbClr val="435254"/>
      </a:dk1>
      <a:lt1>
        <a:srgbClr val="FFFFFF"/>
      </a:lt1>
      <a:dk2>
        <a:srgbClr val="DBD99A"/>
      </a:dk2>
      <a:lt2>
        <a:srgbClr val="80BBAD"/>
      </a:lt2>
      <a:accent1>
        <a:srgbClr val="1F3765"/>
      </a:accent1>
      <a:accent2>
        <a:srgbClr val="3E7CA6"/>
      </a:accent2>
      <a:accent3>
        <a:srgbClr val="CAD1D3"/>
      </a:accent3>
      <a:accent4>
        <a:srgbClr val="96B3B6"/>
      </a:accent4>
      <a:accent5>
        <a:srgbClr val="7F8481"/>
      </a:accent5>
      <a:accent6>
        <a:srgbClr val="003F2D"/>
      </a:accent6>
      <a:hlink>
        <a:srgbClr val="538184"/>
      </a:hlink>
      <a:folHlink>
        <a:srgbClr val="538184"/>
      </a:folHlink>
    </a:clrScheme>
    <a:fontScheme name="CBRE">
      <a:majorFont>
        <a:latin typeface="Financier Display"/>
        <a:ea typeface=""/>
        <a:cs typeface=""/>
      </a:majorFont>
      <a:minorFont>
        <a:latin typeface="Calibr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noFill/>
        </a:ln>
      </a:spPr>
      <a:bodyPr lIns="45720" tIns="0" rIns="45720" bIns="0" rtlCol="0" anchor="ctr"/>
      <a:lstStyle>
        <a:defPPr algn="ctr">
          <a:spcAft>
            <a:spcPts val="300"/>
          </a:spcAft>
          <a:defRPr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smtClean="0"/>
        </a:defPPr>
      </a:lstStyle>
    </a:txDef>
  </a:objectDefaults>
  <a:extraClrSchemeLst/>
  <a:custClrLst>
    <a:custClr name="Celadon (Data Viz 1)">
      <a:srgbClr val="80BBAD"/>
    </a:custClr>
    <a:custClr name="Dark Grey (Data Viz 2)">
      <a:srgbClr val="435254"/>
    </a:custClr>
    <a:custClr name="Accent Green (Data Viz 3)">
      <a:srgbClr val="17E88F"/>
    </a:custClr>
    <a:custClr name="Wheat (Data Viz 4)">
      <a:srgbClr val="DBD99A"/>
    </a:custClr>
    <a:custClr name="Data Orange (Data Viz 5)">
      <a:srgbClr val="D2785A"/>
    </a:custClr>
    <a:custClr name="Data Purple (Data Viz 6)">
      <a:srgbClr val="885073"/>
    </a:custClr>
    <a:custClr name="Data Lt. Purple (Data Viz 7)">
      <a:srgbClr val="A388BF"/>
    </a:custClr>
    <a:custClr name="Data Blue (Data Viz 8)">
      <a:srgbClr val="1F3765"/>
    </a:custClr>
    <a:custClr name="Data Lt. Blue (Data Viz 9)">
      <a:srgbClr val="3E7CA6"/>
    </a:custClr>
    <a:custClr name="Light Grey (Data Viz 10)">
      <a:srgbClr val="CAD1D3"/>
    </a:custClr>
    <a:custClr name="Negative Value Red">
      <a:srgbClr val="AD2A2A"/>
    </a:custClr>
    <a:custClr name="DataViz Background (20% Lt. Grey)">
      <a:srgbClr val="F6F6F6"/>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Primary Green (Primary)">
      <a:srgbClr val="003F2D"/>
    </a:custClr>
    <a:custClr name="Accent Green (Primary)">
      <a:srgbClr val="17E88F"/>
    </a:custClr>
    <a:custClr name="Dark Green (Primary)">
      <a:srgbClr val="012A2D"/>
    </a:custClr>
    <a:custClr name="Dark Grey (Primary)">
      <a:srgbClr val="435254"/>
    </a:custClr>
    <a:custClr name="Light Grey (Primary)">
      <a:srgbClr val="CAD1D3"/>
    </a:custClr>
    <a:custClr name="Midnight (Secondary)">
      <a:srgbClr val="032842"/>
    </a:custClr>
    <a:custClr name="Sage (Secondary)">
      <a:srgbClr val="538184"/>
    </a:custClr>
    <a:custClr name="Celadon (Secondary)">
      <a:srgbClr val="80BBAD"/>
    </a:custClr>
    <a:custClr name="Wheat (Secondary)">
      <a:srgbClr val="DBD99A"/>
    </a:custClr>
    <a:custClr name="Cement (Secondary)">
      <a:srgbClr val="7F8480"/>
    </a:custClr>
    <a:custClr name=" ">
      <a:srgbClr val="FFFFFF"/>
    </a:custClr>
    <a:custClr name=" ">
      <a:srgbClr val="FFFFFF"/>
    </a:custClr>
    <a:custClr name=" ">
      <a:srgbClr val="FFFFFF"/>
    </a:custClr>
    <a:custClr name=" ">
      <a:srgbClr val="FFFFFF"/>
    </a:custClr>
    <a:custClr name=" ">
      <a:srgbClr val="FFFFFF"/>
    </a:custClr>
    <a:custClr name="Midnight Tint (Secondary)">
      <a:srgbClr val="778F9C"/>
    </a:custClr>
    <a:custClr name="Sage Tint (Secondary)">
      <a:srgbClr val="96B3B6"/>
    </a:custClr>
    <a:custClr name="Celadon Tint (Secondary)">
      <a:srgbClr val="C0D4CB"/>
    </a:custClr>
    <a:custClr name="Wheat Tint (Secondary)">
      <a:srgbClr val="EFECD2"/>
    </a:custClr>
    <a:custClr name="Cement Tint (Secondary)">
      <a:srgbClr val="CBCDCB"/>
    </a:custClr>
  </a:custClrLst>
  <a:extLst>
    <a:ext uri="{05A4C25C-085E-4340-85A3-A5531E510DB2}">
      <thm15:themeFamily xmlns:thm15="http://schemas.microsoft.com/office/thememl/2012/main" name="CBRE Emerald 16x9 ALL Template (UK English) - v20220422.potx" id="{F5D869AE-DD45-47EE-84D7-67A24F951DC2}" vid="{68F88F46-2088-41BE-A536-AF2754DDDA20}"/>
    </a:ext>
  </a:extLst>
</a:theme>
</file>

<file path=ppt/theme/theme2.xml><?xml version="1.0" encoding="utf-8"?>
<a:theme xmlns:a="http://schemas.openxmlformats.org/drawingml/2006/main" name="Aurora 2021.1">
  <a:themeElements>
    <a:clrScheme name="AURORA Refresh">
      <a:dk1>
        <a:srgbClr val="3C3C3B"/>
      </a:dk1>
      <a:lt1>
        <a:sysClr val="window" lastClr="FFFFFF"/>
      </a:lt1>
      <a:dk2>
        <a:srgbClr val="3C3C3B"/>
      </a:dk2>
      <a:lt2>
        <a:srgbClr val="E7E7E7"/>
      </a:lt2>
      <a:accent1>
        <a:srgbClr val="F59E00"/>
      </a:accent1>
      <a:accent2>
        <a:srgbClr val="FFCC00"/>
      </a:accent2>
      <a:accent3>
        <a:srgbClr val="FFE680"/>
      </a:accent3>
      <a:accent4>
        <a:srgbClr val="FFF2BF"/>
      </a:accent4>
      <a:accent5>
        <a:srgbClr val="838383"/>
      </a:accent5>
      <a:accent6>
        <a:srgbClr val="B1B1B0"/>
      </a:accent6>
      <a:hlink>
        <a:srgbClr val="3C3C3B"/>
      </a:hlink>
      <a:folHlink>
        <a:srgbClr val="3C3C3B"/>
      </a:folHlink>
    </a:clrScheme>
    <a:fontScheme name="Custom 4">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Bef>
            <a:spcPts val="600"/>
          </a:spcBef>
          <a:defRPr sz="1200" dirty="0" err="1" smtClean="0">
            <a:solidFill>
              <a:schemeClr val="tx1"/>
            </a:solidFill>
          </a:defRPr>
        </a:defPPr>
      </a:lstStyle>
      <a:style>
        <a:lnRef idx="2">
          <a:schemeClr val="accent1"/>
        </a:lnRef>
        <a:fillRef idx="1">
          <a:schemeClr val="lt1"/>
        </a:fillRef>
        <a:effectRef idx="0">
          <a:schemeClr val="accent1"/>
        </a:effectRef>
        <a:fontRef idx="minor">
          <a:schemeClr val="dk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600"/>
          </a:spcBef>
          <a:buFont typeface="Wingdings" panose="05000000000000000000" pitchFamily="2" charset="2"/>
          <a:buNone/>
          <a:defRPr sz="1200" dirty="0" err="1" smtClean="0"/>
        </a:defPPr>
      </a:lstStyle>
    </a:txDef>
  </a:objectDefaults>
  <a:extraClrSchemeLst/>
  <a:custClrLst>
    <a:custClr name="Interconnectors">
      <a:srgbClr val="DF5327"/>
    </a:custClr>
    <a:custClr name="Hydrogen Electrolysers">
      <a:srgbClr val="B97800"/>
    </a:custClr>
    <a:custClr name="DSR">
      <a:srgbClr val="F59E00"/>
    </a:custClr>
    <a:custClr name="Battery Storage">
      <a:srgbClr val="E9E261"/>
    </a:custClr>
    <a:custClr name="Hydrogen Peakers">
      <a:srgbClr val="C8BD88"/>
    </a:custClr>
    <a:custClr name="Peaking/Gas Peakers">
      <a:srgbClr val="A6964E"/>
    </a:custClr>
    <a:custClr name="OCGT">
      <a:srgbClr val="736835"/>
    </a:custClr>
    <a:custClr name="Oil">
      <a:srgbClr val="4D4524"/>
    </a:custClr>
    <a:custClr name="Pumped Storage">
      <a:srgbClr val="4E5F6E"/>
    </a:custClr>
    <a:custClr name="Hydro">
      <a:srgbClr val="4C6C9C"/>
    </a:custClr>
    <a:custClr name="Offshore Wind">
      <a:srgbClr val="6F8DB9"/>
    </a:custClr>
    <a:custClr name="Onshore Wind">
      <a:srgbClr val="9DB1CF"/>
    </a:custClr>
    <a:custClr name="Solar (rooftop)">
      <a:srgbClr val="CFDE63"/>
    </a:custClr>
    <a:custClr name="Solar (ground mount)">
      <a:srgbClr val="A6B727"/>
    </a:custClr>
    <a:custClr name="Other RES/Biomass">
      <a:srgbClr val="657D1A"/>
    </a:custClr>
    <a:custClr name="BECCS">
      <a:srgbClr val="9DA464"/>
    </a:custClr>
    <a:custClr name="Hydrogen CCGT">
      <a:srgbClr val="E1C4E1"/>
    </a:custClr>
    <a:custClr name="CCS">
      <a:srgbClr val="C0C0C0"/>
    </a:custClr>
    <a:custClr name="CHP">
      <a:srgbClr val="969696"/>
    </a:custClr>
    <a:custClr name="CCGT">
      <a:srgbClr val="5A5A5A"/>
    </a:custClr>
    <a:custClr name="Coal">
      <a:srgbClr val="441A0D"/>
    </a:custClr>
    <a:custClr name="Lignite/Peat">
      <a:srgbClr val="5E2411"/>
    </a:custClr>
    <a:custClr name="Nuclear">
      <a:srgbClr val="9F3C1C"/>
    </a:custClr>
  </a:custClrLst>
  <a:extLst>
    <a:ext uri="{05A4C25C-085E-4340-85A3-A5531E510DB2}">
      <thm15:themeFamily xmlns:thm15="http://schemas.microsoft.com/office/thememl/2012/main" name="Aurora_PPTX template_202101  -  Read-Only" id="{D128D7FF-A51A-46BD-A279-F01F4D5BF47A}" vid="{3E85C040-0980-4DF0-ADD5-04A04ED7E8F5}"/>
    </a:ext>
  </a:extLst>
</a:theme>
</file>

<file path=ppt/theme/theme3.xml><?xml version="1.0" encoding="utf-8"?>
<a:theme xmlns:a="http://schemas.openxmlformats.org/drawingml/2006/main" name="Aviva PPT Theme">
  <a:themeElements>
    <a:clrScheme name="Custom 5">
      <a:dk1>
        <a:srgbClr val="283741"/>
      </a:dk1>
      <a:lt1>
        <a:srgbClr val="FFFFFF"/>
      </a:lt1>
      <a:dk2>
        <a:srgbClr val="293741"/>
      </a:dk2>
      <a:lt2>
        <a:srgbClr val="51616F"/>
      </a:lt2>
      <a:accent1>
        <a:srgbClr val="FFD900"/>
      </a:accent1>
      <a:accent2>
        <a:srgbClr val="00596C"/>
      </a:accent2>
      <a:accent3>
        <a:srgbClr val="38A9AD"/>
      </a:accent3>
      <a:accent4>
        <a:srgbClr val="004FB6"/>
      </a:accent4>
      <a:accent5>
        <a:srgbClr val="E3E3E3"/>
      </a:accent5>
      <a:accent6>
        <a:srgbClr val="34A074"/>
      </a:accent6>
      <a:hlink>
        <a:srgbClr val="004FB6"/>
      </a:hlink>
      <a:folHlink>
        <a:srgbClr val="004FB6"/>
      </a:folHlink>
    </a:clrScheme>
    <a:fontScheme name="Aviva font theme">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600" dirty="0">
            <a:solidFill>
              <a:schemeClr val="tx2"/>
            </a:solidFill>
          </a:defRPr>
        </a:defPPr>
      </a:lstStyle>
    </a:txDef>
  </a:objectDefaults>
  <a:extraClrSchemeLst/>
  <a:custClrLst>
    <a:custClr name="Dark Teal">
      <a:srgbClr val="005A6C"/>
    </a:custClr>
    <a:custClr name="Teal">
      <a:srgbClr val="39A9AD"/>
    </a:custClr>
    <a:custClr name="Light Charcoal">
      <a:srgbClr val="E8E8E8"/>
    </a:custClr>
    <a:custClr name="Aviva Investors Grey">
      <a:srgbClr val="293741"/>
    </a:custClr>
    <a:custClr name="Tangerine">
      <a:srgbClr val="FF6700"/>
    </a:custClr>
    <a:custClr name="Emerald">
      <a:srgbClr val="34A074"/>
    </a:custClr>
    <a:custClr name="Aviva Blue">
      <a:srgbClr val="004FB6"/>
    </a:custClr>
    <a:custClr name="Rich Purple">
      <a:srgbClr val="370046"/>
    </a:custClr>
    <a:custClr name="Aviva Yellow">
      <a:srgbClr val="FFD900"/>
    </a:custClr>
    <a:custClr name="Red">
      <a:srgbClr val="B10101"/>
    </a:custClr>
    <a:custClr name="Dark Teal-25">
      <a:srgbClr val="408391"/>
    </a:custClr>
    <a:custClr name="Teal-25">
      <a:srgbClr val="6BBFC2"/>
    </a:custClr>
    <a:custClr name="Light Charcoal-25">
      <a:srgbClr val="EEEEEE"/>
    </a:custClr>
    <a:custClr name="Aviva Investors Grey-50">
      <a:srgbClr val="51626F"/>
    </a:custClr>
    <a:custClr name="Tangerine-25">
      <a:srgbClr val="FF9840"/>
    </a:custClr>
    <a:custClr name="Emerald-25">
      <a:srgbClr val="67B897"/>
    </a:custClr>
    <a:custClr name="Aviva Blue-25">
      <a:srgbClr val="407BC8"/>
    </a:custClr>
    <a:custClr name="Rich Purple-25">
      <a:srgbClr val="694074"/>
    </a:custClr>
    <a:custClr name="Aviva Yellow">
      <a:srgbClr val="FFD900"/>
    </a:custClr>
    <a:custClr name="Red">
      <a:srgbClr val="B10101"/>
    </a:custClr>
    <a:custClr name="Dark Teal+25">
      <a:srgbClr val="00485A"/>
    </a:custClr>
    <a:custClr name="Teal+25">
      <a:srgbClr val="399B9F"/>
    </a:custClr>
    <a:custClr name="Light Charcoal+25">
      <a:srgbClr val="E3E3E3"/>
    </a:custClr>
    <a:custClr name="Aviva Investors Grey-25">
      <a:srgbClr val="394853"/>
    </a:custClr>
    <a:custClr name="Tangerine+25">
      <a:srgbClr val="F46C08"/>
    </a:custClr>
    <a:custClr name="Emerald+25">
      <a:srgbClr val="359164"/>
    </a:custClr>
    <a:custClr name="Aviva Blue+25">
      <a:srgbClr val="1841A9"/>
    </a:custClr>
    <a:custClr name="Rich Purple+25">
      <a:srgbClr val="2C0039"/>
    </a:custClr>
    <a:custClr name="Aviva Yellow">
      <a:srgbClr val="FFD900"/>
    </a:custClr>
    <a:custClr name="Red">
      <a:srgbClr val="B10101"/>
    </a:custClr>
  </a:custClrLst>
  <a:extLst>
    <a:ext uri="{05A4C25C-085E-4340-85A3-A5531E510DB2}">
      <thm15:themeFamily xmlns:thm15="http://schemas.microsoft.com/office/thememl/2012/main" name="Aviva investors - PowerPoint Template - 2022_11627.potx" id="{1A70F8D4-56D4-4DCB-87E8-01FA3A8D3770}" vid="{FB634E6B-77DF-4119-9A8A-2D9C07D7602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MASTER">
  <a:themeElements>
    <a:clrScheme name="Custom 8">
      <a:dk1>
        <a:srgbClr val="435254"/>
      </a:dk1>
      <a:lt1>
        <a:srgbClr val="FFFFFF"/>
      </a:lt1>
      <a:dk2>
        <a:srgbClr val="DBD99A"/>
      </a:dk2>
      <a:lt2>
        <a:srgbClr val="80BBAD"/>
      </a:lt2>
      <a:accent1>
        <a:srgbClr val="1F3765"/>
      </a:accent1>
      <a:accent2>
        <a:srgbClr val="3E7CA6"/>
      </a:accent2>
      <a:accent3>
        <a:srgbClr val="CAD1D3"/>
      </a:accent3>
      <a:accent4>
        <a:srgbClr val="96B3B6"/>
      </a:accent4>
      <a:accent5>
        <a:srgbClr val="7F8481"/>
      </a:accent5>
      <a:accent6>
        <a:srgbClr val="003D30"/>
      </a:accent6>
      <a:hlink>
        <a:srgbClr val="80BBAD"/>
      </a:hlink>
      <a:folHlink>
        <a:srgbClr val="D1D1D3"/>
      </a:folHlink>
    </a:clrScheme>
    <a:fontScheme name="CBRE">
      <a:majorFont>
        <a:latin typeface="Financier Display"/>
        <a:ea typeface=""/>
        <a:cs typeface=""/>
      </a:majorFont>
      <a:minorFont>
        <a:latin typeface="Calibr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noAutofit/>
      </a:bodyPr>
      <a:lstStyle>
        <a:defPPr algn="l">
          <a:defRPr dirty="0" smtClean="0"/>
        </a:defPPr>
      </a:lstStyle>
    </a:txDef>
  </a:objectDefaults>
  <a:extraClrSchemeLst/>
  <a:custClrLst>
    <a:custClr name="Data Viz 1">
      <a:srgbClr val="80BBAD"/>
    </a:custClr>
    <a:custClr name="Data Viz 2">
      <a:srgbClr val="435254"/>
    </a:custClr>
    <a:custClr name="Data Viz 3">
      <a:srgbClr val="17E88F"/>
    </a:custClr>
    <a:custClr name="Custom Color 4">
      <a:srgbClr val="DBD99A"/>
    </a:custClr>
    <a:custClr name="Data Viz 5">
      <a:srgbClr val="D2785A"/>
    </a:custClr>
    <a:custClr name="Data Viz 6">
      <a:srgbClr val="885073"/>
    </a:custClr>
    <a:custClr name="Data Viz 7">
      <a:srgbClr val="A388BF"/>
    </a:custClr>
    <a:custClr name="Custom Color 8">
      <a:srgbClr val="1F3765"/>
    </a:custClr>
    <a:custClr name="Data Viz 9">
      <a:srgbClr val="3E7CA6"/>
    </a:custClr>
    <a:custClr name="Data Viz 10">
      <a:srgbClr val="CAD1D3"/>
    </a:custClr>
    <a:custClr name="Financial Indicator">
      <a:srgbClr val="AD2A2A"/>
    </a:custClr>
  </a:custClrLst>
  <a:extLst>
    <a:ext uri="{05A4C25C-085E-4340-85A3-A5531E510DB2}">
      <thm15:themeFamily xmlns:thm15="http://schemas.microsoft.com/office/thememl/2012/main" name="16x9 Text Template CBRE 2021_071521.potx" id="{8BC98CF4-E998-4AB4-A8ED-DE72A14152B5}" vid="{E67182C6-DEFC-4EEB-A87F-2F2629F97E2E}"/>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TotalTime>
  <Words>814</Words>
  <Application>Microsoft Macintosh PowerPoint</Application>
  <PresentationFormat>Widescreen</PresentationFormat>
  <Paragraphs>193</Paragraphs>
  <Slides>32</Slides>
  <Notes>13</Notes>
  <HiddenSlides>0</HiddenSlides>
  <MMClips>0</MMClips>
  <ScaleCrop>false</ScaleCrop>
  <HeadingPairs>
    <vt:vector size="8" baseType="variant">
      <vt:variant>
        <vt:lpstr>Fonts Used</vt:lpstr>
      </vt:variant>
      <vt:variant>
        <vt:i4>24</vt:i4>
      </vt:variant>
      <vt:variant>
        <vt:lpstr>Theme</vt:lpstr>
      </vt:variant>
      <vt:variant>
        <vt:i4>5</vt:i4>
      </vt:variant>
      <vt:variant>
        <vt:lpstr>Embedded OLE Servers</vt:lpstr>
      </vt:variant>
      <vt:variant>
        <vt:i4>1</vt:i4>
      </vt:variant>
      <vt:variant>
        <vt:lpstr>Slide Titles</vt:lpstr>
      </vt:variant>
      <vt:variant>
        <vt:i4>32</vt:i4>
      </vt:variant>
    </vt:vector>
  </HeadingPairs>
  <TitlesOfParts>
    <vt:vector size="62" baseType="lpstr">
      <vt:lpstr>Aptos</vt:lpstr>
      <vt:lpstr>Arial</vt:lpstr>
      <vt:lpstr>Arial Narrow</vt:lpstr>
      <vt:lpstr>Barlow Condensed</vt:lpstr>
      <vt:lpstr>Calibre</vt:lpstr>
      <vt:lpstr>Calibre Bold</vt:lpstr>
      <vt:lpstr>Calibre Light</vt:lpstr>
      <vt:lpstr>Calibre Medium</vt:lpstr>
      <vt:lpstr>Calibre Semibold</vt:lpstr>
      <vt:lpstr>Calibre-Light</vt:lpstr>
      <vt:lpstr>Calibre-Semibold</vt:lpstr>
      <vt:lpstr>Calibri</vt:lpstr>
      <vt:lpstr>Financier Display</vt:lpstr>
      <vt:lpstr>Financier Display Medium</vt:lpstr>
      <vt:lpstr>Financier Display Semibold</vt:lpstr>
      <vt:lpstr>Lato</vt:lpstr>
      <vt:lpstr>Lato Black</vt:lpstr>
      <vt:lpstr>Source Sans Pro</vt:lpstr>
      <vt:lpstr>Source Sans Pro Light</vt:lpstr>
      <vt:lpstr>Space Mono</vt:lpstr>
      <vt:lpstr>SwissReSansOTLight</vt:lpstr>
      <vt:lpstr>Symbol</vt:lpstr>
      <vt:lpstr>Times New Roman</vt:lpstr>
      <vt:lpstr>Wingdings</vt:lpstr>
      <vt:lpstr>GWS Emerald Master 20211104</vt:lpstr>
      <vt:lpstr>Aurora 2021.1</vt:lpstr>
      <vt:lpstr>Aviva PPT Theme</vt:lpstr>
      <vt:lpstr>1_Office Theme</vt:lpstr>
      <vt:lpstr>MASTER</vt:lpstr>
      <vt:lpstr>think-cell Slide</vt:lpstr>
      <vt:lpstr>Welcome to the Places Hub</vt:lpstr>
      <vt:lpstr>Welcome</vt:lpstr>
      <vt:lpstr>Accessing infrastructure private finance</vt:lpstr>
      <vt:lpstr>UK Infrastructure Investor Appetite</vt:lpstr>
      <vt:lpstr>What do we do?</vt:lpstr>
      <vt:lpstr>Why invest in Infrastructure?</vt:lpstr>
      <vt:lpstr>It’s all about funding not financing!</vt:lpstr>
      <vt:lpstr>Nature of investments is evolving</vt:lpstr>
      <vt:lpstr>How do we define the path to Net Zero?</vt:lpstr>
      <vt:lpstr>Key takeaways</vt:lpstr>
      <vt:lpstr>Thank you – Q&amp;A</vt:lpstr>
      <vt:lpstr>Role of the UK Infrastructure Ban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curing private investment for infrastructure assets</vt:lpstr>
      <vt:lpstr>PowerPoint Presentation</vt:lpstr>
      <vt:lpstr>PowerPoint Presentation</vt:lpstr>
      <vt:lpstr>PowerPoint Presentation</vt:lpstr>
      <vt:lpstr>Finding a Partner</vt:lpstr>
      <vt:lpstr>PowerPoint Presentation</vt:lpstr>
      <vt:lpstr>Regeneration Impact Funds</vt:lpstr>
      <vt:lpstr>Panel Discussion</vt:lpstr>
      <vt:lpstr>Panel Discus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Places Hub</dc:title>
  <dc:creator>Paul Wheeler</dc:creator>
  <cp:lastModifiedBy>Paul Wheeler</cp:lastModifiedBy>
  <cp:revision>1</cp:revision>
  <dcterms:created xsi:type="dcterms:W3CDTF">2024-03-12T10:50:39Z</dcterms:created>
  <dcterms:modified xsi:type="dcterms:W3CDTF">2024-03-12T10:56:34Z</dcterms:modified>
</cp:coreProperties>
</file>